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microsoft.com/office/2020/02/relationships/classificationlabels" Target="docMetadata/LabelInfo.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2"/>
    <p:sldMasterId id="2147483660" r:id="rId3"/>
  </p:sldMasterIdLst>
  <p:notesMasterIdLst>
    <p:notesMasterId r:id="rId26"/>
  </p:notesMasterIdLst>
  <p:sldIdLst>
    <p:sldId id="2147483517" r:id="rId4"/>
    <p:sldId id="2147483619" r:id="rId5"/>
    <p:sldId id="2147483628" r:id="rId6"/>
    <p:sldId id="2147483629" r:id="rId7"/>
    <p:sldId id="2147483630" r:id="rId8"/>
    <p:sldId id="2147483631" r:id="rId9"/>
    <p:sldId id="295" r:id="rId10"/>
    <p:sldId id="2147483613" r:id="rId11"/>
    <p:sldId id="730" r:id="rId12"/>
    <p:sldId id="2147483617" r:id="rId13"/>
    <p:sldId id="2147483614" r:id="rId14"/>
    <p:sldId id="715" r:id="rId15"/>
    <p:sldId id="2147483615" r:id="rId16"/>
    <p:sldId id="720" r:id="rId17"/>
    <p:sldId id="2147483616" r:id="rId18"/>
    <p:sldId id="257" r:id="rId19"/>
    <p:sldId id="733" r:id="rId20"/>
    <p:sldId id="264" r:id="rId21"/>
    <p:sldId id="717" r:id="rId22"/>
    <p:sldId id="2147483634" r:id="rId23"/>
    <p:sldId id="2147483633" r:id="rId24"/>
    <p:sldId id="259" r:id="rId25"/>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303"/>
    <p:restoredTop sz="94662"/>
  </p:normalViewPr>
  <p:slideViewPr>
    <p:cSldViewPr snapToGrid="0">
      <p:cViewPr varScale="1">
        <p:scale>
          <a:sx n="104" d="100"/>
          <a:sy n="104" d="100"/>
        </p:scale>
        <p:origin x="688"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notesMaster" Target="notesMasters/notesMaster1.xml"/><Relationship Id="rId3" Type="http://schemas.openxmlformats.org/officeDocument/2006/relationships/slideMaster" Target="slideMasters/slideMaster2.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2" Type="http://schemas.openxmlformats.org/officeDocument/2006/relationships/slideMaster" Target="slideMasters/slideMaster1.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4EE0F3-F80F-B34A-AE59-F468E6E48982}" type="datetimeFigureOut">
              <a:rPr lang="es-ES" smtClean="0"/>
              <a:t>26/04/2026</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4E38CB-3C5F-C241-8097-D82D67C97924}" type="slidenum">
              <a:rPr lang="es-ES" smtClean="0"/>
              <a:t>‹Nr.›</a:t>
            </a:fld>
            <a:endParaRPr lang="es-ES"/>
          </a:p>
        </p:txBody>
      </p:sp>
    </p:spTree>
    <p:extLst>
      <p:ext uri="{BB962C8B-B14F-4D97-AF65-F5344CB8AC3E}">
        <p14:creationId xmlns:p14="http://schemas.microsoft.com/office/powerpoint/2010/main" val="40065206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C81FE60-E097-5F49-BE21-33478E8B0A50}" type="slidenum">
              <a:rPr lang="en-US" smtClean="0"/>
              <a:t>1</a:t>
            </a:fld>
            <a:endParaRPr lang="en-US"/>
          </a:p>
        </p:txBody>
      </p:sp>
    </p:spTree>
    <p:extLst>
      <p:ext uri="{BB962C8B-B14F-4D97-AF65-F5344CB8AC3E}">
        <p14:creationId xmlns:p14="http://schemas.microsoft.com/office/powerpoint/2010/main" val="33914236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47B5EF-8A80-3F57-DC55-806FAA45FE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077828-EAC3-9605-F5CF-639AFEE9662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94D4E8A-EFDD-289E-2BE2-160BB3E9EC29}"/>
              </a:ext>
            </a:extLst>
          </p:cNvPr>
          <p:cNvSpPr>
            <a:spLocks noGrp="1"/>
          </p:cNvSpPr>
          <p:nvPr>
            <p:ph type="body" idx="1"/>
          </p:nvPr>
        </p:nvSpPr>
        <p:spPr/>
        <p:txBody>
          <a:bodyPr/>
          <a:lstStyle/>
          <a:p>
            <a:r>
              <a:rPr lang="en-US"/>
              <a:t>This slide ties together how Commvault Cloud both </a:t>
            </a:r>
            <a:r>
              <a:rPr lang="en-US" b="1"/>
              <a:t>protects AI</a:t>
            </a:r>
            <a:r>
              <a:rPr lang="en-US"/>
              <a:t> and </a:t>
            </a:r>
            <a:r>
              <a:rPr lang="en-US" b="1"/>
              <a:t>uses AI</a:t>
            </a:r>
            <a:r>
              <a:rPr lang="en-US"/>
              <a:t> to strengthen enterprise resilience.</a:t>
            </a:r>
            <a:br>
              <a:rPr lang="en-US">
                <a:cs typeface="+mn-lt"/>
              </a:rPr>
            </a:br>
            <a:r>
              <a:rPr lang="en-US"/>
              <a:t> Our message here is simple — Commvault Cloud isn’t just compatible with AI; it’s built </a:t>
            </a:r>
            <a:r>
              <a:rPr lang="en-US" b="1"/>
              <a:t>for AI, with AI, to scale AI.</a:t>
            </a:r>
            <a:endParaRPr lang="en-US"/>
          </a:p>
          <a:p>
            <a:r>
              <a:rPr lang="en-US"/>
              <a:t>Let’s start with the three key pillars across the top: </a:t>
            </a:r>
            <a:r>
              <a:rPr lang="en-US" b="1"/>
              <a:t>Protect AI, Leverage AI, and Extend AI.</a:t>
            </a:r>
            <a:endParaRPr lang="en-US"/>
          </a:p>
          <a:p>
            <a:r>
              <a:rPr lang="en-US" b="1"/>
              <a:t>First, Protect AI.</a:t>
            </a:r>
            <a:br>
              <a:rPr lang="en-US" b="1">
                <a:cs typeface="+mn-lt"/>
              </a:rPr>
            </a:br>
            <a:r>
              <a:rPr lang="en-US" b="1"/>
              <a:t> Commvault provides next-generation data protection for the AI workloads that organizations depend on — everything from vector databases like Amazon Redshift, Google </a:t>
            </a:r>
            <a:r>
              <a:rPr lang="en-US" b="1" err="1"/>
              <a:t>BigQuery</a:t>
            </a:r>
            <a:r>
              <a:rPr lang="en-US" b="1"/>
              <a:t>, and PostgreSQL</a:t>
            </a:r>
            <a:r>
              <a:rPr lang="en-US"/>
              <a:t>, to data lakes on </a:t>
            </a:r>
            <a:r>
              <a:rPr lang="en-US" b="1"/>
              <a:t>Azure, Iceberg, and Amazon S3</a:t>
            </a:r>
            <a:r>
              <a:rPr lang="en-US"/>
              <a:t>, and the DevOps infrastructure powering them.</a:t>
            </a:r>
            <a:br>
              <a:rPr lang="en-US">
                <a:cs typeface="+mn-lt"/>
              </a:rPr>
            </a:br>
            <a:r>
              <a:rPr lang="en-US"/>
              <a:t> This helps enable the data, pipelines, and environments used to train and run AI models are resilient, recoverable, and governed end-to-end.</a:t>
            </a:r>
            <a:endParaRPr lang="en-US">
              <a:ea typeface="Calibri"/>
              <a:cs typeface="Calibri"/>
            </a:endParaRPr>
          </a:p>
          <a:p>
            <a:r>
              <a:rPr lang="en-US" b="1"/>
              <a:t>Second, Leverage AI.</a:t>
            </a:r>
            <a:br>
              <a:rPr lang="en-US" b="1">
                <a:cs typeface="+mn-lt"/>
              </a:rPr>
            </a:br>
            <a:r>
              <a:rPr lang="en-US" b="1"/>
              <a:t> Commvault uses AI inside the platform to enhance cyber resilience and optimize operations.</a:t>
            </a:r>
            <a:br>
              <a:rPr lang="en-US" b="1">
                <a:cs typeface="+mn-lt"/>
              </a:rPr>
            </a:br>
            <a:r>
              <a:rPr lang="en-US" b="1"/>
              <a:t> We apply AI-enabled anomaly and threat detection</a:t>
            </a:r>
            <a:r>
              <a:rPr lang="en-US"/>
              <a:t> to identify issues faster, while </a:t>
            </a:r>
            <a:r>
              <a:rPr lang="en-US" b="1"/>
              <a:t>machine learning optimizations</a:t>
            </a:r>
            <a:r>
              <a:rPr lang="en-US"/>
              <a:t> improve scheduling, forecasting, and resource utilization.</a:t>
            </a:r>
            <a:br>
              <a:rPr lang="en-US">
                <a:cs typeface="+mn-lt"/>
              </a:rPr>
            </a:br>
            <a:r>
              <a:rPr lang="en-US"/>
              <a:t> And with </a:t>
            </a:r>
            <a:r>
              <a:rPr lang="en-US" b="1"/>
              <a:t>GenAI and agentic automation</a:t>
            </a:r>
            <a:r>
              <a:rPr lang="en-US"/>
              <a:t> — powered by Arlie — we deliver intelligent support, advanced analysis, and guided troubleshooting to make IT operations faster, smarter, and more efficient.</a:t>
            </a:r>
            <a:endParaRPr lang="en-US">
              <a:ea typeface="Calibri"/>
              <a:cs typeface="Calibri"/>
            </a:endParaRPr>
          </a:p>
          <a:p>
            <a:r>
              <a:rPr lang="en-US" b="1"/>
              <a:t>And third, Extend AI.</a:t>
            </a:r>
            <a:br>
              <a:rPr lang="en-US" b="1">
                <a:cs typeface="+mn-lt"/>
              </a:rPr>
            </a:br>
            <a:r>
              <a:rPr lang="en-US" b="1"/>
              <a:t> Commvault’s ecosystem extends AI securely across the enterprise.</a:t>
            </a:r>
            <a:br>
              <a:rPr lang="en-US" b="1">
                <a:cs typeface="+mn-lt"/>
              </a:rPr>
            </a:br>
            <a:r>
              <a:rPr lang="en-US" b="1"/>
              <a:t> We integrate with multi-model partners</a:t>
            </a:r>
            <a:r>
              <a:rPr lang="en-US"/>
              <a:t> like Gemini and OpenAI, </a:t>
            </a:r>
            <a:r>
              <a:rPr lang="en-US" b="1"/>
              <a:t>security tools</a:t>
            </a:r>
            <a:r>
              <a:rPr lang="en-US"/>
              <a:t> like CrowdStrike and Avira, and </a:t>
            </a:r>
            <a:r>
              <a:rPr lang="en-US" b="1"/>
              <a:t>Commvault’s own MCP Server and Data Rooms</a:t>
            </a:r>
            <a:r>
              <a:rPr lang="en-US"/>
              <a:t>, which enable conversational AI and safe, governed access to historical data.</a:t>
            </a:r>
            <a:br>
              <a:rPr lang="en-US">
                <a:cs typeface="+mn-lt"/>
              </a:rPr>
            </a:br>
            <a:r>
              <a:rPr lang="en-US"/>
              <a:t> This creates a connected, compliant AI ecosystem that brings automation and intelligence into every part of the business.</a:t>
            </a:r>
            <a:endParaRPr lang="en-US">
              <a:ea typeface="Calibri"/>
              <a:cs typeface="Calibri"/>
            </a:endParaRPr>
          </a:p>
          <a:p>
            <a:r>
              <a:rPr lang="en-US"/>
              <a:t>So when we say </a:t>
            </a:r>
            <a:r>
              <a:rPr lang="en-US" b="1"/>
              <a:t>“For AI. With AI. To Scale AI.”</a:t>
            </a:r>
            <a:r>
              <a:rPr lang="en-US"/>
              <a:t>, we mean that Commvault protects AI workloads, uses AI to make cyber resilience smarter, and integrates AI responsibly across the enterprise — all within a single trusted platform.</a:t>
            </a:r>
            <a:endParaRPr lang="en-US">
              <a:ea typeface="Calibri"/>
              <a:cs typeface="Calibri"/>
            </a:endParaRPr>
          </a:p>
          <a:p>
            <a:endParaRPr lang="en-US">
              <a:ea typeface="Calibri"/>
              <a:cs typeface="Calibri"/>
            </a:endParaRPr>
          </a:p>
        </p:txBody>
      </p:sp>
      <p:sp>
        <p:nvSpPr>
          <p:cNvPr id="4" name="Slide Number Placeholder 3">
            <a:extLst>
              <a:ext uri="{FF2B5EF4-FFF2-40B4-BE49-F238E27FC236}">
                <a16:creationId xmlns:a16="http://schemas.microsoft.com/office/drawing/2014/main" id="{A56D8A2B-C31F-066A-860C-849B36C95A19}"/>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039351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22533-A8B3-506E-609E-69423C0703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9443CA-34D7-4F2E-8418-47C664B4D40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AD1847F-862E-902A-FC38-71DC2BDA2193}"/>
              </a:ext>
            </a:extLst>
          </p:cNvPr>
          <p:cNvSpPr>
            <a:spLocks noGrp="1"/>
          </p:cNvSpPr>
          <p:nvPr>
            <p:ph type="body" idx="1"/>
          </p:nvPr>
        </p:nvSpPr>
        <p:spPr/>
        <p:txBody>
          <a:bodyPr/>
          <a:lstStyle/>
          <a:p>
            <a:r>
              <a:rPr lang="en-US"/>
              <a:t>To wrap up — Commvault Cloud Unity is the platform for </a:t>
            </a:r>
            <a:r>
              <a:rPr lang="en-US" b="1"/>
              <a:t>unified resilience at enterprise scale.</a:t>
            </a:r>
            <a:br>
              <a:rPr lang="en-US" b="1">
                <a:cs typeface="+mn-lt"/>
              </a:rPr>
            </a:br>
            <a:r>
              <a:rPr lang="en-US" b="1"/>
              <a:t> It simplifies operations, strengthens protection, and enables rapid recovery across data, identity, and AI workloads.</a:t>
            </a:r>
            <a:br>
              <a:rPr lang="en-US" b="1">
                <a:cs typeface="+mn-lt"/>
              </a:rPr>
            </a:br>
            <a:r>
              <a:rPr lang="en-US" b="1"/>
              <a:t> Each of the five platform services plays a role:</a:t>
            </a:r>
            <a:endParaRPr lang="en-US"/>
          </a:p>
          <a:p>
            <a:pPr marL="171450" indent="-171450">
              <a:buFont typeface="Arial"/>
              <a:buChar char="•"/>
            </a:pPr>
            <a:r>
              <a:rPr lang="en-US" b="1"/>
              <a:t>Unified Data Protection</a:t>
            </a:r>
            <a:r>
              <a:rPr lang="en-US"/>
              <a:t> for consistent, multi-cloud control.</a:t>
            </a:r>
            <a:endParaRPr lang="en-US">
              <a:ea typeface="Calibri"/>
              <a:cs typeface="Calibri"/>
            </a:endParaRPr>
          </a:p>
          <a:p>
            <a:pPr marL="171450" indent="-171450">
              <a:buFont typeface="Arial"/>
              <a:buChar char="•"/>
            </a:pPr>
            <a:r>
              <a:rPr lang="en-US" b="1"/>
              <a:t>Identity Resilience</a:t>
            </a:r>
            <a:r>
              <a:rPr lang="en-US"/>
              <a:t> to protect the modern perimeter.</a:t>
            </a:r>
            <a:endParaRPr lang="en-US">
              <a:ea typeface="Calibri"/>
              <a:cs typeface="Calibri"/>
            </a:endParaRPr>
          </a:p>
          <a:p>
            <a:pPr marL="171450" indent="-171450">
              <a:buFont typeface="Arial"/>
              <a:buChar char="•"/>
            </a:pPr>
            <a:r>
              <a:rPr lang="en-US" b="1"/>
              <a:t>Cyber Resilience</a:t>
            </a:r>
            <a:r>
              <a:rPr lang="en-US"/>
              <a:t> for cleaner, faster recovery.</a:t>
            </a:r>
            <a:endParaRPr lang="en-US">
              <a:ea typeface="Calibri"/>
              <a:cs typeface="Calibri"/>
            </a:endParaRPr>
          </a:p>
          <a:p>
            <a:pPr marL="171450" indent="-171450">
              <a:buFont typeface="Arial"/>
              <a:buChar char="•"/>
            </a:pPr>
            <a:r>
              <a:rPr lang="en-US" b="1"/>
              <a:t>Data &amp; AI Security</a:t>
            </a:r>
            <a:r>
              <a:rPr lang="en-US"/>
              <a:t> for visibility and governance.</a:t>
            </a:r>
            <a:endParaRPr lang="en-US">
              <a:ea typeface="Calibri"/>
              <a:cs typeface="Calibri"/>
            </a:endParaRPr>
          </a:p>
          <a:p>
            <a:pPr marL="171450" indent="-171450">
              <a:buFont typeface="Arial"/>
              <a:buChar char="•"/>
            </a:pPr>
            <a:r>
              <a:rPr lang="en-US" b="1"/>
              <a:t>Protect &amp; Leverage AI</a:t>
            </a:r>
            <a:r>
              <a:rPr lang="en-US"/>
              <a:t> to safeguard and scale AI responsibly.</a:t>
            </a:r>
            <a:br>
              <a:rPr lang="en-US">
                <a:cs typeface="+mn-lt"/>
              </a:rPr>
            </a:br>
            <a:r>
              <a:rPr lang="en-US"/>
              <a:t> Together, they give enterprises the </a:t>
            </a:r>
            <a:r>
              <a:rPr lang="en-US" b="1"/>
              <a:t>confidence to innovate — securely, at scale, and with trust.</a:t>
            </a:r>
            <a:endParaRPr lang="en-US"/>
          </a:p>
          <a:p>
            <a:endParaRPr lang="en-US">
              <a:ea typeface="Calibri"/>
              <a:cs typeface="Calibri"/>
            </a:endParaRPr>
          </a:p>
        </p:txBody>
      </p:sp>
      <p:sp>
        <p:nvSpPr>
          <p:cNvPr id="4" name="Slide Number Placeholder 3">
            <a:extLst>
              <a:ext uri="{FF2B5EF4-FFF2-40B4-BE49-F238E27FC236}">
                <a16:creationId xmlns:a16="http://schemas.microsoft.com/office/drawing/2014/main" id="{99666B56-361C-47CD-025B-D45AF78723F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81FE60-E097-5F49-BE21-33478E8B0A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00620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Aft>
                <a:spcPts val="800"/>
              </a:spcAft>
            </a:pPr>
            <a:r>
              <a:rPr lang="en-US" sz="1200" i="1" kern="0" dirty="0">
                <a:effectLst/>
                <a:latin typeface="Times New Roman" panose="02020603050405020304" pitchFamily="18" charset="0"/>
                <a:ea typeface="Times New Roman" panose="02020603050405020304" pitchFamily="18" charset="0"/>
                <a:cs typeface="Times New Roman" panose="02020603050405020304" pitchFamily="18" charset="0"/>
              </a:rPr>
              <a:t>"There are two types of organizations in the world: Those who have experienced a data breach… and those who are breached and just don’t know it.” </a:t>
            </a:r>
            <a:r>
              <a:rPr lang="en-US" sz="1200" b="1" kern="0" dirty="0">
                <a:effectLst/>
                <a:latin typeface="Times New Roman" panose="02020603050405020304" pitchFamily="18" charset="0"/>
                <a:ea typeface="Times New Roman" panose="02020603050405020304" pitchFamily="18" charset="0"/>
                <a:cs typeface="Times New Roman" panose="02020603050405020304" pitchFamily="18" charset="0"/>
              </a:rPr>
              <a:t>[Pause – let it sink in]</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pPr>
            <a:r>
              <a:rPr lang="en-US" sz="1200" kern="0" dirty="0">
                <a:effectLst/>
                <a:latin typeface="Times New Roman" panose="02020603050405020304" pitchFamily="18" charset="0"/>
                <a:ea typeface="Times New Roman" panose="02020603050405020304" pitchFamily="18" charset="0"/>
                <a:cs typeface="Times New Roman" panose="02020603050405020304" pitchFamily="18" charset="0"/>
              </a:rPr>
              <a:t>That’s not just a bold statement—it’s reality. The days of hoping security measures will keep threats out are over. Today, </a:t>
            </a:r>
            <a:r>
              <a:rPr lang="en-US" sz="1200" b="1" kern="0" dirty="0">
                <a:effectLst/>
                <a:latin typeface="Times New Roman" panose="02020603050405020304" pitchFamily="18" charset="0"/>
                <a:ea typeface="Times New Roman" panose="02020603050405020304" pitchFamily="18" charset="0"/>
                <a:cs typeface="Times New Roman" panose="02020603050405020304" pitchFamily="18" charset="0"/>
              </a:rPr>
              <a:t>we assume breach</a:t>
            </a:r>
            <a:r>
              <a:rPr lang="en-US" sz="1200" kern="0" dirty="0">
                <a:effectLst/>
                <a:latin typeface="Times New Roman" panose="02020603050405020304" pitchFamily="18" charset="0"/>
                <a:ea typeface="Times New Roman" panose="02020603050405020304" pitchFamily="18" charset="0"/>
                <a:cs typeface="Times New Roman" panose="02020603050405020304" pitchFamily="18" charset="0"/>
              </a:rPr>
              <a:t>—because the attackers are already inside, or they will be.</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pPr>
            <a:endParaRPr lang="en-US" sz="1200" b="1" kern="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0" marR="0">
              <a:lnSpc>
                <a:spcPct val="115000"/>
              </a:lnSpc>
              <a:spcAft>
                <a:spcPts val="800"/>
              </a:spcAft>
            </a:pPr>
            <a:r>
              <a:rPr lang="en-US" sz="1200" b="1" kern="0" dirty="0">
                <a:effectLst/>
                <a:latin typeface="Times New Roman" panose="02020603050405020304" pitchFamily="18" charset="0"/>
                <a:ea typeface="Times New Roman" panose="02020603050405020304" pitchFamily="18" charset="0"/>
                <a:cs typeface="Times New Roman" panose="02020603050405020304" pitchFamily="18" charset="0"/>
              </a:rPr>
              <a:t>[Defining Resilience &amp; Setting the Stage – SPEAKER TO PERSONALIZE AS NEEDED]</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effectLst/>
                <a:latin typeface="Times New Roman" panose="02020603050405020304" pitchFamily="18" charset="0"/>
                <a:ea typeface="Times New Roman" panose="02020603050405020304" pitchFamily="18" charset="0"/>
                <a:cs typeface="Times New Roman" panose="02020603050405020304" pitchFamily="18" charset="0"/>
              </a:rPr>
              <a:t>Introduce yourself and provide context.</a:t>
            </a:r>
          </a:p>
          <a:p>
            <a:endParaRPr lang="en-GB" dirty="0"/>
          </a:p>
        </p:txBody>
      </p:sp>
      <p:sp>
        <p:nvSpPr>
          <p:cNvPr id="4" name="Slide Number Placeholder 3"/>
          <p:cNvSpPr>
            <a:spLocks noGrp="1"/>
          </p:cNvSpPr>
          <p:nvPr>
            <p:ph type="sldNum" sz="quarter" idx="5"/>
          </p:nvPr>
        </p:nvSpPr>
        <p:spPr/>
        <p:txBody>
          <a:bodyPr/>
          <a:lstStyle/>
          <a:p>
            <a:fld id="{0C81FE60-E097-5F49-BE21-33478E8B0A50}" type="slidenum">
              <a:rPr lang="en-US" smtClean="0"/>
              <a:t>20</a:t>
            </a:fld>
            <a:endParaRPr lang="en-US"/>
          </a:p>
        </p:txBody>
      </p:sp>
    </p:spTree>
    <p:extLst>
      <p:ext uri="{BB962C8B-B14F-4D97-AF65-F5344CB8AC3E}">
        <p14:creationId xmlns:p14="http://schemas.microsoft.com/office/powerpoint/2010/main" val="12438501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024086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4765B8-30BF-1AEA-B614-DDC0C938AF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9F141F-75CE-0368-6972-5EC77B9FEEC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B535377-561A-39FE-7871-1B13A4207822}"/>
              </a:ext>
            </a:extLst>
          </p:cNvPr>
          <p:cNvSpPr>
            <a:spLocks noGrp="1"/>
          </p:cNvSpPr>
          <p:nvPr>
            <p:ph type="body" idx="1"/>
          </p:nvPr>
        </p:nvSpPr>
        <p:spPr/>
        <p:txBody>
          <a:bodyPr/>
          <a:lstStyle/>
          <a:p>
            <a:r>
              <a:rPr lang="en-US"/>
              <a:t>Commvault Cloud Unity delivers five core platform services that work together to provide </a:t>
            </a:r>
            <a:r>
              <a:rPr lang="en-US" b="1"/>
              <a:t>end-to-end enterprise resilience.</a:t>
            </a:r>
          </a:p>
          <a:p>
            <a:pPr marL="171450" indent="-171450">
              <a:buFont typeface="Arial"/>
              <a:buChar char="•"/>
            </a:pPr>
            <a:r>
              <a:rPr lang="en-US" b="1"/>
              <a:t>Unified Data Protection</a:t>
            </a:r>
            <a:r>
              <a:rPr lang="en-US"/>
              <a:t> — Protects multi-cloud and hybrid workloads.</a:t>
            </a:r>
            <a:endParaRPr lang="en-US">
              <a:ea typeface="Calibri"/>
              <a:cs typeface="Calibri"/>
            </a:endParaRPr>
          </a:p>
          <a:p>
            <a:pPr marL="171450" indent="-171450">
              <a:buFont typeface="Arial"/>
              <a:buChar char="•"/>
            </a:pPr>
            <a:r>
              <a:rPr lang="en-US" b="1"/>
              <a:t>Identity Resilience</a:t>
            </a:r>
            <a:r>
              <a:rPr lang="en-US"/>
              <a:t> — Secures identity systems like AD, Okta, and Entra ID.</a:t>
            </a:r>
            <a:endParaRPr lang="en-US">
              <a:ea typeface="Calibri"/>
              <a:cs typeface="Calibri"/>
            </a:endParaRPr>
          </a:p>
          <a:p>
            <a:pPr marL="171450" indent="-171450">
              <a:buFont typeface="Arial"/>
              <a:buChar char="•"/>
            </a:pPr>
            <a:r>
              <a:rPr lang="en-US" b="1"/>
              <a:t>Cyber Resilience</a:t>
            </a:r>
            <a:r>
              <a:rPr lang="en-US"/>
              <a:t> — Enables the cleanest, fastest recovery after any attack.</a:t>
            </a:r>
            <a:endParaRPr lang="en-US">
              <a:ea typeface="Calibri"/>
              <a:cs typeface="Calibri"/>
            </a:endParaRPr>
          </a:p>
          <a:p>
            <a:pPr marL="171450" indent="-171450">
              <a:buFont typeface="Arial"/>
              <a:buChar char="•"/>
            </a:pPr>
            <a:r>
              <a:rPr lang="en-US" b="1"/>
              <a:t>Data &amp; AI Security</a:t>
            </a:r>
            <a:r>
              <a:rPr lang="en-US"/>
              <a:t> — Protects sensitive data and governs responsible AI use.</a:t>
            </a:r>
            <a:endParaRPr lang="en-US">
              <a:ea typeface="Calibri"/>
              <a:cs typeface="Calibri"/>
            </a:endParaRPr>
          </a:p>
          <a:p>
            <a:pPr marL="171450" indent="-171450">
              <a:buFont typeface="Arial"/>
              <a:buChar char="•"/>
            </a:pPr>
            <a:r>
              <a:rPr lang="en-US" b="1"/>
              <a:t>Protect &amp; Leverage AI</a:t>
            </a:r>
            <a:r>
              <a:rPr lang="en-US"/>
              <a:t> — Secures AI workloads and uses AI to strengthen resilience.</a:t>
            </a:r>
            <a:endParaRPr lang="en-US">
              <a:ea typeface="Calibri"/>
              <a:cs typeface="Calibri"/>
            </a:endParaRPr>
          </a:p>
          <a:p>
            <a:r>
              <a:rPr lang="en-US"/>
              <a:t>Each service is built to scale independently, but together they form the </a:t>
            </a:r>
            <a:r>
              <a:rPr lang="en-US" b="1"/>
              <a:t>most complete resilience platform</a:t>
            </a:r>
            <a:r>
              <a:rPr lang="en-US"/>
              <a:t> in the market.</a:t>
            </a:r>
            <a:endParaRPr lang="en-US">
              <a:ea typeface="Calibri"/>
              <a:cs typeface="Calibri"/>
            </a:endParaRPr>
          </a:p>
          <a:p>
            <a:endParaRPr lang="en-US">
              <a:ea typeface="Calibri"/>
              <a:cs typeface="Calibri"/>
            </a:endParaRPr>
          </a:p>
        </p:txBody>
      </p:sp>
      <p:sp>
        <p:nvSpPr>
          <p:cNvPr id="4" name="Slide Number Placeholder 3">
            <a:extLst>
              <a:ext uri="{FF2B5EF4-FFF2-40B4-BE49-F238E27FC236}">
                <a16:creationId xmlns:a16="http://schemas.microsoft.com/office/drawing/2014/main" id="{FCB0A727-7963-AC53-E5E4-9CCB63792B05}"/>
              </a:ext>
            </a:extLst>
          </p:cNvPr>
          <p:cNvSpPr>
            <a:spLocks noGrp="1"/>
          </p:cNvSpPr>
          <p:nvPr>
            <p:ph type="sldNum" sz="quarter" idx="10"/>
          </p:nvPr>
        </p:nvSpPr>
        <p:spPr/>
        <p:txBody>
          <a:bodyPr/>
          <a:lstStyle/>
          <a:p>
            <a:fld id="{F7021451-1387-4CA6-816F-3879F97B5CBC}" type="slidenum">
              <a:rPr lang="en-US"/>
              <a:t>7</a:t>
            </a:fld>
            <a:endParaRPr lang="en-US"/>
          </a:p>
        </p:txBody>
      </p:sp>
    </p:spTree>
    <p:extLst>
      <p:ext uri="{BB962C8B-B14F-4D97-AF65-F5344CB8AC3E}">
        <p14:creationId xmlns:p14="http://schemas.microsoft.com/office/powerpoint/2010/main" val="150458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8BBA93-F736-95B9-8388-A8ABC6A8DF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381A1F-CE19-88DA-9901-EF11CA3D2C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6E1098-0B8E-1A4F-FAD8-4CE3B1DD8CFD}"/>
              </a:ext>
            </a:extLst>
          </p:cNvPr>
          <p:cNvSpPr>
            <a:spLocks noGrp="1"/>
          </p:cNvSpPr>
          <p:nvPr>
            <p:ph type="body" idx="1"/>
          </p:nvPr>
        </p:nvSpPr>
        <p:spPr/>
        <p:txBody>
          <a:bodyPr/>
          <a:lstStyle/>
          <a:p>
            <a:r>
              <a:rPr lang="en-US"/>
              <a:t>Commvault Cloud Unity is our platform for </a:t>
            </a:r>
            <a:r>
              <a:rPr lang="en-US" b="1"/>
              <a:t>unified resilience at enterprise scale.</a:t>
            </a:r>
            <a:br>
              <a:rPr lang="en-US" b="1">
                <a:cs typeface="+mn-lt"/>
              </a:rPr>
            </a:br>
            <a:r>
              <a:rPr lang="en-US" b="1"/>
              <a:t> It unifies data security, identity resilience, and cyber recovery — all from a single intelligent interface.</a:t>
            </a:r>
            <a:br>
              <a:rPr lang="en-US" b="1">
                <a:cs typeface="+mn-lt"/>
              </a:rPr>
            </a:br>
            <a:r>
              <a:rPr lang="en-US" b="1"/>
              <a:t> It protects both today’s production workloads and tomorrow’s AI-driven workloads</a:t>
            </a:r>
            <a:r>
              <a:rPr lang="en-US"/>
              <a:t>, wherever data lives.</a:t>
            </a:r>
            <a:br>
              <a:rPr lang="en-US">
                <a:cs typeface="+mn-lt"/>
              </a:rPr>
            </a:br>
            <a:r>
              <a:rPr lang="en-US"/>
              <a:t> With shared intelligence and orchestration, we </a:t>
            </a:r>
            <a:r>
              <a:rPr lang="en-US" b="1"/>
              <a:t>reduce risk, downtime, and cost</a:t>
            </a:r>
            <a:r>
              <a:rPr lang="en-US"/>
              <a:t> — while keeping trusted data available across the business.</a:t>
            </a:r>
          </a:p>
        </p:txBody>
      </p:sp>
      <p:sp>
        <p:nvSpPr>
          <p:cNvPr id="4" name="Slide Number Placeholder 3">
            <a:extLst>
              <a:ext uri="{FF2B5EF4-FFF2-40B4-BE49-F238E27FC236}">
                <a16:creationId xmlns:a16="http://schemas.microsoft.com/office/drawing/2014/main" id="{DF7F3E4D-12EC-21B3-2708-193E3C972E2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0360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BF49F4-EF1F-CEFF-9533-6DC7E59D68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3D3337-DD15-B2B9-8893-C15EBF04F5E8}"/>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74D8848-726B-6187-A8A2-BB848D98015E}"/>
              </a:ext>
            </a:extLst>
          </p:cNvPr>
          <p:cNvSpPr>
            <a:spLocks noGrp="1"/>
          </p:cNvSpPr>
          <p:nvPr>
            <p:ph type="body" idx="1"/>
          </p:nvPr>
        </p:nvSpPr>
        <p:spPr/>
        <p:txBody>
          <a:bodyPr/>
          <a:lstStyle/>
          <a:p>
            <a:r>
              <a:rPr lang="en-US"/>
              <a:t>The real test of resilience… is cloud-native.</a:t>
            </a:r>
            <a:br>
              <a:rPr lang="en-US"/>
            </a:br>
            <a:r>
              <a:rPr lang="en-US"/>
              <a:t>Think about one of your modern, critical apps — maybe your digital front door.</a:t>
            </a:r>
            <a:br>
              <a:rPr lang="en-US"/>
            </a:br>
            <a:r>
              <a:rPr lang="en-US"/>
              <a:t>The front end runs in OpenShift, your catalog in MongoDB, your transactions in Oracle or Postgres — all spread across AWS and Azure.</a:t>
            </a:r>
            <a:br>
              <a:rPr lang="en-US"/>
            </a:br>
            <a:r>
              <a:rPr lang="en-US"/>
              <a:t>It’s complex, distributed, and business-critical.</a:t>
            </a:r>
          </a:p>
          <a:p>
            <a:r>
              <a:rPr lang="en-US"/>
              <a:t>Then the call comes at 2 AM. A bad code push… or ransomware.</a:t>
            </a:r>
            <a:br>
              <a:rPr lang="en-US"/>
            </a:br>
            <a:r>
              <a:rPr lang="en-US"/>
              <a:t>You go to recover — and realize the native tools stop at their own infrastructure.</a:t>
            </a:r>
            <a:br>
              <a:rPr lang="en-US"/>
            </a:br>
            <a:r>
              <a:rPr lang="en-US"/>
              <a:t>They don’t protect third-party workloads like OpenShift or MongoDB.</a:t>
            </a:r>
            <a:br>
              <a:rPr lang="en-US"/>
            </a:br>
            <a:r>
              <a:rPr lang="en-US"/>
              <a:t>You’re forced to stitch together a dozen tools and snapshots.</a:t>
            </a:r>
            <a:br>
              <a:rPr lang="en-US"/>
            </a:br>
            <a:r>
              <a:rPr lang="en-US"/>
              <a:t>That’s the failure of typical cloud backup.</a:t>
            </a:r>
          </a:p>
          <a:p>
            <a:r>
              <a:rPr lang="en-US"/>
              <a:t>Here’s why teams struggle:</a:t>
            </a:r>
            <a:br>
              <a:rPr lang="en-US"/>
            </a:br>
            <a:r>
              <a:rPr lang="en-US" b="1"/>
              <a:t>Inconsistency</a:t>
            </a:r>
            <a:r>
              <a:rPr lang="en-US"/>
              <a:t> — Snapshots across systems don’t align, leaving broken dependencies.</a:t>
            </a:r>
            <a:br>
              <a:rPr lang="en-US"/>
            </a:br>
            <a:r>
              <a:rPr lang="en-US" b="1"/>
              <a:t>Security</a:t>
            </a:r>
            <a:r>
              <a:rPr lang="en-US"/>
              <a:t> — Native backups aren’t air-gapped, so an attacker can delete apps </a:t>
            </a:r>
            <a:r>
              <a:rPr lang="en-US" i="1"/>
              <a:t>and</a:t>
            </a:r>
            <a:r>
              <a:rPr lang="en-US"/>
              <a:t> backups.</a:t>
            </a:r>
            <a:br>
              <a:rPr lang="en-US"/>
            </a:br>
            <a:r>
              <a:rPr lang="en-US" b="1"/>
              <a:t>Fragmentation</a:t>
            </a:r>
            <a:r>
              <a:rPr lang="en-US"/>
              <a:t> — Multiple tools, manual steps, and rising costs.</a:t>
            </a:r>
          </a:p>
          <a:p>
            <a:r>
              <a:rPr lang="en-US"/>
              <a:t>That’s why we built this new platform release of </a:t>
            </a:r>
            <a:r>
              <a:rPr lang="en-US" b="1"/>
              <a:t>Commvault Cloud.</a:t>
            </a:r>
            <a:endParaRPr lang="en-US"/>
          </a:p>
          <a:p>
            <a:r>
              <a:rPr lang="en-US" b="1"/>
              <a:t>First — Unified Recovery.</a:t>
            </a:r>
            <a:r>
              <a:rPr lang="en-US"/>
              <a:t> One platform, one console across all clouds.</a:t>
            </a:r>
            <a:br>
              <a:rPr lang="en-US"/>
            </a:br>
            <a:r>
              <a:rPr lang="en-US"/>
              <a:t>We scale massively, recover full applications with </a:t>
            </a:r>
            <a:r>
              <a:rPr lang="en-US" i="1"/>
              <a:t>Cloud Rewind</a:t>
            </a:r>
            <a:r>
              <a:rPr lang="en-US"/>
              <a:t>, and simplify hybrid protection.</a:t>
            </a:r>
          </a:p>
          <a:p>
            <a:r>
              <a:rPr lang="en-US" b="1"/>
              <a:t>Second — True Cyber Resilience.</a:t>
            </a:r>
            <a:br>
              <a:rPr lang="en-US"/>
            </a:br>
            <a:r>
              <a:rPr lang="en-US"/>
              <a:t>Air-gapped by design, with built-in </a:t>
            </a:r>
            <a:r>
              <a:rPr lang="en-US" i="1" err="1"/>
              <a:t>ThreatScan</a:t>
            </a:r>
            <a:r>
              <a:rPr lang="en-US"/>
              <a:t> and </a:t>
            </a:r>
            <a:r>
              <a:rPr lang="en-US" i="1"/>
              <a:t>Cleanroom</a:t>
            </a:r>
            <a:r>
              <a:rPr lang="en-US"/>
              <a:t> for secure recovery and compliance.</a:t>
            </a:r>
          </a:p>
          <a:p>
            <a:r>
              <a:rPr lang="en-US" b="1"/>
              <a:t>Third — Lower Cost.</a:t>
            </a:r>
            <a:br>
              <a:rPr lang="en-US"/>
            </a:br>
            <a:r>
              <a:rPr lang="en-US"/>
              <a:t>By unifying tools and automating scale, we cut TCO by up to 50%.</a:t>
            </a:r>
          </a:p>
          <a:p>
            <a:r>
              <a:rPr lang="en-US"/>
              <a:t>One platform. Better resilience. Lower cost.</a:t>
            </a:r>
            <a:br>
              <a:rPr lang="en-US"/>
            </a:br>
            <a:r>
              <a:rPr lang="en-US"/>
              <a:t>This is the definitive platform for cloud-native resilience.</a:t>
            </a:r>
          </a:p>
          <a:p>
            <a:endParaRPr lang="en-US">
              <a:ea typeface="Calibri"/>
              <a:cs typeface="Calibri"/>
            </a:endParaRPr>
          </a:p>
        </p:txBody>
      </p:sp>
      <p:sp>
        <p:nvSpPr>
          <p:cNvPr id="4" name="Slide Number Placeholder 3">
            <a:extLst>
              <a:ext uri="{FF2B5EF4-FFF2-40B4-BE49-F238E27FC236}">
                <a16:creationId xmlns:a16="http://schemas.microsoft.com/office/drawing/2014/main" id="{AA5A989F-80DB-613A-C8EB-29E4BFF3B65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81FE60-E097-5F49-BE21-33478E8B0A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16794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9EE5A3-80B0-4716-4A5E-EC9470F388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F0309D-1434-47C0-1A97-65500949446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C158711-8DAD-07C5-76B2-9239F5728426}"/>
              </a:ext>
            </a:extLst>
          </p:cNvPr>
          <p:cNvSpPr>
            <a:spLocks noGrp="1"/>
          </p:cNvSpPr>
          <p:nvPr>
            <p:ph type="body" idx="1"/>
          </p:nvPr>
        </p:nvSpPr>
        <p:spPr/>
        <p:txBody>
          <a:bodyPr/>
          <a:lstStyle/>
          <a:p>
            <a:r>
              <a:rPr lang="en-US"/>
              <a:t>Let’s talk about one of the most targeted areas in modern cyberattacks — identity systems like Active Directory and Entra ID.</a:t>
            </a:r>
            <a:br>
              <a:rPr lang="en-US">
                <a:cs typeface="+mn-lt"/>
              </a:rPr>
            </a:br>
            <a:r>
              <a:rPr lang="en-US"/>
              <a:t> When these systems are compromised, attackers can move laterally across the environment, escalate privileges, and disable recovery paths before anyone even realizes what’s happened.</a:t>
            </a:r>
            <a:br>
              <a:rPr lang="en-US">
                <a:cs typeface="+mn-lt"/>
              </a:rPr>
            </a:br>
            <a:r>
              <a:rPr lang="en-US"/>
              <a:t> That’s why identity resilience is now a core pillar of Commvault Cloud Unity.</a:t>
            </a:r>
          </a:p>
          <a:p>
            <a:r>
              <a:rPr lang="en-US" b="1"/>
              <a:t>Customer Challenges</a:t>
            </a:r>
            <a:endParaRPr lang="en-US"/>
          </a:p>
          <a:p>
            <a:r>
              <a:rPr lang="en-US"/>
              <a:t>Most organizations lack visibility into how privileges or roles evolve in AD or Entra ID.</a:t>
            </a:r>
            <a:br>
              <a:rPr lang="en-US">
                <a:cs typeface="+mn-lt"/>
              </a:rPr>
            </a:br>
            <a:r>
              <a:rPr lang="en-US"/>
              <a:t> By the time suspicious behavior is noticed, attackers have already spread laterally and embedded themselves.</a:t>
            </a:r>
            <a:br>
              <a:rPr lang="en-US">
                <a:cs typeface="+mn-lt"/>
              </a:rPr>
            </a:br>
            <a:r>
              <a:rPr lang="en-US"/>
              <a:t> When recovery is needed, existing tools make it a slow, manual, and error-prone process — restoring individual objects, attributes, and policies can take days.</a:t>
            </a:r>
            <a:br>
              <a:rPr lang="en-US">
                <a:cs typeface="+mn-lt"/>
              </a:rPr>
            </a:br>
            <a:r>
              <a:rPr lang="en-US"/>
              <a:t> And even after systems are brought back online, teams struggle to confirm if the environment is truly clean or if hidden identity changes still exist.</a:t>
            </a:r>
            <a:endParaRPr lang="en-US">
              <a:ea typeface="Calibri"/>
              <a:cs typeface="Calibri"/>
            </a:endParaRPr>
          </a:p>
          <a:p>
            <a:r>
              <a:rPr lang="en-US" b="1"/>
              <a:t>Commvault Cloud Capability</a:t>
            </a:r>
            <a:endParaRPr lang="en-US"/>
          </a:p>
          <a:p>
            <a:r>
              <a:rPr lang="en-US"/>
              <a:t>Commvault provides real-time auditing and detection — continuously monitoring for unauthorized identity changes and privilege escalations to give early warning before damage spreads.</a:t>
            </a:r>
            <a:br>
              <a:rPr lang="en-US">
                <a:cs typeface="+mn-lt"/>
              </a:rPr>
            </a:br>
            <a:r>
              <a:rPr lang="en-US"/>
              <a:t> If an attack does occur, AI-enabled rollback automates the recovery of affected identities, attributes, and policies with a single click — no manual sequencing required.</a:t>
            </a:r>
            <a:br>
              <a:rPr lang="en-US">
                <a:cs typeface="+mn-lt"/>
              </a:rPr>
            </a:br>
            <a:r>
              <a:rPr lang="en-US"/>
              <a:t> Finally, forensic timelines show exactly who changed what and when, while Cleanroom Recovery validates the restored environment to help validate it’s trusted and uncompromised before being reintroduced to production.</a:t>
            </a:r>
            <a:endParaRPr lang="en-US">
              <a:ea typeface="Calibri"/>
              <a:cs typeface="Calibri"/>
            </a:endParaRPr>
          </a:p>
          <a:p>
            <a:r>
              <a:rPr lang="en-US" b="1"/>
              <a:t>Closing</a:t>
            </a:r>
            <a:endParaRPr lang="en-US"/>
          </a:p>
          <a:p>
            <a:r>
              <a:rPr lang="en-US"/>
              <a:t>With Commvault Cloud Unity, identity resilience becomes proactive and intelligent.</a:t>
            </a:r>
            <a:br>
              <a:rPr lang="en-US">
                <a:cs typeface="+mn-lt"/>
              </a:rPr>
            </a:br>
            <a:r>
              <a:rPr lang="en-US"/>
              <a:t> You get continuous visibility, automated recovery, and validated clean restores — giving teams the confidence that their identity infrastructure is secure, even after an attack.</a:t>
            </a:r>
            <a:endParaRPr lang="en-US">
              <a:ea typeface="Calibri"/>
              <a:cs typeface="Calibri"/>
            </a:endParaRPr>
          </a:p>
          <a:p>
            <a:endParaRPr lang="en-US">
              <a:ea typeface="Calibri"/>
              <a:cs typeface="Calibri"/>
            </a:endParaRPr>
          </a:p>
        </p:txBody>
      </p:sp>
      <p:sp>
        <p:nvSpPr>
          <p:cNvPr id="4" name="Slide Number Placeholder 3">
            <a:extLst>
              <a:ext uri="{FF2B5EF4-FFF2-40B4-BE49-F238E27FC236}">
                <a16:creationId xmlns:a16="http://schemas.microsoft.com/office/drawing/2014/main" id="{14096ECA-4E43-30AC-33F4-2C32EF4A7B3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81FE60-E097-5F49-BE21-33478E8B0A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37606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C81FE60-E097-5F49-BE21-33478E8B0A50}" type="slidenum">
              <a:rPr lang="en-US" smtClean="0"/>
              <a:t>13</a:t>
            </a:fld>
            <a:endParaRPr lang="en-US"/>
          </a:p>
        </p:txBody>
      </p:sp>
    </p:spTree>
    <p:extLst>
      <p:ext uri="{BB962C8B-B14F-4D97-AF65-F5344CB8AC3E}">
        <p14:creationId xmlns:p14="http://schemas.microsoft.com/office/powerpoint/2010/main" val="29893138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83ECD3-1BD3-FCB6-2404-CD51A509E3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C636ED-D2A2-64F2-C68C-7980D442611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22A78F3-E8D4-7FA5-5526-EB61149A0108}"/>
              </a:ext>
            </a:extLst>
          </p:cNvPr>
          <p:cNvSpPr>
            <a:spLocks noGrp="1"/>
          </p:cNvSpPr>
          <p:nvPr>
            <p:ph type="body" idx="1"/>
          </p:nvPr>
        </p:nvSpPr>
        <p:spPr/>
        <p:txBody>
          <a:bodyPr/>
          <a:lstStyle/>
          <a:p>
            <a:r>
              <a:rPr lang="en-US"/>
              <a:t>When a cyberattack happens, one of the hardest parts of recovery is deciding what data you can trust.</a:t>
            </a:r>
            <a:br>
              <a:rPr lang="en-US">
                <a:cs typeface="+mn-lt"/>
              </a:rPr>
            </a:br>
            <a:r>
              <a:rPr lang="en-US"/>
              <a:t> Teams often face a painful trade-off: roll back far enough to be safe — which means losing days or weeks of data — or restore recent data that may still be infected.</a:t>
            </a:r>
            <a:br>
              <a:rPr lang="en-US">
                <a:cs typeface="+mn-lt"/>
              </a:rPr>
            </a:br>
            <a:r>
              <a:rPr lang="en-US"/>
              <a:t> Even after recovery, organizations risk reintroducing corrupted or compromised files, which destroys confidence in the restored environment.</a:t>
            </a:r>
            <a:br>
              <a:rPr lang="en-US">
                <a:cs typeface="+mn-lt"/>
              </a:rPr>
            </a:br>
            <a:r>
              <a:rPr lang="en-US"/>
              <a:t> And because most traditional recovery methods rely on manual snapshots and scripts, the entire process is slow, complex, and error-prone.</a:t>
            </a:r>
          </a:p>
          <a:p>
            <a:r>
              <a:rPr lang="en-US"/>
              <a:t>This is where Commvault Cloud’s </a:t>
            </a:r>
            <a:r>
              <a:rPr lang="en-US" b="1"/>
              <a:t>Synthetic Recovery</a:t>
            </a:r>
            <a:r>
              <a:rPr lang="en-US"/>
              <a:t> fundamentally changes the game.</a:t>
            </a:r>
            <a:br>
              <a:rPr lang="en-US">
                <a:cs typeface="+mn-lt"/>
              </a:rPr>
            </a:br>
            <a:r>
              <a:rPr lang="en-US"/>
              <a:t> Using </a:t>
            </a:r>
            <a:r>
              <a:rPr lang="en-US" b="1"/>
              <a:t>AI-powered threat detection</a:t>
            </a:r>
            <a:r>
              <a:rPr lang="en-US"/>
              <a:t>, Commvault helps identify and remove malicious or compromised data during recovery.</a:t>
            </a:r>
            <a:br>
              <a:rPr lang="en-US">
                <a:cs typeface="+mn-lt"/>
              </a:rPr>
            </a:br>
            <a:r>
              <a:rPr lang="en-US"/>
              <a:t> Instead of reverting to old backups, Synthetic Recovery reconstructs the most current, verified dataset — delivering cleaner, faster, and more complete recovery without the need for manual intervention.</a:t>
            </a:r>
            <a:endParaRPr lang="en-US">
              <a:ea typeface="Calibri"/>
              <a:cs typeface="Calibri"/>
            </a:endParaRPr>
          </a:p>
          <a:p>
            <a:r>
              <a:rPr lang="en-US"/>
              <a:t>Through </a:t>
            </a:r>
            <a:r>
              <a:rPr lang="en-US" b="1"/>
              <a:t>intelligent automation</a:t>
            </a:r>
            <a:r>
              <a:rPr lang="en-US"/>
              <a:t>, Commvault orchestrates the entire recovery process end-to-end.</a:t>
            </a:r>
            <a:br>
              <a:rPr lang="en-US">
                <a:cs typeface="+mn-lt"/>
              </a:rPr>
            </a:br>
            <a:r>
              <a:rPr lang="en-US"/>
              <a:t> It isolates bad data, restores only clean, trusted data, and enables continuous business operations — even if an attack is still in progress.</a:t>
            </a:r>
            <a:br>
              <a:rPr lang="en-US">
                <a:cs typeface="+mn-lt"/>
              </a:rPr>
            </a:br>
            <a:r>
              <a:rPr lang="en-US"/>
              <a:t> The result is faster, cleaner, and more resilient recovery that helps eliminate the traditional trade-offs teams face after a cyberattack.</a:t>
            </a:r>
            <a:endParaRPr lang="en-US">
              <a:ea typeface="Calibri"/>
              <a:cs typeface="Calibri"/>
            </a:endParaRPr>
          </a:p>
          <a:p>
            <a:r>
              <a:rPr lang="en-US" b="1"/>
              <a:t>Closing:</a:t>
            </a:r>
            <a:br>
              <a:rPr lang="en-US" b="1">
                <a:cs typeface="+mn-lt"/>
              </a:rPr>
            </a:br>
            <a:r>
              <a:rPr lang="en-US" b="1"/>
              <a:t> With Synthetic Recovery, organizations no longer have to choose between speed and safety.</a:t>
            </a:r>
            <a:br>
              <a:rPr lang="en-US" b="1">
                <a:cs typeface="+mn-lt"/>
              </a:rPr>
            </a:br>
            <a:r>
              <a:rPr lang="en-US" b="1"/>
              <a:t> You get both — faster recovery and cleaner, trusted data — so your business can keep running confidently, no matter what happens.</a:t>
            </a:r>
            <a:endParaRPr lang="en-US"/>
          </a:p>
          <a:p>
            <a:endParaRPr lang="en-US">
              <a:ea typeface="Calibri"/>
              <a:cs typeface="Calibri"/>
            </a:endParaRPr>
          </a:p>
        </p:txBody>
      </p:sp>
      <p:sp>
        <p:nvSpPr>
          <p:cNvPr id="4" name="Slide Number Placeholder 3">
            <a:extLst>
              <a:ext uri="{FF2B5EF4-FFF2-40B4-BE49-F238E27FC236}">
                <a16:creationId xmlns:a16="http://schemas.microsoft.com/office/drawing/2014/main" id="{6E860AB3-E140-A864-7F72-6B6F10C01DF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81FE60-E097-5F49-BE21-33478E8B0A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7658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B202CE-BAC0-EC06-4D31-40A6962D6A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F983C1-9A64-ACCC-F499-F323142B24A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2811E2D-CC1F-8CB8-9DAF-56CD11A4D3F8}"/>
              </a:ext>
            </a:extLst>
          </p:cNvPr>
          <p:cNvSpPr>
            <a:spLocks noGrp="1"/>
          </p:cNvSpPr>
          <p:nvPr>
            <p:ph type="body" idx="1"/>
          </p:nvPr>
        </p:nvSpPr>
        <p:spPr/>
        <p:txBody>
          <a:bodyPr/>
          <a:lstStyle/>
          <a:p>
            <a:r>
              <a:rPr lang="en-US"/>
              <a:t>As organizations embrace AI, data exposure and misuse have become key risks. Commvault Cloud unifies data discovery, governance, and access control to help customers protect data at its source and enable responsible AI use.</a:t>
            </a:r>
          </a:p>
          <a:p>
            <a:endParaRPr lang="en-US"/>
          </a:p>
          <a:p>
            <a:r>
              <a:rPr lang="en-US" b="1"/>
              <a:t>Customer Challenges</a:t>
            </a:r>
            <a:endParaRPr lang="en-US"/>
          </a:p>
          <a:p>
            <a:r>
              <a:rPr lang="en-US"/>
              <a:t>First, </a:t>
            </a:r>
            <a:r>
              <a:rPr lang="en-US" b="1"/>
              <a:t>Data Exposure</a:t>
            </a:r>
            <a:r>
              <a:rPr lang="en-US"/>
              <a:t> has become an uncontrolled risk.</a:t>
            </a:r>
            <a:br>
              <a:rPr lang="en-US">
                <a:cs typeface="+mn-lt"/>
              </a:rPr>
            </a:br>
            <a:r>
              <a:rPr lang="en-US"/>
              <a:t> Nearly every organization — 99% — has exposed sensitive data that can be surfaced by AI. Without visibility into what data they have or where it lives, compliance and security gaps grow quickly.</a:t>
            </a:r>
            <a:endParaRPr lang="en-US">
              <a:ea typeface="Calibri"/>
              <a:cs typeface="Calibri"/>
            </a:endParaRPr>
          </a:p>
          <a:p>
            <a:r>
              <a:rPr lang="en-US"/>
              <a:t>Second, </a:t>
            </a:r>
            <a:r>
              <a:rPr lang="en-US" b="1"/>
              <a:t>Shadow AI</a:t>
            </a:r>
            <a:r>
              <a:rPr lang="en-US"/>
              <a:t> is creating new types of unintentional data leakage.</a:t>
            </a:r>
            <a:br>
              <a:rPr lang="en-US">
                <a:cs typeface="+mn-lt"/>
              </a:rPr>
            </a:br>
            <a:r>
              <a:rPr lang="en-US"/>
              <a:t> Employees often upload files into GenAI tools — sometimes from personal accounts — exposing PII or confidential data without realizing it.</a:t>
            </a:r>
            <a:br>
              <a:rPr lang="en-US">
                <a:cs typeface="+mn-lt"/>
              </a:rPr>
            </a:br>
            <a:r>
              <a:rPr lang="en-US"/>
              <a:t> These actions can violate privacy regulations and create serious governance issues.</a:t>
            </a:r>
            <a:endParaRPr lang="en-US">
              <a:ea typeface="Calibri"/>
              <a:cs typeface="Calibri"/>
            </a:endParaRPr>
          </a:p>
          <a:p>
            <a:r>
              <a:rPr lang="en-US"/>
              <a:t>Finally, </a:t>
            </a:r>
            <a:r>
              <a:rPr lang="en-US" b="1"/>
              <a:t>Overexposed Access</a:t>
            </a:r>
            <a:r>
              <a:rPr lang="en-US"/>
              <a:t> increases breach potential.</a:t>
            </a:r>
            <a:br>
              <a:rPr lang="en-US">
                <a:cs typeface="+mn-lt"/>
              </a:rPr>
            </a:br>
            <a:r>
              <a:rPr lang="en-US"/>
              <a:t> Too many organizations have excessive permissions, orphaned data, and inconsistent access controls across environments.</a:t>
            </a:r>
            <a:br>
              <a:rPr lang="en-US">
                <a:cs typeface="+mn-lt"/>
              </a:rPr>
            </a:br>
            <a:r>
              <a:rPr lang="en-US"/>
              <a:t> That means attackers — or even AI systems — can easily reach sensitive data that should be protected.</a:t>
            </a:r>
            <a:endParaRPr lang="en-US">
              <a:ea typeface="Calibri"/>
              <a:cs typeface="Calibri"/>
            </a:endParaRPr>
          </a:p>
          <a:p>
            <a:endParaRPr lang="en-US"/>
          </a:p>
          <a:p>
            <a:r>
              <a:rPr lang="en-US" b="1"/>
              <a:t>Commvault Cloud Capability</a:t>
            </a:r>
            <a:endParaRPr lang="en-US"/>
          </a:p>
          <a:p>
            <a:r>
              <a:rPr lang="en-US"/>
              <a:t>Commvault Cloud addresses all of these challenges through unified visibility, control, and automation.</a:t>
            </a:r>
            <a:endParaRPr lang="en-US">
              <a:ea typeface="Calibri"/>
              <a:cs typeface="Calibri"/>
            </a:endParaRPr>
          </a:p>
          <a:p>
            <a:r>
              <a:rPr lang="en-US"/>
              <a:t>With </a:t>
            </a:r>
            <a:r>
              <a:rPr lang="en-US" b="1"/>
              <a:t>Unified Data Discovery and Classification</a:t>
            </a:r>
            <a:r>
              <a:rPr lang="en-US"/>
              <a:t>, Commvault automatically scans structured and unstructured data across clouds and AI environments.</a:t>
            </a:r>
            <a:br>
              <a:rPr lang="en-US">
                <a:cs typeface="+mn-lt"/>
              </a:rPr>
            </a:br>
            <a:r>
              <a:rPr lang="en-US"/>
              <a:t> This helps organizations understand what data exists, where it’s stored, and what’s sensitive — so appropriate policies can be applied immediately.</a:t>
            </a:r>
            <a:endParaRPr lang="en-US">
              <a:ea typeface="Calibri"/>
              <a:cs typeface="Calibri"/>
            </a:endParaRPr>
          </a:p>
          <a:p>
            <a:r>
              <a:rPr lang="en-US"/>
              <a:t>Next, </a:t>
            </a:r>
            <a:r>
              <a:rPr lang="en-US" b="1"/>
              <a:t>AI Data Governance</a:t>
            </a:r>
            <a:r>
              <a:rPr lang="en-US"/>
              <a:t> helps support responsible use of AI.</a:t>
            </a:r>
            <a:br>
              <a:rPr lang="en-US">
                <a:cs typeface="+mn-lt"/>
              </a:rPr>
            </a:br>
            <a:r>
              <a:rPr lang="en-US"/>
              <a:t> By monitoring AI training data, prompts, and responses, Commvault helps prevent sensitive information from being misused, maintaining compliance with privacy and ethical AI standards.</a:t>
            </a:r>
            <a:endParaRPr lang="en-US">
              <a:ea typeface="Calibri"/>
              <a:cs typeface="Calibri"/>
            </a:endParaRPr>
          </a:p>
          <a:p>
            <a:r>
              <a:rPr lang="en-US"/>
              <a:t>And finally, </a:t>
            </a:r>
            <a:r>
              <a:rPr lang="en-US" b="1"/>
              <a:t>Access Governance and Policy Control</a:t>
            </a:r>
            <a:r>
              <a:rPr lang="en-US"/>
              <a:t> reduces exposure.</a:t>
            </a:r>
            <a:br>
              <a:rPr lang="en-US">
                <a:cs typeface="+mn-lt"/>
              </a:rPr>
            </a:br>
            <a:r>
              <a:rPr lang="en-US"/>
              <a:t> Commvault enforces intelligent access policies that define who — or what AI — can access data.</a:t>
            </a:r>
            <a:br>
              <a:rPr lang="en-US">
                <a:cs typeface="+mn-lt"/>
              </a:rPr>
            </a:br>
            <a:r>
              <a:rPr lang="en-US"/>
              <a:t> It automatically remediates risky permissions, masks or redacts sensitive content, and helps support compliance across environments.</a:t>
            </a:r>
            <a:endParaRPr lang="en-US">
              <a:ea typeface="Calibri"/>
              <a:cs typeface="Calibri"/>
            </a:endParaRPr>
          </a:p>
          <a:p>
            <a:endParaRPr lang="en-US"/>
          </a:p>
          <a:p>
            <a:r>
              <a:rPr lang="en-US" b="1"/>
              <a:t>Closing</a:t>
            </a:r>
            <a:endParaRPr lang="en-US"/>
          </a:p>
          <a:p>
            <a:r>
              <a:rPr lang="en-US"/>
              <a:t>In short, Commvault Cloud delivers unified protection for your data and AI — giving organizations the visibility, governance, and control they need to protect sensitive data and use AI responsibly.</a:t>
            </a:r>
            <a:endParaRPr lang="en-US">
              <a:ea typeface="Calibri"/>
              <a:cs typeface="Calibri"/>
            </a:endParaRPr>
          </a:p>
          <a:p>
            <a:endParaRPr lang="en-US">
              <a:ea typeface="Calibri"/>
              <a:cs typeface="Calibri"/>
            </a:endParaRPr>
          </a:p>
        </p:txBody>
      </p:sp>
      <p:sp>
        <p:nvSpPr>
          <p:cNvPr id="4" name="Slide Number Placeholder 3">
            <a:extLst>
              <a:ext uri="{FF2B5EF4-FFF2-40B4-BE49-F238E27FC236}">
                <a16:creationId xmlns:a16="http://schemas.microsoft.com/office/drawing/2014/main" id="{B781DBB9-A431-89F4-4818-3C251EE4F35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81FE60-E097-5F49-BE21-33478E8B0A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72891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5E03D1-EED2-7004-742F-B2E49282C6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B10866-7BB5-9050-C631-9C9441D41B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64C047-8CFE-40A0-DCEC-EF0C5FB65E96}"/>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838522CD-D3CE-0C8B-492D-72922D385A8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81FE60-E097-5F49-BE21-33478E8B0A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3796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4.sv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hyperlink" Target="mailto:webinarinfo@commvault.com" TargetMode="External"/><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12.emf"/></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4.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11DB65C-D2DA-AFF1-9082-C36CE135088E}"/>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a:extLst>
              <a:ext uri="{FF2B5EF4-FFF2-40B4-BE49-F238E27FC236}">
                <a16:creationId xmlns:a16="http://schemas.microsoft.com/office/drawing/2014/main" id="{1D39D3D4-95A9-F89D-4300-CC9FC2F697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58EC4BC3-51AE-7E7A-5ED5-6F03103C4DDA}"/>
              </a:ext>
            </a:extLst>
          </p:cNvPr>
          <p:cNvSpPr>
            <a:spLocks noGrp="1"/>
          </p:cNvSpPr>
          <p:nvPr>
            <p:ph type="dt" sz="half" idx="10"/>
          </p:nvPr>
        </p:nvSpPr>
        <p:spPr/>
        <p:txBody>
          <a:bodyPr/>
          <a:lstStyle/>
          <a:p>
            <a:fld id="{D0A8EAAB-0451-F345-AAE8-903E658FFCB4}" type="datetimeFigureOut">
              <a:rPr lang="es-ES" smtClean="0"/>
              <a:t>26/04/2026</a:t>
            </a:fld>
            <a:endParaRPr lang="es-ES"/>
          </a:p>
        </p:txBody>
      </p:sp>
      <p:sp>
        <p:nvSpPr>
          <p:cNvPr id="5" name="Marcador de pie de página 4">
            <a:extLst>
              <a:ext uri="{FF2B5EF4-FFF2-40B4-BE49-F238E27FC236}">
                <a16:creationId xmlns:a16="http://schemas.microsoft.com/office/drawing/2014/main" id="{5F455AC1-FA5D-B6A8-B514-76A22745407E}"/>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29751A1F-7927-DEF3-E8CC-1FA8D8E0FDFE}"/>
              </a:ext>
            </a:extLst>
          </p:cNvPr>
          <p:cNvSpPr>
            <a:spLocks noGrp="1"/>
          </p:cNvSpPr>
          <p:nvPr>
            <p:ph type="sldNum" sz="quarter" idx="12"/>
          </p:nvPr>
        </p:nvSpPr>
        <p:spPr/>
        <p:txBody>
          <a:bodyPr/>
          <a:lstStyle/>
          <a:p>
            <a:fld id="{C5C9C0E2-798D-424A-9802-04B7FA7A38FE}" type="slidenum">
              <a:rPr lang="es-ES" smtClean="0"/>
              <a:t>‹Nr.›</a:t>
            </a:fld>
            <a:endParaRPr lang="es-ES"/>
          </a:p>
        </p:txBody>
      </p:sp>
    </p:spTree>
    <p:extLst>
      <p:ext uri="{BB962C8B-B14F-4D97-AF65-F5344CB8AC3E}">
        <p14:creationId xmlns:p14="http://schemas.microsoft.com/office/powerpoint/2010/main" val="340590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2A0F3DA-830A-3A81-EA75-BCDE47171913}"/>
              </a:ext>
            </a:extLst>
          </p:cNvPr>
          <p:cNvSpPr>
            <a:spLocks noGrp="1"/>
          </p:cNvSpPr>
          <p:nvPr>
            <p:ph type="title"/>
          </p:nvPr>
        </p:nvSpPr>
        <p:spPr/>
        <p:txBody>
          <a:bodyPr/>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2FB793C2-D260-B9AC-AACD-A4AFF324EDC7}"/>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F1268168-9B8F-9CB7-FEAA-B6B3C9CD8FF3}"/>
              </a:ext>
            </a:extLst>
          </p:cNvPr>
          <p:cNvSpPr>
            <a:spLocks noGrp="1"/>
          </p:cNvSpPr>
          <p:nvPr>
            <p:ph type="dt" sz="half" idx="10"/>
          </p:nvPr>
        </p:nvSpPr>
        <p:spPr/>
        <p:txBody>
          <a:bodyPr/>
          <a:lstStyle/>
          <a:p>
            <a:fld id="{D0A8EAAB-0451-F345-AAE8-903E658FFCB4}" type="datetimeFigureOut">
              <a:rPr lang="es-ES" smtClean="0"/>
              <a:t>26/04/2026</a:t>
            </a:fld>
            <a:endParaRPr lang="es-ES"/>
          </a:p>
        </p:txBody>
      </p:sp>
      <p:sp>
        <p:nvSpPr>
          <p:cNvPr id="5" name="Marcador de pie de página 4">
            <a:extLst>
              <a:ext uri="{FF2B5EF4-FFF2-40B4-BE49-F238E27FC236}">
                <a16:creationId xmlns:a16="http://schemas.microsoft.com/office/drawing/2014/main" id="{AD1CC8C2-1CAF-B617-A707-E77C4CCAEDD1}"/>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94D8558E-C28F-CBFF-B395-9F5694591C58}"/>
              </a:ext>
            </a:extLst>
          </p:cNvPr>
          <p:cNvSpPr>
            <a:spLocks noGrp="1"/>
          </p:cNvSpPr>
          <p:nvPr>
            <p:ph type="sldNum" sz="quarter" idx="12"/>
          </p:nvPr>
        </p:nvSpPr>
        <p:spPr/>
        <p:txBody>
          <a:bodyPr/>
          <a:lstStyle/>
          <a:p>
            <a:fld id="{C5C9C0E2-798D-424A-9802-04B7FA7A38FE}" type="slidenum">
              <a:rPr lang="es-ES" smtClean="0"/>
              <a:t>‹Nr.›</a:t>
            </a:fld>
            <a:endParaRPr lang="es-ES"/>
          </a:p>
        </p:txBody>
      </p:sp>
    </p:spTree>
    <p:extLst>
      <p:ext uri="{BB962C8B-B14F-4D97-AF65-F5344CB8AC3E}">
        <p14:creationId xmlns:p14="http://schemas.microsoft.com/office/powerpoint/2010/main" val="6939836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D2193E3A-FB87-F0F0-2D29-8B55067BA7E5}"/>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BF99CFF3-ADE4-D2DC-595E-E1D8D9496FF2}"/>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505BC8A1-C722-F5F7-1530-71F28E7E7178}"/>
              </a:ext>
            </a:extLst>
          </p:cNvPr>
          <p:cNvSpPr>
            <a:spLocks noGrp="1"/>
          </p:cNvSpPr>
          <p:nvPr>
            <p:ph type="dt" sz="half" idx="10"/>
          </p:nvPr>
        </p:nvSpPr>
        <p:spPr/>
        <p:txBody>
          <a:bodyPr/>
          <a:lstStyle/>
          <a:p>
            <a:fld id="{D0A8EAAB-0451-F345-AAE8-903E658FFCB4}" type="datetimeFigureOut">
              <a:rPr lang="es-ES" smtClean="0"/>
              <a:t>26/04/2026</a:t>
            </a:fld>
            <a:endParaRPr lang="es-ES"/>
          </a:p>
        </p:txBody>
      </p:sp>
      <p:sp>
        <p:nvSpPr>
          <p:cNvPr id="5" name="Marcador de pie de página 4">
            <a:extLst>
              <a:ext uri="{FF2B5EF4-FFF2-40B4-BE49-F238E27FC236}">
                <a16:creationId xmlns:a16="http://schemas.microsoft.com/office/drawing/2014/main" id="{2EFFF66A-ED9C-0A25-7CE6-32CB0CDFC0EB}"/>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7751EAE1-756A-2D2A-DA87-1B0F639F7C85}"/>
              </a:ext>
            </a:extLst>
          </p:cNvPr>
          <p:cNvSpPr>
            <a:spLocks noGrp="1"/>
          </p:cNvSpPr>
          <p:nvPr>
            <p:ph type="sldNum" sz="quarter" idx="12"/>
          </p:nvPr>
        </p:nvSpPr>
        <p:spPr/>
        <p:txBody>
          <a:bodyPr/>
          <a:lstStyle/>
          <a:p>
            <a:fld id="{C5C9C0E2-798D-424A-9802-04B7FA7A38FE}" type="slidenum">
              <a:rPr lang="es-ES" smtClean="0"/>
              <a:t>‹Nr.›</a:t>
            </a:fld>
            <a:endParaRPr lang="es-ES"/>
          </a:p>
        </p:txBody>
      </p:sp>
    </p:spTree>
    <p:extLst>
      <p:ext uri="{BB962C8B-B14F-4D97-AF65-F5344CB8AC3E}">
        <p14:creationId xmlns:p14="http://schemas.microsoft.com/office/powerpoint/2010/main" val="3475192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Title Slide">
    <p:bg>
      <p:bgPr>
        <a:solidFill>
          <a:srgbClr val="000218"/>
        </a:solidFill>
        <a:effectLst/>
      </p:bgPr>
    </p:bg>
    <p:spTree>
      <p:nvGrpSpPr>
        <p:cNvPr id="1" name=""/>
        <p:cNvGrpSpPr/>
        <p:nvPr/>
      </p:nvGrpSpPr>
      <p:grpSpPr>
        <a:xfrm>
          <a:off x="0" y="0"/>
          <a:ext cx="0" cy="0"/>
          <a:chOff x="0" y="0"/>
          <a:chExt cx="0" cy="0"/>
        </a:xfrm>
      </p:grpSpPr>
      <p:pic>
        <p:nvPicPr>
          <p:cNvPr id="4" name="Picture 3" descr="A green and black background&#10;&#10;Description automatically generated">
            <a:extLst>
              <a:ext uri="{FF2B5EF4-FFF2-40B4-BE49-F238E27FC236}">
                <a16:creationId xmlns:a16="http://schemas.microsoft.com/office/drawing/2014/main" id="{F744801D-E3E4-C8FC-9958-0BAC6E3E6C9F}"/>
              </a:ext>
            </a:extLst>
          </p:cNvPr>
          <p:cNvPicPr>
            <a:picLocks noChangeAspect="1"/>
          </p:cNvPicPr>
          <p:nvPr userDrawn="1">
            <p:custDataLst>
              <p:tags r:id="rId1"/>
            </p:custDataLst>
          </p:nvPr>
        </p:nvPicPr>
        <p:blipFill rotWithShape="1">
          <a:blip r:embed="rId3">
            <a:alphaModFix amt="20000"/>
            <a:grayscl/>
          </a:blip>
          <a:srcRect t="16903"/>
          <a:stretch/>
        </p:blipFill>
        <p:spPr>
          <a:xfrm rot="5400000">
            <a:off x="2667000" y="-2667001"/>
            <a:ext cx="6858000" cy="12192001"/>
          </a:xfrm>
          <a:prstGeom prst="rect">
            <a:avLst/>
          </a:prstGeom>
        </p:spPr>
      </p:pic>
      <p:sp>
        <p:nvSpPr>
          <p:cNvPr id="2" name="Title 1">
            <a:extLst>
              <a:ext uri="{FF2B5EF4-FFF2-40B4-BE49-F238E27FC236}">
                <a16:creationId xmlns:a16="http://schemas.microsoft.com/office/drawing/2014/main" id="{B41C8C20-39C6-40F8-0EDE-700297182BD1}"/>
              </a:ext>
            </a:extLst>
          </p:cNvPr>
          <p:cNvSpPr>
            <a:spLocks noGrp="1"/>
          </p:cNvSpPr>
          <p:nvPr>
            <p:ph type="ctrTitle" hasCustomPrompt="1"/>
          </p:nvPr>
        </p:nvSpPr>
        <p:spPr>
          <a:xfrm>
            <a:off x="952313" y="2276086"/>
            <a:ext cx="9144000" cy="1600589"/>
          </a:xfrm>
        </p:spPr>
        <p:txBody>
          <a:bodyPr lIns="0" tIns="0" rIns="0" bIns="0" anchor="b">
            <a:normAutofit/>
          </a:bodyPr>
          <a:lstStyle>
            <a:lvl1pPr algn="l">
              <a:defRPr sz="5400" b="0">
                <a:gradFill>
                  <a:gsLst>
                    <a:gs pos="100000">
                      <a:srgbClr val="6E74B7"/>
                    </a:gs>
                    <a:gs pos="61000">
                      <a:srgbClr val="834895"/>
                    </a:gs>
                    <a:gs pos="0">
                      <a:srgbClr val="E92B62"/>
                    </a:gs>
                  </a:gsLst>
                  <a:lin ang="0" scaled="0"/>
                </a:gradFill>
              </a:defRPr>
            </a:lvl1pPr>
          </a:lstStyle>
          <a:p>
            <a:r>
              <a:rPr lang="en-US"/>
              <a:t>You Can Place Title Here</a:t>
            </a:r>
          </a:p>
        </p:txBody>
      </p:sp>
      <p:sp>
        <p:nvSpPr>
          <p:cNvPr id="3" name="Subtitle 2">
            <a:extLst>
              <a:ext uri="{FF2B5EF4-FFF2-40B4-BE49-F238E27FC236}">
                <a16:creationId xmlns:a16="http://schemas.microsoft.com/office/drawing/2014/main" id="{F955BA2A-ACF2-1151-DF65-61EE7715C564}"/>
              </a:ext>
            </a:extLst>
          </p:cNvPr>
          <p:cNvSpPr>
            <a:spLocks noGrp="1"/>
          </p:cNvSpPr>
          <p:nvPr>
            <p:ph type="subTitle" idx="1" hasCustomPrompt="1"/>
          </p:nvPr>
        </p:nvSpPr>
        <p:spPr>
          <a:xfrm>
            <a:off x="952313" y="4121327"/>
            <a:ext cx="9144000" cy="276999"/>
          </a:xfrm>
        </p:spPr>
        <p:txBody>
          <a:bodyPr lIns="0" tIns="0" rIns="0" bIns="0">
            <a:noAutofit/>
          </a:bodyPr>
          <a:lstStyle>
            <a:lvl1pPr marL="0" indent="0" algn="l">
              <a:buNone/>
              <a:defRPr sz="20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 GOES HERE IN ALL CAPS</a:t>
            </a:r>
          </a:p>
        </p:txBody>
      </p:sp>
      <p:sp>
        <p:nvSpPr>
          <p:cNvPr id="10" name="Text Placeholder 9">
            <a:extLst>
              <a:ext uri="{FF2B5EF4-FFF2-40B4-BE49-F238E27FC236}">
                <a16:creationId xmlns:a16="http://schemas.microsoft.com/office/drawing/2014/main" id="{24066AAE-6505-7C38-074A-2512C63985CA}"/>
              </a:ext>
            </a:extLst>
          </p:cNvPr>
          <p:cNvSpPr>
            <a:spLocks noGrp="1"/>
          </p:cNvSpPr>
          <p:nvPr>
            <p:ph type="body" sz="quarter" idx="12" hasCustomPrompt="1"/>
          </p:nvPr>
        </p:nvSpPr>
        <p:spPr>
          <a:xfrm>
            <a:off x="952313" y="4821575"/>
            <a:ext cx="5744066" cy="255775"/>
          </a:xfrm>
        </p:spPr>
        <p:txBody>
          <a:bodyPr lIns="0" tIns="0" rIns="0" bIns="0" anchor="ctr">
            <a:noAutofit/>
          </a:bodyPr>
          <a:lstStyle>
            <a:lvl1pPr marL="0" indent="0">
              <a:buNone/>
              <a:defRPr sz="1400">
                <a:solidFill>
                  <a:schemeClr val="bg1"/>
                </a:solidFill>
              </a:defRPr>
            </a:lvl1pPr>
          </a:lstStyle>
          <a:p>
            <a:pPr lvl="0"/>
            <a:r>
              <a:rPr lang="en-US"/>
              <a:t>Name Surname</a:t>
            </a:r>
          </a:p>
        </p:txBody>
      </p:sp>
      <p:sp>
        <p:nvSpPr>
          <p:cNvPr id="11" name="Text Placeholder 9">
            <a:extLst>
              <a:ext uri="{FF2B5EF4-FFF2-40B4-BE49-F238E27FC236}">
                <a16:creationId xmlns:a16="http://schemas.microsoft.com/office/drawing/2014/main" id="{774E088D-3365-D43A-38D0-289DFE26A9B0}"/>
              </a:ext>
            </a:extLst>
          </p:cNvPr>
          <p:cNvSpPr>
            <a:spLocks noGrp="1"/>
          </p:cNvSpPr>
          <p:nvPr>
            <p:ph type="body" sz="quarter" idx="13" hasCustomPrompt="1"/>
          </p:nvPr>
        </p:nvSpPr>
        <p:spPr>
          <a:xfrm>
            <a:off x="952313" y="5116159"/>
            <a:ext cx="5744066" cy="255775"/>
          </a:xfrm>
        </p:spPr>
        <p:txBody>
          <a:bodyPr lIns="0" tIns="0" rIns="0" bIns="0" anchor="ctr">
            <a:noAutofit/>
          </a:bodyPr>
          <a:lstStyle>
            <a:lvl1pPr marL="0" indent="0">
              <a:buNone/>
              <a:defRPr sz="1400">
                <a:solidFill>
                  <a:schemeClr val="bg1"/>
                </a:solidFill>
              </a:defRPr>
            </a:lvl1pPr>
          </a:lstStyle>
          <a:p>
            <a:pPr lvl="0"/>
            <a:r>
              <a:rPr lang="en-US"/>
              <a:t>Title, Department</a:t>
            </a:r>
          </a:p>
        </p:txBody>
      </p:sp>
      <p:sp>
        <p:nvSpPr>
          <p:cNvPr id="12" name="Text Placeholder 9">
            <a:extLst>
              <a:ext uri="{FF2B5EF4-FFF2-40B4-BE49-F238E27FC236}">
                <a16:creationId xmlns:a16="http://schemas.microsoft.com/office/drawing/2014/main" id="{16D0105D-59AC-733F-92BE-8ECFED6CBB07}"/>
              </a:ext>
            </a:extLst>
          </p:cNvPr>
          <p:cNvSpPr>
            <a:spLocks noGrp="1"/>
          </p:cNvSpPr>
          <p:nvPr>
            <p:ph type="body" sz="quarter" idx="14" hasCustomPrompt="1"/>
          </p:nvPr>
        </p:nvSpPr>
        <p:spPr>
          <a:xfrm>
            <a:off x="952617" y="5410743"/>
            <a:ext cx="5744066" cy="255775"/>
          </a:xfrm>
        </p:spPr>
        <p:txBody>
          <a:bodyPr lIns="0" tIns="0" rIns="0" bIns="0" anchor="ctr">
            <a:noAutofit/>
          </a:bodyPr>
          <a:lstStyle>
            <a:lvl1pPr marL="0" indent="0">
              <a:buNone/>
              <a:defRPr sz="1400">
                <a:solidFill>
                  <a:schemeClr val="bg1"/>
                </a:solidFill>
              </a:defRPr>
            </a:lvl1pPr>
          </a:lstStyle>
          <a:p>
            <a:pPr lvl="0"/>
            <a:r>
              <a:rPr lang="en-US"/>
              <a:t>Month Year</a:t>
            </a:r>
          </a:p>
        </p:txBody>
      </p:sp>
      <p:sp>
        <p:nvSpPr>
          <p:cNvPr id="24" name="Footer Placeholder 13">
            <a:extLst>
              <a:ext uri="{FF2B5EF4-FFF2-40B4-BE49-F238E27FC236}">
                <a16:creationId xmlns:a16="http://schemas.microsoft.com/office/drawing/2014/main" id="{EA5F3BDF-1D51-7CE2-8A5D-EF009F8A5834}"/>
              </a:ext>
            </a:extLst>
          </p:cNvPr>
          <p:cNvSpPr>
            <a:spLocks noGrp="1"/>
          </p:cNvSpPr>
          <p:nvPr>
            <p:ph type="ftr" sz="quarter" idx="10"/>
          </p:nvPr>
        </p:nvSpPr>
        <p:spPr>
          <a:xfrm>
            <a:off x="10172700" y="6364123"/>
            <a:ext cx="1123950" cy="283368"/>
          </a:xfrm>
        </p:spPr>
        <p:txBody>
          <a:bodyPr/>
          <a:lstStyle>
            <a:lvl1pPr>
              <a:defRPr>
                <a:solidFill>
                  <a:schemeClr val="bg1"/>
                </a:solidFill>
              </a:defRPr>
            </a:lvl1pPr>
          </a:lstStyle>
          <a:p>
            <a:r>
              <a:rPr lang="en-US"/>
              <a:t>© Commvault 2025</a:t>
            </a:r>
          </a:p>
        </p:txBody>
      </p:sp>
    </p:spTree>
    <p:extLst>
      <p:ext uri="{BB962C8B-B14F-4D97-AF65-F5344CB8AC3E}">
        <p14:creationId xmlns:p14="http://schemas.microsoft.com/office/powerpoint/2010/main" val="36132615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Google Shape;959;g28b48f0dcfc_0_664">
            <a:extLst>
              <a:ext uri="{FF2B5EF4-FFF2-40B4-BE49-F238E27FC236}">
                <a16:creationId xmlns:a16="http://schemas.microsoft.com/office/drawing/2014/main" id="{E28BA626-FB0B-4CEF-BB8E-40371E3757FE}"/>
              </a:ext>
            </a:extLst>
          </p:cNvPr>
          <p:cNvPicPr preferRelativeResize="0"/>
          <p:nvPr userDrawn="1"/>
        </p:nvPicPr>
        <p:blipFill>
          <a:blip r:embed="rId2"/>
          <a:srcRect/>
          <a:stretch/>
        </p:blipFill>
        <p:spPr>
          <a:xfrm>
            <a:off x="0" y="-1754"/>
            <a:ext cx="12192000" cy="6860777"/>
          </a:xfrm>
          <a:prstGeom prst="rect">
            <a:avLst/>
          </a:prstGeom>
          <a:noFill/>
          <a:ln>
            <a:noFill/>
          </a:ln>
        </p:spPr>
      </p:pic>
      <p:sp>
        <p:nvSpPr>
          <p:cNvPr id="2" name="Title 1">
            <a:extLst>
              <a:ext uri="{FF2B5EF4-FFF2-40B4-BE49-F238E27FC236}">
                <a16:creationId xmlns:a16="http://schemas.microsoft.com/office/drawing/2014/main" id="{B41C8C20-39C6-40F8-0EDE-700297182BD1}"/>
              </a:ext>
            </a:extLst>
          </p:cNvPr>
          <p:cNvSpPr>
            <a:spLocks noGrp="1"/>
          </p:cNvSpPr>
          <p:nvPr>
            <p:ph type="ctrTitle" hasCustomPrompt="1"/>
          </p:nvPr>
        </p:nvSpPr>
        <p:spPr>
          <a:xfrm>
            <a:off x="952313" y="2276085"/>
            <a:ext cx="9144000" cy="2387600"/>
          </a:xfrm>
        </p:spPr>
        <p:txBody>
          <a:bodyPr lIns="0" tIns="0" rIns="0" bIns="0" anchor="b">
            <a:normAutofit/>
          </a:bodyPr>
          <a:lstStyle>
            <a:lvl1pPr algn="l">
              <a:defRPr sz="5400" b="0">
                <a:solidFill>
                  <a:schemeClr val="bg1"/>
                </a:solidFill>
              </a:defRPr>
            </a:lvl1pPr>
          </a:lstStyle>
          <a:p>
            <a:r>
              <a:rPr lang="en-US"/>
              <a:t>You Can Place Title Here</a:t>
            </a:r>
          </a:p>
        </p:txBody>
      </p:sp>
      <p:sp>
        <p:nvSpPr>
          <p:cNvPr id="3" name="Subtitle 2">
            <a:extLst>
              <a:ext uri="{FF2B5EF4-FFF2-40B4-BE49-F238E27FC236}">
                <a16:creationId xmlns:a16="http://schemas.microsoft.com/office/drawing/2014/main" id="{F955BA2A-ACF2-1151-DF65-61EE7715C564}"/>
              </a:ext>
            </a:extLst>
          </p:cNvPr>
          <p:cNvSpPr>
            <a:spLocks noGrp="1"/>
          </p:cNvSpPr>
          <p:nvPr>
            <p:ph type="subTitle" idx="1" hasCustomPrompt="1"/>
          </p:nvPr>
        </p:nvSpPr>
        <p:spPr>
          <a:xfrm>
            <a:off x="952313" y="4950777"/>
            <a:ext cx="9144000" cy="276999"/>
          </a:xfrm>
        </p:spPr>
        <p:txBody>
          <a:bodyPr lIns="0" tIns="0" rIns="0" bIns="0">
            <a:noAutofit/>
          </a:bodyPr>
          <a:lstStyle>
            <a:lvl1pPr marL="0" indent="0" algn="l">
              <a:buNone/>
              <a:defRPr sz="2000" cap="all" baseline="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HEAD GOES HERE IN ALL CAPS</a:t>
            </a:r>
          </a:p>
        </p:txBody>
      </p:sp>
      <p:sp>
        <p:nvSpPr>
          <p:cNvPr id="10" name="Text Placeholder 9">
            <a:extLst>
              <a:ext uri="{FF2B5EF4-FFF2-40B4-BE49-F238E27FC236}">
                <a16:creationId xmlns:a16="http://schemas.microsoft.com/office/drawing/2014/main" id="{24066AAE-6505-7C38-074A-2512C63985CA}"/>
              </a:ext>
            </a:extLst>
          </p:cNvPr>
          <p:cNvSpPr>
            <a:spLocks noGrp="1"/>
          </p:cNvSpPr>
          <p:nvPr>
            <p:ph type="body" sz="quarter" idx="12" hasCustomPrompt="1"/>
          </p:nvPr>
        </p:nvSpPr>
        <p:spPr>
          <a:xfrm>
            <a:off x="952313" y="5786146"/>
            <a:ext cx="5744067" cy="255775"/>
          </a:xfrm>
        </p:spPr>
        <p:txBody>
          <a:bodyPr lIns="0" tIns="0" rIns="0" bIns="0" anchor="ctr">
            <a:noAutofit/>
          </a:bodyPr>
          <a:lstStyle>
            <a:lvl1pPr marL="0" indent="0">
              <a:buNone/>
              <a:defRPr sz="1400">
                <a:solidFill>
                  <a:schemeClr val="bg1"/>
                </a:solidFill>
              </a:defRPr>
            </a:lvl1pPr>
          </a:lstStyle>
          <a:p>
            <a:pPr lvl="0"/>
            <a:r>
              <a:rPr lang="en-US"/>
              <a:t>Name Surname</a:t>
            </a:r>
          </a:p>
        </p:txBody>
      </p:sp>
      <p:sp>
        <p:nvSpPr>
          <p:cNvPr id="11" name="Text Placeholder 9">
            <a:extLst>
              <a:ext uri="{FF2B5EF4-FFF2-40B4-BE49-F238E27FC236}">
                <a16:creationId xmlns:a16="http://schemas.microsoft.com/office/drawing/2014/main" id="{774E088D-3365-D43A-38D0-289DFE26A9B0}"/>
              </a:ext>
            </a:extLst>
          </p:cNvPr>
          <p:cNvSpPr>
            <a:spLocks noGrp="1"/>
          </p:cNvSpPr>
          <p:nvPr>
            <p:ph type="body" sz="quarter" idx="13" hasCustomPrompt="1"/>
          </p:nvPr>
        </p:nvSpPr>
        <p:spPr>
          <a:xfrm>
            <a:off x="952313" y="6080730"/>
            <a:ext cx="5744067" cy="255775"/>
          </a:xfrm>
        </p:spPr>
        <p:txBody>
          <a:bodyPr lIns="0" tIns="0" rIns="0" bIns="0" anchor="ctr">
            <a:noAutofit/>
          </a:bodyPr>
          <a:lstStyle>
            <a:lvl1pPr marL="0" indent="0">
              <a:buNone/>
              <a:defRPr sz="1400">
                <a:solidFill>
                  <a:schemeClr val="bg1"/>
                </a:solidFill>
              </a:defRPr>
            </a:lvl1pPr>
          </a:lstStyle>
          <a:p>
            <a:pPr lvl="0"/>
            <a:r>
              <a:rPr lang="en-US"/>
              <a:t>Title, Department</a:t>
            </a:r>
          </a:p>
        </p:txBody>
      </p:sp>
      <p:sp>
        <p:nvSpPr>
          <p:cNvPr id="12" name="Text Placeholder 9">
            <a:extLst>
              <a:ext uri="{FF2B5EF4-FFF2-40B4-BE49-F238E27FC236}">
                <a16:creationId xmlns:a16="http://schemas.microsoft.com/office/drawing/2014/main" id="{16D0105D-59AC-733F-92BE-8ECFED6CBB07}"/>
              </a:ext>
            </a:extLst>
          </p:cNvPr>
          <p:cNvSpPr>
            <a:spLocks noGrp="1"/>
          </p:cNvSpPr>
          <p:nvPr>
            <p:ph type="body" sz="quarter" idx="14" hasCustomPrompt="1"/>
          </p:nvPr>
        </p:nvSpPr>
        <p:spPr>
          <a:xfrm>
            <a:off x="952617" y="6375314"/>
            <a:ext cx="5744067" cy="255775"/>
          </a:xfrm>
        </p:spPr>
        <p:txBody>
          <a:bodyPr lIns="0" tIns="0" rIns="0" bIns="0" anchor="ctr">
            <a:noAutofit/>
          </a:bodyPr>
          <a:lstStyle>
            <a:lvl1pPr marL="0" indent="0">
              <a:buNone/>
              <a:defRPr sz="1400">
                <a:solidFill>
                  <a:schemeClr val="bg1"/>
                </a:solidFill>
              </a:defRPr>
            </a:lvl1pPr>
          </a:lstStyle>
          <a:p>
            <a:pPr lvl="0"/>
            <a:r>
              <a:rPr lang="en-US"/>
              <a:t>Month Year</a:t>
            </a:r>
          </a:p>
        </p:txBody>
      </p:sp>
      <p:pic>
        <p:nvPicPr>
          <p:cNvPr id="21" name="Graphic 20">
            <a:extLst>
              <a:ext uri="{FF2B5EF4-FFF2-40B4-BE49-F238E27FC236}">
                <a16:creationId xmlns:a16="http://schemas.microsoft.com/office/drawing/2014/main" id="{13DBE5F0-E146-DB95-1FAC-3AC523A6A01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415597" y="280044"/>
            <a:ext cx="2419871" cy="461975"/>
          </a:xfrm>
          <a:prstGeom prst="rect">
            <a:avLst/>
          </a:prstGeom>
        </p:spPr>
      </p:pic>
      <p:sp>
        <p:nvSpPr>
          <p:cNvPr id="24" name="Footer Placeholder 13">
            <a:extLst>
              <a:ext uri="{FF2B5EF4-FFF2-40B4-BE49-F238E27FC236}">
                <a16:creationId xmlns:a16="http://schemas.microsoft.com/office/drawing/2014/main" id="{EA5F3BDF-1D51-7CE2-8A5D-EF009F8A5834}"/>
              </a:ext>
            </a:extLst>
          </p:cNvPr>
          <p:cNvSpPr>
            <a:spLocks noGrp="1"/>
          </p:cNvSpPr>
          <p:nvPr>
            <p:ph type="ftr" sz="quarter" idx="10"/>
          </p:nvPr>
        </p:nvSpPr>
        <p:spPr>
          <a:xfrm>
            <a:off x="10172701" y="6364123"/>
            <a:ext cx="1123951" cy="283368"/>
          </a:xfrm>
        </p:spPr>
        <p:txBody>
          <a:bodyPr/>
          <a:lstStyle>
            <a:lvl1pPr>
              <a:defRPr>
                <a:solidFill>
                  <a:schemeClr val="bg1"/>
                </a:solidFill>
              </a:defRPr>
            </a:lvl1pPr>
          </a:lstStyle>
          <a:p>
            <a:r>
              <a:rPr lang="en-US"/>
              <a:t>© Commvault 2024</a:t>
            </a:r>
          </a:p>
        </p:txBody>
      </p:sp>
    </p:spTree>
    <p:extLst>
      <p:ext uri="{BB962C8B-B14F-4D97-AF65-F5344CB8AC3E}">
        <p14:creationId xmlns:p14="http://schemas.microsoft.com/office/powerpoint/2010/main" val="33654484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artner Title">
    <p:spTree>
      <p:nvGrpSpPr>
        <p:cNvPr id="1" name=""/>
        <p:cNvGrpSpPr/>
        <p:nvPr/>
      </p:nvGrpSpPr>
      <p:grpSpPr>
        <a:xfrm>
          <a:off x="0" y="0"/>
          <a:ext cx="0" cy="0"/>
          <a:chOff x="0" y="0"/>
          <a:chExt cx="0" cy="0"/>
        </a:xfrm>
      </p:grpSpPr>
      <p:pic>
        <p:nvPicPr>
          <p:cNvPr id="4" name="Google Shape;959;g28b48f0dcfc_0_664">
            <a:extLst>
              <a:ext uri="{FF2B5EF4-FFF2-40B4-BE49-F238E27FC236}">
                <a16:creationId xmlns:a16="http://schemas.microsoft.com/office/drawing/2014/main" id="{0241102F-C65D-237D-3897-1830C846B217}"/>
              </a:ext>
            </a:extLst>
          </p:cNvPr>
          <p:cNvPicPr preferRelativeResize="0"/>
          <p:nvPr userDrawn="1"/>
        </p:nvPicPr>
        <p:blipFill>
          <a:blip r:embed="rId2"/>
          <a:srcRect/>
          <a:stretch/>
        </p:blipFill>
        <p:spPr>
          <a:xfrm>
            <a:off x="0" y="-1754"/>
            <a:ext cx="12192000" cy="6860777"/>
          </a:xfrm>
          <a:prstGeom prst="rect">
            <a:avLst/>
          </a:prstGeom>
          <a:noFill/>
          <a:ln>
            <a:noFill/>
          </a:ln>
        </p:spPr>
      </p:pic>
      <p:sp>
        <p:nvSpPr>
          <p:cNvPr id="2" name="Title 1">
            <a:extLst>
              <a:ext uri="{FF2B5EF4-FFF2-40B4-BE49-F238E27FC236}">
                <a16:creationId xmlns:a16="http://schemas.microsoft.com/office/drawing/2014/main" id="{B41C8C20-39C6-40F8-0EDE-700297182BD1}"/>
              </a:ext>
            </a:extLst>
          </p:cNvPr>
          <p:cNvSpPr>
            <a:spLocks noGrp="1"/>
          </p:cNvSpPr>
          <p:nvPr>
            <p:ph type="ctrTitle" hasCustomPrompt="1"/>
          </p:nvPr>
        </p:nvSpPr>
        <p:spPr>
          <a:xfrm>
            <a:off x="952313" y="2276085"/>
            <a:ext cx="9144000" cy="2387600"/>
          </a:xfrm>
        </p:spPr>
        <p:txBody>
          <a:bodyPr lIns="0" tIns="0" rIns="0" bIns="0" anchor="b">
            <a:normAutofit/>
          </a:bodyPr>
          <a:lstStyle>
            <a:lvl1pPr algn="l">
              <a:defRPr sz="5400" b="0">
                <a:solidFill>
                  <a:schemeClr val="bg1"/>
                </a:solidFill>
              </a:defRPr>
            </a:lvl1pPr>
          </a:lstStyle>
          <a:p>
            <a:r>
              <a:rPr lang="en-US"/>
              <a:t>You Can Place Title Here</a:t>
            </a:r>
          </a:p>
        </p:txBody>
      </p:sp>
      <p:sp>
        <p:nvSpPr>
          <p:cNvPr id="3" name="Subtitle 2">
            <a:extLst>
              <a:ext uri="{FF2B5EF4-FFF2-40B4-BE49-F238E27FC236}">
                <a16:creationId xmlns:a16="http://schemas.microsoft.com/office/drawing/2014/main" id="{F955BA2A-ACF2-1151-DF65-61EE7715C564}"/>
              </a:ext>
            </a:extLst>
          </p:cNvPr>
          <p:cNvSpPr>
            <a:spLocks noGrp="1"/>
          </p:cNvSpPr>
          <p:nvPr>
            <p:ph type="subTitle" idx="1" hasCustomPrompt="1"/>
          </p:nvPr>
        </p:nvSpPr>
        <p:spPr>
          <a:xfrm>
            <a:off x="952313" y="4950777"/>
            <a:ext cx="9144000" cy="276999"/>
          </a:xfrm>
        </p:spPr>
        <p:txBody>
          <a:bodyPr lIns="0" tIns="0" rIns="0" bIns="0">
            <a:noAutofit/>
          </a:bodyPr>
          <a:lstStyle>
            <a:lvl1pPr marL="0" indent="0" algn="l">
              <a:buNone/>
              <a:defRPr sz="2000" cap="all" baseline="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HEAD GOES HERE IN ALL CAPS</a:t>
            </a:r>
          </a:p>
        </p:txBody>
      </p:sp>
      <p:sp>
        <p:nvSpPr>
          <p:cNvPr id="10" name="Text Placeholder 9">
            <a:extLst>
              <a:ext uri="{FF2B5EF4-FFF2-40B4-BE49-F238E27FC236}">
                <a16:creationId xmlns:a16="http://schemas.microsoft.com/office/drawing/2014/main" id="{24066AAE-6505-7C38-074A-2512C63985CA}"/>
              </a:ext>
            </a:extLst>
          </p:cNvPr>
          <p:cNvSpPr>
            <a:spLocks noGrp="1"/>
          </p:cNvSpPr>
          <p:nvPr>
            <p:ph type="body" sz="quarter" idx="12" hasCustomPrompt="1"/>
          </p:nvPr>
        </p:nvSpPr>
        <p:spPr>
          <a:xfrm>
            <a:off x="952313" y="5786146"/>
            <a:ext cx="5744067" cy="255775"/>
          </a:xfrm>
        </p:spPr>
        <p:txBody>
          <a:bodyPr lIns="0" tIns="0" rIns="0" bIns="0" anchor="ctr">
            <a:noAutofit/>
          </a:bodyPr>
          <a:lstStyle>
            <a:lvl1pPr marL="0" indent="0">
              <a:buNone/>
              <a:defRPr sz="1400">
                <a:solidFill>
                  <a:schemeClr val="bg1"/>
                </a:solidFill>
              </a:defRPr>
            </a:lvl1pPr>
          </a:lstStyle>
          <a:p>
            <a:pPr lvl="0"/>
            <a:r>
              <a:rPr lang="en-US"/>
              <a:t>Name Surname</a:t>
            </a:r>
          </a:p>
        </p:txBody>
      </p:sp>
      <p:sp>
        <p:nvSpPr>
          <p:cNvPr id="11" name="Text Placeholder 9">
            <a:extLst>
              <a:ext uri="{FF2B5EF4-FFF2-40B4-BE49-F238E27FC236}">
                <a16:creationId xmlns:a16="http://schemas.microsoft.com/office/drawing/2014/main" id="{774E088D-3365-D43A-38D0-289DFE26A9B0}"/>
              </a:ext>
            </a:extLst>
          </p:cNvPr>
          <p:cNvSpPr>
            <a:spLocks noGrp="1"/>
          </p:cNvSpPr>
          <p:nvPr>
            <p:ph type="body" sz="quarter" idx="13" hasCustomPrompt="1"/>
          </p:nvPr>
        </p:nvSpPr>
        <p:spPr>
          <a:xfrm>
            <a:off x="952313" y="6080730"/>
            <a:ext cx="5744067" cy="255775"/>
          </a:xfrm>
        </p:spPr>
        <p:txBody>
          <a:bodyPr lIns="0" tIns="0" rIns="0" bIns="0" anchor="ctr">
            <a:noAutofit/>
          </a:bodyPr>
          <a:lstStyle>
            <a:lvl1pPr marL="0" indent="0">
              <a:buNone/>
              <a:defRPr sz="1400">
                <a:solidFill>
                  <a:schemeClr val="bg1"/>
                </a:solidFill>
              </a:defRPr>
            </a:lvl1pPr>
          </a:lstStyle>
          <a:p>
            <a:pPr lvl="0"/>
            <a:r>
              <a:rPr lang="en-US"/>
              <a:t>Title, Department</a:t>
            </a:r>
          </a:p>
        </p:txBody>
      </p:sp>
      <p:sp>
        <p:nvSpPr>
          <p:cNvPr id="12" name="Text Placeholder 9">
            <a:extLst>
              <a:ext uri="{FF2B5EF4-FFF2-40B4-BE49-F238E27FC236}">
                <a16:creationId xmlns:a16="http://schemas.microsoft.com/office/drawing/2014/main" id="{16D0105D-59AC-733F-92BE-8ECFED6CBB07}"/>
              </a:ext>
            </a:extLst>
          </p:cNvPr>
          <p:cNvSpPr>
            <a:spLocks noGrp="1"/>
          </p:cNvSpPr>
          <p:nvPr>
            <p:ph type="body" sz="quarter" idx="14" hasCustomPrompt="1"/>
          </p:nvPr>
        </p:nvSpPr>
        <p:spPr>
          <a:xfrm>
            <a:off x="952617" y="6375314"/>
            <a:ext cx="5744067" cy="255775"/>
          </a:xfrm>
        </p:spPr>
        <p:txBody>
          <a:bodyPr lIns="0" tIns="0" rIns="0" bIns="0" anchor="ctr">
            <a:noAutofit/>
          </a:bodyPr>
          <a:lstStyle>
            <a:lvl1pPr marL="0" indent="0">
              <a:buNone/>
              <a:defRPr sz="1400">
                <a:solidFill>
                  <a:schemeClr val="bg1"/>
                </a:solidFill>
              </a:defRPr>
            </a:lvl1pPr>
          </a:lstStyle>
          <a:p>
            <a:pPr lvl="0"/>
            <a:r>
              <a:rPr lang="en-US"/>
              <a:t>Month Year</a:t>
            </a:r>
          </a:p>
        </p:txBody>
      </p:sp>
      <p:pic>
        <p:nvPicPr>
          <p:cNvPr id="21" name="Graphic 20">
            <a:extLst>
              <a:ext uri="{FF2B5EF4-FFF2-40B4-BE49-F238E27FC236}">
                <a16:creationId xmlns:a16="http://schemas.microsoft.com/office/drawing/2014/main" id="{13DBE5F0-E146-DB95-1FAC-3AC523A6A01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415597" y="280044"/>
            <a:ext cx="2419871" cy="461975"/>
          </a:xfrm>
          <a:prstGeom prst="rect">
            <a:avLst/>
          </a:prstGeom>
        </p:spPr>
      </p:pic>
      <p:sp>
        <p:nvSpPr>
          <p:cNvPr id="24" name="Footer Placeholder 13">
            <a:extLst>
              <a:ext uri="{FF2B5EF4-FFF2-40B4-BE49-F238E27FC236}">
                <a16:creationId xmlns:a16="http://schemas.microsoft.com/office/drawing/2014/main" id="{EA5F3BDF-1D51-7CE2-8A5D-EF009F8A5834}"/>
              </a:ext>
            </a:extLst>
          </p:cNvPr>
          <p:cNvSpPr>
            <a:spLocks noGrp="1"/>
          </p:cNvSpPr>
          <p:nvPr>
            <p:ph type="ftr" sz="quarter" idx="10"/>
          </p:nvPr>
        </p:nvSpPr>
        <p:spPr>
          <a:xfrm>
            <a:off x="10172701" y="6364123"/>
            <a:ext cx="1123951" cy="283368"/>
          </a:xfrm>
        </p:spPr>
        <p:txBody>
          <a:bodyPr/>
          <a:lstStyle>
            <a:lvl1pPr>
              <a:defRPr>
                <a:solidFill>
                  <a:schemeClr val="bg1"/>
                </a:solidFill>
              </a:defRPr>
            </a:lvl1pPr>
          </a:lstStyle>
          <a:p>
            <a:r>
              <a:rPr lang="en-US"/>
              <a:t>© Commvault 2024</a:t>
            </a:r>
          </a:p>
        </p:txBody>
      </p:sp>
      <p:sp>
        <p:nvSpPr>
          <p:cNvPr id="5" name="Picture Placeholder 3">
            <a:extLst>
              <a:ext uri="{FF2B5EF4-FFF2-40B4-BE49-F238E27FC236}">
                <a16:creationId xmlns:a16="http://schemas.microsoft.com/office/drawing/2014/main" id="{7874742F-3ECB-655A-5BE8-2F52E296457D}"/>
              </a:ext>
            </a:extLst>
          </p:cNvPr>
          <p:cNvSpPr>
            <a:spLocks noGrp="1"/>
          </p:cNvSpPr>
          <p:nvPr>
            <p:ph type="pic" sz="quarter" idx="21" hasCustomPrompt="1"/>
          </p:nvPr>
        </p:nvSpPr>
        <p:spPr>
          <a:xfrm>
            <a:off x="3382025" y="280044"/>
            <a:ext cx="1858169" cy="461975"/>
          </a:xfrm>
        </p:spPr>
        <p:txBody>
          <a:bodyPr anchor="ctr">
            <a:noAutofit/>
          </a:bodyPr>
          <a:lstStyle>
            <a:lvl1pPr algn="ctr">
              <a:defRPr sz="1100">
                <a:solidFill>
                  <a:schemeClr val="bg1"/>
                </a:solidFill>
              </a:defRPr>
            </a:lvl1pPr>
          </a:lstStyle>
          <a:p>
            <a:r>
              <a:rPr lang="en-US"/>
              <a:t>Place logo here</a:t>
            </a:r>
          </a:p>
        </p:txBody>
      </p:sp>
      <p:pic>
        <p:nvPicPr>
          <p:cNvPr id="13" name="Graphic 12">
            <a:extLst>
              <a:ext uri="{FF2B5EF4-FFF2-40B4-BE49-F238E27FC236}">
                <a16:creationId xmlns:a16="http://schemas.microsoft.com/office/drawing/2014/main" id="{AA53853E-DDDB-55B2-0F4C-6C8F340E51C7}"/>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2980513" y="389511"/>
            <a:ext cx="249491" cy="249491"/>
          </a:xfrm>
          <a:prstGeom prst="rect">
            <a:avLst/>
          </a:prstGeom>
        </p:spPr>
      </p:pic>
    </p:spTree>
    <p:extLst>
      <p:ext uri="{BB962C8B-B14F-4D97-AF65-F5344CB8AC3E}">
        <p14:creationId xmlns:p14="http://schemas.microsoft.com/office/powerpoint/2010/main" val="987001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DO NOT USE - INSTRUCTIONAL 1">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3F3F73B-5A7E-8BBE-68A8-9BD49B10A6BC}"/>
              </a:ext>
            </a:extLst>
          </p:cNvPr>
          <p:cNvSpPr>
            <a:spLocks noGrp="1"/>
          </p:cNvSpPr>
          <p:nvPr>
            <p:ph type="ftr" sz="quarter" idx="11"/>
          </p:nvPr>
        </p:nvSpPr>
        <p:spPr>
          <a:xfrm>
            <a:off x="10447173" y="6356351"/>
            <a:ext cx="956004" cy="365125"/>
          </a:xfrm>
          <a:prstGeom prst="rect">
            <a:avLst/>
          </a:prstGeom>
        </p:spPr>
        <p:txBody>
          <a:bodyPr/>
          <a:lstStyle/>
          <a:p>
            <a:r>
              <a:rPr lang="en-US"/>
              <a:t>© Commvault 2024</a:t>
            </a:r>
          </a:p>
        </p:txBody>
      </p:sp>
      <p:sp>
        <p:nvSpPr>
          <p:cNvPr id="4" name="Slide Number Placeholder 3">
            <a:extLst>
              <a:ext uri="{FF2B5EF4-FFF2-40B4-BE49-F238E27FC236}">
                <a16:creationId xmlns:a16="http://schemas.microsoft.com/office/drawing/2014/main" id="{D481AB5E-0FD8-E0D0-B848-CE488AFA1733}"/>
              </a:ext>
            </a:extLst>
          </p:cNvPr>
          <p:cNvSpPr>
            <a:spLocks noGrp="1"/>
          </p:cNvSpPr>
          <p:nvPr>
            <p:ph type="sldNum" sz="quarter" idx="12"/>
          </p:nvPr>
        </p:nvSpPr>
        <p:spPr/>
        <p:txBody>
          <a:bodyPr/>
          <a:lstStyle/>
          <a:p>
            <a:fld id="{71676EBD-8486-AA4B-82C3-0598DF1E43FA}" type="slidenum">
              <a:rPr lang="en-US" smtClean="0"/>
              <a:t>‹Nr.›</a:t>
            </a:fld>
            <a:endParaRPr lang="en-US"/>
          </a:p>
        </p:txBody>
      </p:sp>
      <p:sp>
        <p:nvSpPr>
          <p:cNvPr id="5" name="Rectangle 4">
            <a:extLst>
              <a:ext uri="{FF2B5EF4-FFF2-40B4-BE49-F238E27FC236}">
                <a16:creationId xmlns:a16="http://schemas.microsoft.com/office/drawing/2014/main" id="{CB32733C-E917-A5A6-1594-5B360FC1919B}"/>
              </a:ext>
            </a:extLst>
          </p:cNvPr>
          <p:cNvSpPr/>
          <p:nvPr userDrawn="1"/>
        </p:nvSpPr>
        <p:spPr>
          <a:xfrm>
            <a:off x="0" y="0"/>
            <a:ext cx="12192000"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 name="TextBox 5">
            <a:extLst>
              <a:ext uri="{FF2B5EF4-FFF2-40B4-BE49-F238E27FC236}">
                <a16:creationId xmlns:a16="http://schemas.microsoft.com/office/drawing/2014/main" id="{6803F741-5B4D-49EC-3B06-5F25CE645285}"/>
              </a:ext>
            </a:extLst>
          </p:cNvPr>
          <p:cNvSpPr txBox="1"/>
          <p:nvPr userDrawn="1"/>
        </p:nvSpPr>
        <p:spPr>
          <a:xfrm>
            <a:off x="415597" y="476250"/>
            <a:ext cx="9315449" cy="1200329"/>
          </a:xfrm>
          <a:prstGeom prst="rect">
            <a:avLst/>
          </a:prstGeom>
          <a:noFill/>
        </p:spPr>
        <p:txBody>
          <a:bodyPr wrap="square" rtlCol="0">
            <a:spAutoFit/>
          </a:bodyPr>
          <a:lstStyle/>
          <a:p>
            <a:r>
              <a:rPr lang="en-US" sz="3200">
                <a:solidFill>
                  <a:schemeClr val="bg1"/>
                </a:solidFill>
              </a:rPr>
              <a:t>THIS IS AN INSTRUCTIONAL SLIDE </a:t>
            </a:r>
          </a:p>
          <a:p>
            <a:r>
              <a:rPr lang="en-US" sz="4000" b="1">
                <a:solidFill>
                  <a:schemeClr val="bg1"/>
                </a:solidFill>
              </a:rPr>
              <a:t>DO NOT USE</a:t>
            </a:r>
            <a:endParaRPr lang="en-US" sz="3200" b="1">
              <a:solidFill>
                <a:schemeClr val="bg1"/>
              </a:solidFill>
            </a:endParaRPr>
          </a:p>
        </p:txBody>
      </p:sp>
      <p:sp>
        <p:nvSpPr>
          <p:cNvPr id="7" name="TextBox 6">
            <a:extLst>
              <a:ext uri="{FF2B5EF4-FFF2-40B4-BE49-F238E27FC236}">
                <a16:creationId xmlns:a16="http://schemas.microsoft.com/office/drawing/2014/main" id="{6BFEBCAE-B9C3-7526-64F5-463C81DE63A2}"/>
              </a:ext>
            </a:extLst>
          </p:cNvPr>
          <p:cNvSpPr txBox="1"/>
          <p:nvPr userDrawn="1"/>
        </p:nvSpPr>
        <p:spPr>
          <a:xfrm>
            <a:off x="329871" y="2451409"/>
            <a:ext cx="10595304" cy="3631763"/>
          </a:xfrm>
          <a:prstGeom prst="rect">
            <a:avLst/>
          </a:prstGeom>
          <a:noFill/>
        </p:spPr>
        <p:txBody>
          <a:bodyPr wrap="square" rtlCol="0">
            <a:spAutoFit/>
          </a:bodyPr>
          <a:lstStyle/>
          <a:p>
            <a:r>
              <a:rPr lang="en-US" sz="11500">
                <a:solidFill>
                  <a:schemeClr val="bg1"/>
                </a:solidFill>
              </a:rPr>
              <a:t>Section Header Options</a:t>
            </a:r>
            <a:endParaRPr lang="en-US" sz="11500" b="1">
              <a:solidFill>
                <a:schemeClr val="bg1"/>
              </a:solidFill>
            </a:endParaRPr>
          </a:p>
        </p:txBody>
      </p:sp>
    </p:spTree>
    <p:extLst>
      <p:ext uri="{BB962C8B-B14F-4D97-AF65-F5344CB8AC3E}">
        <p14:creationId xmlns:p14="http://schemas.microsoft.com/office/powerpoint/2010/main" val="16448662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Rose">
    <p:spTree>
      <p:nvGrpSpPr>
        <p:cNvPr id="1" name=""/>
        <p:cNvGrpSpPr/>
        <p:nvPr/>
      </p:nvGrpSpPr>
      <p:grpSpPr>
        <a:xfrm>
          <a:off x="0" y="0"/>
          <a:ext cx="0" cy="0"/>
          <a:chOff x="0" y="0"/>
          <a:chExt cx="0" cy="0"/>
        </a:xfrm>
      </p:grpSpPr>
      <p:pic>
        <p:nvPicPr>
          <p:cNvPr id="3" name="Google Shape;967;g28b48f0dcfc_0_672" descr="A pink and blue gradient&#10;&#10;Description automatically generated">
            <a:extLst>
              <a:ext uri="{FF2B5EF4-FFF2-40B4-BE49-F238E27FC236}">
                <a16:creationId xmlns:a16="http://schemas.microsoft.com/office/drawing/2014/main" id="{F59777D4-46E2-C3B6-02EA-DE2CCF3C9DCA}"/>
              </a:ext>
            </a:extLst>
          </p:cNvPr>
          <p:cNvPicPr preferRelativeResize="0"/>
          <p:nvPr userDrawn="1"/>
        </p:nvPicPr>
        <p:blipFill rotWithShape="1">
          <a:blip r:embed="rId2">
            <a:alphaModFix/>
          </a:blip>
          <a:srcRect/>
          <a:stretch/>
        </p:blipFill>
        <p:spPr>
          <a:xfrm>
            <a:off x="0" y="0"/>
            <a:ext cx="12192000" cy="6858000"/>
          </a:xfrm>
          <a:prstGeom prst="rect">
            <a:avLst/>
          </a:prstGeom>
          <a:noFill/>
          <a:ln>
            <a:noFill/>
          </a:ln>
        </p:spPr>
      </p:pic>
      <p:sp>
        <p:nvSpPr>
          <p:cNvPr id="2" name="Title 1">
            <a:extLst>
              <a:ext uri="{FF2B5EF4-FFF2-40B4-BE49-F238E27FC236}">
                <a16:creationId xmlns:a16="http://schemas.microsoft.com/office/drawing/2014/main" id="{151F4C36-045A-36A2-7457-D3BAEFDCBCC1}"/>
              </a:ext>
            </a:extLst>
          </p:cNvPr>
          <p:cNvSpPr>
            <a:spLocks noGrp="1"/>
          </p:cNvSpPr>
          <p:nvPr>
            <p:ph type="title" hasCustomPrompt="1"/>
          </p:nvPr>
        </p:nvSpPr>
        <p:spPr>
          <a:xfrm>
            <a:off x="831850" y="1709740"/>
            <a:ext cx="10944553" cy="2746769"/>
          </a:xfrm>
        </p:spPr>
        <p:txBody>
          <a:bodyPr anchor="b">
            <a:normAutofit/>
          </a:bodyPr>
          <a:lstStyle>
            <a:lvl1pPr>
              <a:defRPr sz="5400" b="0">
                <a:solidFill>
                  <a:schemeClr val="bg1"/>
                </a:solidFill>
              </a:defRPr>
            </a:lvl1pPr>
          </a:lstStyle>
          <a:p>
            <a:r>
              <a:rPr lang="en-US"/>
              <a:t>Insert Divider Title</a:t>
            </a:r>
          </a:p>
        </p:txBody>
      </p:sp>
      <p:pic>
        <p:nvPicPr>
          <p:cNvPr id="9" name="Graphic 8">
            <a:extLst>
              <a:ext uri="{FF2B5EF4-FFF2-40B4-BE49-F238E27FC236}">
                <a16:creationId xmlns:a16="http://schemas.microsoft.com/office/drawing/2014/main" id="{08ADD84E-B49E-0281-F8EC-BC9DFF7F7EBB}"/>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1851" y="6364123"/>
            <a:ext cx="1484309" cy="283368"/>
          </a:xfrm>
          <a:prstGeom prst="rect">
            <a:avLst/>
          </a:prstGeom>
        </p:spPr>
      </p:pic>
      <p:sp>
        <p:nvSpPr>
          <p:cNvPr id="14" name="Footer Placeholder 13">
            <a:extLst>
              <a:ext uri="{FF2B5EF4-FFF2-40B4-BE49-F238E27FC236}">
                <a16:creationId xmlns:a16="http://schemas.microsoft.com/office/drawing/2014/main" id="{9CBD2A88-A661-A2CB-B406-CBD0823540FC}"/>
              </a:ext>
            </a:extLst>
          </p:cNvPr>
          <p:cNvSpPr>
            <a:spLocks noGrp="1"/>
          </p:cNvSpPr>
          <p:nvPr>
            <p:ph type="ftr" sz="quarter" idx="10"/>
          </p:nvPr>
        </p:nvSpPr>
        <p:spPr/>
        <p:txBody>
          <a:bodyPr/>
          <a:lstStyle>
            <a:lvl1pPr>
              <a:defRPr>
                <a:solidFill>
                  <a:schemeClr val="bg1"/>
                </a:solidFill>
              </a:defRPr>
            </a:lvl1pPr>
          </a:lstStyle>
          <a:p>
            <a:r>
              <a:rPr lang="en-US"/>
              <a:t>© Commvault 2024</a:t>
            </a:r>
          </a:p>
        </p:txBody>
      </p:sp>
      <p:sp>
        <p:nvSpPr>
          <p:cNvPr id="15" name="Slide Number Placeholder 14">
            <a:extLst>
              <a:ext uri="{FF2B5EF4-FFF2-40B4-BE49-F238E27FC236}">
                <a16:creationId xmlns:a16="http://schemas.microsoft.com/office/drawing/2014/main" id="{1770BF23-23FA-E1F3-7419-39859F30A5C8}"/>
              </a:ext>
            </a:extLst>
          </p:cNvPr>
          <p:cNvSpPr>
            <a:spLocks noGrp="1"/>
          </p:cNvSpPr>
          <p:nvPr>
            <p:ph type="sldNum" sz="quarter" idx="11"/>
          </p:nvPr>
        </p:nvSpPr>
        <p:spPr/>
        <p:txBody>
          <a:bodyPr/>
          <a:lstStyle>
            <a:lvl1pPr>
              <a:defRPr>
                <a:solidFill>
                  <a:schemeClr val="bg1"/>
                </a:solidFill>
              </a:defRPr>
            </a:lvl1pPr>
          </a:lstStyle>
          <a:p>
            <a:fld id="{71676EBD-8486-AA4B-82C3-0598DF1E43FA}" type="slidenum">
              <a:rPr lang="en-US" smtClean="0"/>
              <a:pPr/>
              <a:t>‹Nr.›</a:t>
            </a:fld>
            <a:endParaRPr lang="en-US"/>
          </a:p>
        </p:txBody>
      </p:sp>
      <p:sp>
        <p:nvSpPr>
          <p:cNvPr id="17" name="Text Placeholder 44">
            <a:extLst>
              <a:ext uri="{FF2B5EF4-FFF2-40B4-BE49-F238E27FC236}">
                <a16:creationId xmlns:a16="http://schemas.microsoft.com/office/drawing/2014/main" id="{ADF51213-43D8-C7B7-4EF5-070A44717F66}"/>
              </a:ext>
            </a:extLst>
          </p:cNvPr>
          <p:cNvSpPr>
            <a:spLocks noGrp="1"/>
          </p:cNvSpPr>
          <p:nvPr>
            <p:ph type="body" sz="quarter" idx="23" hasCustomPrompt="1"/>
          </p:nvPr>
        </p:nvSpPr>
        <p:spPr>
          <a:xfrm>
            <a:off x="2512372" y="6364123"/>
            <a:ext cx="7553803" cy="283368"/>
          </a:xfrm>
        </p:spPr>
        <p:txBody>
          <a:bodyPr anchor="ctr">
            <a:noAutofit/>
          </a:bodyPr>
          <a:lstStyle>
            <a:lvl1pPr>
              <a:spcAft>
                <a:spcPts val="0"/>
              </a:spcAft>
              <a:defRPr sz="800" b="0">
                <a:solidFill>
                  <a:schemeClr val="bg1"/>
                </a:solidFill>
              </a:defRPr>
            </a:lvl1pPr>
            <a:lvl2pPr marL="0" indent="0">
              <a:buNone/>
              <a:defRPr/>
            </a:lvl2pPr>
          </a:lstStyle>
          <a:p>
            <a:pPr lvl="0"/>
            <a:r>
              <a:rPr lang="en-US"/>
              <a:t>Add footnotes here if needed</a:t>
            </a:r>
          </a:p>
        </p:txBody>
      </p:sp>
      <p:sp>
        <p:nvSpPr>
          <p:cNvPr id="4" name="Text Placeholder 2">
            <a:extLst>
              <a:ext uri="{FF2B5EF4-FFF2-40B4-BE49-F238E27FC236}">
                <a16:creationId xmlns:a16="http://schemas.microsoft.com/office/drawing/2014/main" id="{B97DF181-6138-1B47-78E4-CBFF387633B8}"/>
              </a:ext>
            </a:extLst>
          </p:cNvPr>
          <p:cNvSpPr>
            <a:spLocks noGrp="1"/>
          </p:cNvSpPr>
          <p:nvPr>
            <p:ph type="body" idx="1" hasCustomPrompt="1"/>
          </p:nvPr>
        </p:nvSpPr>
        <p:spPr>
          <a:xfrm>
            <a:off x="831850" y="4589464"/>
            <a:ext cx="10944553" cy="1500187"/>
          </a:xfrm>
        </p:spPr>
        <p:txBody>
          <a:bodyPr>
            <a:normAutofit/>
          </a:bodyPr>
          <a:lstStyle>
            <a:lvl1pPr marL="0" indent="0">
              <a:buNone/>
              <a:defRPr sz="2000" cap="none" baseline="0">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Subhead goes here in sentence case</a:t>
            </a:r>
          </a:p>
        </p:txBody>
      </p:sp>
    </p:spTree>
    <p:extLst>
      <p:ext uri="{BB962C8B-B14F-4D97-AF65-F5344CB8AC3E}">
        <p14:creationId xmlns:p14="http://schemas.microsoft.com/office/powerpoint/2010/main" val="31316946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Crocus">
    <p:spTree>
      <p:nvGrpSpPr>
        <p:cNvPr id="1" name=""/>
        <p:cNvGrpSpPr/>
        <p:nvPr/>
      </p:nvGrpSpPr>
      <p:grpSpPr>
        <a:xfrm>
          <a:off x="0" y="0"/>
          <a:ext cx="0" cy="0"/>
          <a:chOff x="0" y="0"/>
          <a:chExt cx="0" cy="0"/>
        </a:xfrm>
      </p:grpSpPr>
      <p:pic>
        <p:nvPicPr>
          <p:cNvPr id="3" name="Google Shape;976;g28b48f0dcfc_0_681" descr="A purple and black background&#10;&#10;Description automatically generated">
            <a:extLst>
              <a:ext uri="{FF2B5EF4-FFF2-40B4-BE49-F238E27FC236}">
                <a16:creationId xmlns:a16="http://schemas.microsoft.com/office/drawing/2014/main" id="{06C1BF7B-64E3-04BE-06EC-8AC5C03C4604}"/>
              </a:ext>
            </a:extLst>
          </p:cNvPr>
          <p:cNvPicPr preferRelativeResize="0"/>
          <p:nvPr userDrawn="1"/>
        </p:nvPicPr>
        <p:blipFill rotWithShape="1">
          <a:blip r:embed="rId2">
            <a:alphaModFix/>
          </a:blip>
          <a:srcRect/>
          <a:stretch/>
        </p:blipFill>
        <p:spPr>
          <a:xfrm>
            <a:off x="0" y="0"/>
            <a:ext cx="12192000" cy="6858000"/>
          </a:xfrm>
          <a:prstGeom prst="rect">
            <a:avLst/>
          </a:prstGeom>
          <a:noFill/>
          <a:ln>
            <a:noFill/>
          </a:ln>
        </p:spPr>
      </p:pic>
      <p:sp>
        <p:nvSpPr>
          <p:cNvPr id="2" name="Title 1">
            <a:extLst>
              <a:ext uri="{FF2B5EF4-FFF2-40B4-BE49-F238E27FC236}">
                <a16:creationId xmlns:a16="http://schemas.microsoft.com/office/drawing/2014/main" id="{151F4C36-045A-36A2-7457-D3BAEFDCBCC1}"/>
              </a:ext>
            </a:extLst>
          </p:cNvPr>
          <p:cNvSpPr>
            <a:spLocks noGrp="1"/>
          </p:cNvSpPr>
          <p:nvPr>
            <p:ph type="title" hasCustomPrompt="1"/>
          </p:nvPr>
        </p:nvSpPr>
        <p:spPr>
          <a:xfrm>
            <a:off x="831850" y="1709740"/>
            <a:ext cx="10944553" cy="2746769"/>
          </a:xfrm>
        </p:spPr>
        <p:txBody>
          <a:bodyPr anchor="b">
            <a:normAutofit/>
          </a:bodyPr>
          <a:lstStyle>
            <a:lvl1pPr>
              <a:defRPr sz="5400" b="0">
                <a:solidFill>
                  <a:schemeClr val="bg1"/>
                </a:solidFill>
              </a:defRPr>
            </a:lvl1pPr>
          </a:lstStyle>
          <a:p>
            <a:r>
              <a:rPr lang="en-US"/>
              <a:t>Insert Divider Title</a:t>
            </a:r>
          </a:p>
        </p:txBody>
      </p:sp>
      <p:pic>
        <p:nvPicPr>
          <p:cNvPr id="9" name="Graphic 8">
            <a:extLst>
              <a:ext uri="{FF2B5EF4-FFF2-40B4-BE49-F238E27FC236}">
                <a16:creationId xmlns:a16="http://schemas.microsoft.com/office/drawing/2014/main" id="{08ADD84E-B49E-0281-F8EC-BC9DFF7F7EBB}"/>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1851" y="6364123"/>
            <a:ext cx="1484309" cy="283368"/>
          </a:xfrm>
          <a:prstGeom prst="rect">
            <a:avLst/>
          </a:prstGeom>
        </p:spPr>
      </p:pic>
      <p:sp>
        <p:nvSpPr>
          <p:cNvPr id="14" name="Footer Placeholder 13">
            <a:extLst>
              <a:ext uri="{FF2B5EF4-FFF2-40B4-BE49-F238E27FC236}">
                <a16:creationId xmlns:a16="http://schemas.microsoft.com/office/drawing/2014/main" id="{9CBD2A88-A661-A2CB-B406-CBD0823540FC}"/>
              </a:ext>
            </a:extLst>
          </p:cNvPr>
          <p:cNvSpPr>
            <a:spLocks noGrp="1"/>
          </p:cNvSpPr>
          <p:nvPr>
            <p:ph type="ftr" sz="quarter" idx="10"/>
          </p:nvPr>
        </p:nvSpPr>
        <p:spPr/>
        <p:txBody>
          <a:bodyPr/>
          <a:lstStyle>
            <a:lvl1pPr>
              <a:defRPr>
                <a:solidFill>
                  <a:schemeClr val="bg1"/>
                </a:solidFill>
              </a:defRPr>
            </a:lvl1pPr>
          </a:lstStyle>
          <a:p>
            <a:r>
              <a:rPr lang="en-US"/>
              <a:t>© Commvault 2024</a:t>
            </a:r>
          </a:p>
        </p:txBody>
      </p:sp>
      <p:sp>
        <p:nvSpPr>
          <p:cNvPr id="15" name="Slide Number Placeholder 14">
            <a:extLst>
              <a:ext uri="{FF2B5EF4-FFF2-40B4-BE49-F238E27FC236}">
                <a16:creationId xmlns:a16="http://schemas.microsoft.com/office/drawing/2014/main" id="{1770BF23-23FA-E1F3-7419-39859F30A5C8}"/>
              </a:ext>
            </a:extLst>
          </p:cNvPr>
          <p:cNvSpPr>
            <a:spLocks noGrp="1"/>
          </p:cNvSpPr>
          <p:nvPr>
            <p:ph type="sldNum" sz="quarter" idx="11"/>
          </p:nvPr>
        </p:nvSpPr>
        <p:spPr/>
        <p:txBody>
          <a:bodyPr/>
          <a:lstStyle>
            <a:lvl1pPr>
              <a:defRPr>
                <a:solidFill>
                  <a:schemeClr val="bg1"/>
                </a:solidFill>
              </a:defRPr>
            </a:lvl1pPr>
          </a:lstStyle>
          <a:p>
            <a:fld id="{71676EBD-8486-AA4B-82C3-0598DF1E43FA}" type="slidenum">
              <a:rPr lang="en-US" smtClean="0"/>
              <a:pPr/>
              <a:t>‹Nr.›</a:t>
            </a:fld>
            <a:endParaRPr lang="en-US"/>
          </a:p>
        </p:txBody>
      </p:sp>
      <p:sp>
        <p:nvSpPr>
          <p:cNvPr id="17" name="Text Placeholder 44">
            <a:extLst>
              <a:ext uri="{FF2B5EF4-FFF2-40B4-BE49-F238E27FC236}">
                <a16:creationId xmlns:a16="http://schemas.microsoft.com/office/drawing/2014/main" id="{ADF51213-43D8-C7B7-4EF5-070A44717F66}"/>
              </a:ext>
            </a:extLst>
          </p:cNvPr>
          <p:cNvSpPr>
            <a:spLocks noGrp="1"/>
          </p:cNvSpPr>
          <p:nvPr>
            <p:ph type="body" sz="quarter" idx="23" hasCustomPrompt="1"/>
          </p:nvPr>
        </p:nvSpPr>
        <p:spPr>
          <a:xfrm>
            <a:off x="2512372" y="6364123"/>
            <a:ext cx="7553803" cy="283368"/>
          </a:xfrm>
        </p:spPr>
        <p:txBody>
          <a:bodyPr anchor="ctr">
            <a:noAutofit/>
          </a:bodyPr>
          <a:lstStyle>
            <a:lvl1pPr>
              <a:spcAft>
                <a:spcPts val="0"/>
              </a:spcAft>
              <a:defRPr sz="800" b="0">
                <a:solidFill>
                  <a:schemeClr val="bg1"/>
                </a:solidFill>
              </a:defRPr>
            </a:lvl1pPr>
            <a:lvl2pPr marL="0" indent="0">
              <a:buNone/>
              <a:defRPr/>
            </a:lvl2pPr>
          </a:lstStyle>
          <a:p>
            <a:pPr lvl="0"/>
            <a:r>
              <a:rPr lang="en-US"/>
              <a:t>Add footnotes here if needed</a:t>
            </a:r>
          </a:p>
        </p:txBody>
      </p:sp>
      <p:sp>
        <p:nvSpPr>
          <p:cNvPr id="4" name="Text Placeholder 2">
            <a:extLst>
              <a:ext uri="{FF2B5EF4-FFF2-40B4-BE49-F238E27FC236}">
                <a16:creationId xmlns:a16="http://schemas.microsoft.com/office/drawing/2014/main" id="{DF15AA89-7F46-51D0-3E5B-5008F727B7EC}"/>
              </a:ext>
            </a:extLst>
          </p:cNvPr>
          <p:cNvSpPr>
            <a:spLocks noGrp="1"/>
          </p:cNvSpPr>
          <p:nvPr>
            <p:ph type="body" idx="1" hasCustomPrompt="1"/>
          </p:nvPr>
        </p:nvSpPr>
        <p:spPr>
          <a:xfrm>
            <a:off x="831850" y="4589464"/>
            <a:ext cx="10944553" cy="1500187"/>
          </a:xfrm>
        </p:spPr>
        <p:txBody>
          <a:bodyPr>
            <a:normAutofit/>
          </a:bodyPr>
          <a:lstStyle>
            <a:lvl1pPr marL="0" indent="0">
              <a:buNone/>
              <a:defRPr sz="2000" cap="none" baseline="0">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Subhead goes here in sentence case</a:t>
            </a:r>
          </a:p>
        </p:txBody>
      </p:sp>
    </p:spTree>
    <p:extLst>
      <p:ext uri="{BB962C8B-B14F-4D97-AF65-F5344CB8AC3E}">
        <p14:creationId xmlns:p14="http://schemas.microsoft.com/office/powerpoint/2010/main" val="19417121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Midnight">
    <p:spTree>
      <p:nvGrpSpPr>
        <p:cNvPr id="1" name=""/>
        <p:cNvGrpSpPr/>
        <p:nvPr/>
      </p:nvGrpSpPr>
      <p:grpSpPr>
        <a:xfrm>
          <a:off x="0" y="0"/>
          <a:ext cx="0" cy="0"/>
          <a:chOff x="0" y="0"/>
          <a:chExt cx="0" cy="0"/>
        </a:xfrm>
      </p:grpSpPr>
      <p:pic>
        <p:nvPicPr>
          <p:cNvPr id="5" name="Google Shape;985;g28b48f0dcfc_0_690" descr="A blue and white background&#10;&#10;Description automatically generated">
            <a:extLst>
              <a:ext uri="{FF2B5EF4-FFF2-40B4-BE49-F238E27FC236}">
                <a16:creationId xmlns:a16="http://schemas.microsoft.com/office/drawing/2014/main" id="{CE644E04-019F-3661-EEFA-5AEF3FF6FF7C}"/>
              </a:ext>
            </a:extLst>
          </p:cNvPr>
          <p:cNvPicPr preferRelativeResize="0"/>
          <p:nvPr userDrawn="1"/>
        </p:nvPicPr>
        <p:blipFill rotWithShape="1">
          <a:blip r:embed="rId2">
            <a:alphaModFix/>
          </a:blip>
          <a:srcRect/>
          <a:stretch/>
        </p:blipFill>
        <p:spPr>
          <a:xfrm>
            <a:off x="0" y="0"/>
            <a:ext cx="12192000" cy="6858000"/>
          </a:xfrm>
          <a:prstGeom prst="rect">
            <a:avLst/>
          </a:prstGeom>
          <a:noFill/>
          <a:ln>
            <a:noFill/>
          </a:ln>
        </p:spPr>
      </p:pic>
      <p:sp>
        <p:nvSpPr>
          <p:cNvPr id="2" name="Title 1">
            <a:extLst>
              <a:ext uri="{FF2B5EF4-FFF2-40B4-BE49-F238E27FC236}">
                <a16:creationId xmlns:a16="http://schemas.microsoft.com/office/drawing/2014/main" id="{151F4C36-045A-36A2-7457-D3BAEFDCBCC1}"/>
              </a:ext>
            </a:extLst>
          </p:cNvPr>
          <p:cNvSpPr>
            <a:spLocks noGrp="1"/>
          </p:cNvSpPr>
          <p:nvPr>
            <p:ph type="title" hasCustomPrompt="1"/>
          </p:nvPr>
        </p:nvSpPr>
        <p:spPr>
          <a:xfrm>
            <a:off x="831850" y="1709740"/>
            <a:ext cx="10944553" cy="2746769"/>
          </a:xfrm>
        </p:spPr>
        <p:txBody>
          <a:bodyPr anchor="b">
            <a:normAutofit/>
          </a:bodyPr>
          <a:lstStyle>
            <a:lvl1pPr>
              <a:defRPr sz="5400" b="0">
                <a:solidFill>
                  <a:schemeClr val="bg1"/>
                </a:solidFill>
              </a:defRPr>
            </a:lvl1pPr>
          </a:lstStyle>
          <a:p>
            <a:r>
              <a:rPr lang="en-US"/>
              <a:t>Insert Divider Title</a:t>
            </a:r>
          </a:p>
        </p:txBody>
      </p:sp>
      <p:sp>
        <p:nvSpPr>
          <p:cNvPr id="3" name="Text Placeholder 2">
            <a:extLst>
              <a:ext uri="{FF2B5EF4-FFF2-40B4-BE49-F238E27FC236}">
                <a16:creationId xmlns:a16="http://schemas.microsoft.com/office/drawing/2014/main" id="{429D126F-5210-C31A-1228-0D86784199DE}"/>
              </a:ext>
            </a:extLst>
          </p:cNvPr>
          <p:cNvSpPr>
            <a:spLocks noGrp="1"/>
          </p:cNvSpPr>
          <p:nvPr>
            <p:ph type="body" idx="1" hasCustomPrompt="1"/>
          </p:nvPr>
        </p:nvSpPr>
        <p:spPr>
          <a:xfrm>
            <a:off x="831850" y="4589464"/>
            <a:ext cx="10944553" cy="1500187"/>
          </a:xfrm>
        </p:spPr>
        <p:txBody>
          <a:bodyPr>
            <a:normAutofit/>
          </a:bodyPr>
          <a:lstStyle>
            <a:lvl1pPr marL="0" indent="0">
              <a:buNone/>
              <a:defRPr sz="2000" cap="none" baseline="0">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Subhead goes here in sentence case</a:t>
            </a:r>
          </a:p>
        </p:txBody>
      </p:sp>
      <p:pic>
        <p:nvPicPr>
          <p:cNvPr id="9" name="Graphic 8">
            <a:extLst>
              <a:ext uri="{FF2B5EF4-FFF2-40B4-BE49-F238E27FC236}">
                <a16:creationId xmlns:a16="http://schemas.microsoft.com/office/drawing/2014/main" id="{08ADD84E-B49E-0281-F8EC-BC9DFF7F7EBB}"/>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1851" y="6364123"/>
            <a:ext cx="1484309" cy="283368"/>
          </a:xfrm>
          <a:prstGeom prst="rect">
            <a:avLst/>
          </a:prstGeom>
        </p:spPr>
      </p:pic>
      <p:sp>
        <p:nvSpPr>
          <p:cNvPr id="14" name="Footer Placeholder 13">
            <a:extLst>
              <a:ext uri="{FF2B5EF4-FFF2-40B4-BE49-F238E27FC236}">
                <a16:creationId xmlns:a16="http://schemas.microsoft.com/office/drawing/2014/main" id="{9CBD2A88-A661-A2CB-B406-CBD0823540FC}"/>
              </a:ext>
            </a:extLst>
          </p:cNvPr>
          <p:cNvSpPr>
            <a:spLocks noGrp="1"/>
          </p:cNvSpPr>
          <p:nvPr>
            <p:ph type="ftr" sz="quarter" idx="10"/>
          </p:nvPr>
        </p:nvSpPr>
        <p:spPr/>
        <p:txBody>
          <a:bodyPr/>
          <a:lstStyle>
            <a:lvl1pPr>
              <a:defRPr>
                <a:solidFill>
                  <a:schemeClr val="bg1"/>
                </a:solidFill>
              </a:defRPr>
            </a:lvl1pPr>
          </a:lstStyle>
          <a:p>
            <a:r>
              <a:rPr lang="en-US"/>
              <a:t>© Commvault 2024</a:t>
            </a:r>
          </a:p>
        </p:txBody>
      </p:sp>
      <p:sp>
        <p:nvSpPr>
          <p:cNvPr id="15" name="Slide Number Placeholder 14">
            <a:extLst>
              <a:ext uri="{FF2B5EF4-FFF2-40B4-BE49-F238E27FC236}">
                <a16:creationId xmlns:a16="http://schemas.microsoft.com/office/drawing/2014/main" id="{1770BF23-23FA-E1F3-7419-39859F30A5C8}"/>
              </a:ext>
            </a:extLst>
          </p:cNvPr>
          <p:cNvSpPr>
            <a:spLocks noGrp="1"/>
          </p:cNvSpPr>
          <p:nvPr>
            <p:ph type="sldNum" sz="quarter" idx="11"/>
          </p:nvPr>
        </p:nvSpPr>
        <p:spPr/>
        <p:txBody>
          <a:bodyPr/>
          <a:lstStyle>
            <a:lvl1pPr>
              <a:defRPr>
                <a:solidFill>
                  <a:schemeClr val="bg1"/>
                </a:solidFill>
              </a:defRPr>
            </a:lvl1pPr>
          </a:lstStyle>
          <a:p>
            <a:fld id="{71676EBD-8486-AA4B-82C3-0598DF1E43FA}" type="slidenum">
              <a:rPr lang="en-US" smtClean="0"/>
              <a:pPr/>
              <a:t>‹Nr.›</a:t>
            </a:fld>
            <a:endParaRPr lang="en-US"/>
          </a:p>
        </p:txBody>
      </p:sp>
      <p:sp>
        <p:nvSpPr>
          <p:cNvPr id="17" name="Text Placeholder 44">
            <a:extLst>
              <a:ext uri="{FF2B5EF4-FFF2-40B4-BE49-F238E27FC236}">
                <a16:creationId xmlns:a16="http://schemas.microsoft.com/office/drawing/2014/main" id="{ADF51213-43D8-C7B7-4EF5-070A44717F66}"/>
              </a:ext>
            </a:extLst>
          </p:cNvPr>
          <p:cNvSpPr>
            <a:spLocks noGrp="1"/>
          </p:cNvSpPr>
          <p:nvPr>
            <p:ph type="body" sz="quarter" idx="23" hasCustomPrompt="1"/>
          </p:nvPr>
        </p:nvSpPr>
        <p:spPr>
          <a:xfrm>
            <a:off x="2512372" y="6364123"/>
            <a:ext cx="7553803" cy="283368"/>
          </a:xfrm>
        </p:spPr>
        <p:txBody>
          <a:bodyPr anchor="ctr">
            <a:noAutofit/>
          </a:bodyPr>
          <a:lstStyle>
            <a:lvl1pPr>
              <a:spcAft>
                <a:spcPts val="0"/>
              </a:spcAft>
              <a:defRPr sz="800" b="0">
                <a:solidFill>
                  <a:schemeClr val="bg1"/>
                </a:solidFill>
              </a:defRPr>
            </a:lvl1pPr>
            <a:lvl2pPr marL="0" indent="0">
              <a:buNone/>
              <a:defRPr/>
            </a:lvl2pPr>
          </a:lstStyle>
          <a:p>
            <a:pPr lvl="0"/>
            <a:r>
              <a:rPr lang="en-US"/>
              <a:t>Add footnotes here if needed</a:t>
            </a:r>
          </a:p>
        </p:txBody>
      </p:sp>
    </p:spTree>
    <p:extLst>
      <p:ext uri="{BB962C8B-B14F-4D97-AF65-F5344CB8AC3E}">
        <p14:creationId xmlns:p14="http://schemas.microsoft.com/office/powerpoint/2010/main" val="30170377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DO NOT USE - INSTRUCTIONAL 2">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3F3F73B-5A7E-8BBE-68A8-9BD49B10A6BC}"/>
              </a:ext>
            </a:extLst>
          </p:cNvPr>
          <p:cNvSpPr>
            <a:spLocks noGrp="1"/>
          </p:cNvSpPr>
          <p:nvPr>
            <p:ph type="ftr" sz="quarter" idx="11"/>
          </p:nvPr>
        </p:nvSpPr>
        <p:spPr>
          <a:xfrm>
            <a:off x="10447173" y="6356351"/>
            <a:ext cx="956004" cy="365125"/>
          </a:xfrm>
          <a:prstGeom prst="rect">
            <a:avLst/>
          </a:prstGeom>
        </p:spPr>
        <p:txBody>
          <a:bodyPr/>
          <a:lstStyle/>
          <a:p>
            <a:r>
              <a:rPr lang="en-US"/>
              <a:t>© Commvault 2024</a:t>
            </a:r>
          </a:p>
        </p:txBody>
      </p:sp>
      <p:sp>
        <p:nvSpPr>
          <p:cNvPr id="4" name="Slide Number Placeholder 3">
            <a:extLst>
              <a:ext uri="{FF2B5EF4-FFF2-40B4-BE49-F238E27FC236}">
                <a16:creationId xmlns:a16="http://schemas.microsoft.com/office/drawing/2014/main" id="{D481AB5E-0FD8-E0D0-B848-CE488AFA1733}"/>
              </a:ext>
            </a:extLst>
          </p:cNvPr>
          <p:cNvSpPr>
            <a:spLocks noGrp="1"/>
          </p:cNvSpPr>
          <p:nvPr>
            <p:ph type="sldNum" sz="quarter" idx="12"/>
          </p:nvPr>
        </p:nvSpPr>
        <p:spPr/>
        <p:txBody>
          <a:bodyPr/>
          <a:lstStyle/>
          <a:p>
            <a:fld id="{71676EBD-8486-AA4B-82C3-0598DF1E43FA}" type="slidenum">
              <a:rPr lang="en-US" smtClean="0"/>
              <a:t>‹Nr.›</a:t>
            </a:fld>
            <a:endParaRPr lang="en-US"/>
          </a:p>
        </p:txBody>
      </p:sp>
      <p:sp>
        <p:nvSpPr>
          <p:cNvPr id="5" name="Rectangle 4">
            <a:extLst>
              <a:ext uri="{FF2B5EF4-FFF2-40B4-BE49-F238E27FC236}">
                <a16:creationId xmlns:a16="http://schemas.microsoft.com/office/drawing/2014/main" id="{CB32733C-E917-A5A6-1594-5B360FC1919B}"/>
              </a:ext>
            </a:extLst>
          </p:cNvPr>
          <p:cNvSpPr/>
          <p:nvPr userDrawn="1"/>
        </p:nvSpPr>
        <p:spPr>
          <a:xfrm>
            <a:off x="0" y="0"/>
            <a:ext cx="12192000"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 name="TextBox 5">
            <a:extLst>
              <a:ext uri="{FF2B5EF4-FFF2-40B4-BE49-F238E27FC236}">
                <a16:creationId xmlns:a16="http://schemas.microsoft.com/office/drawing/2014/main" id="{6803F741-5B4D-49EC-3B06-5F25CE645285}"/>
              </a:ext>
            </a:extLst>
          </p:cNvPr>
          <p:cNvSpPr txBox="1"/>
          <p:nvPr userDrawn="1"/>
        </p:nvSpPr>
        <p:spPr>
          <a:xfrm>
            <a:off x="415597" y="476250"/>
            <a:ext cx="9315449" cy="1200329"/>
          </a:xfrm>
          <a:prstGeom prst="rect">
            <a:avLst/>
          </a:prstGeom>
          <a:noFill/>
        </p:spPr>
        <p:txBody>
          <a:bodyPr wrap="square" rtlCol="0">
            <a:spAutoFit/>
          </a:bodyPr>
          <a:lstStyle/>
          <a:p>
            <a:r>
              <a:rPr lang="en-US" sz="3200">
                <a:solidFill>
                  <a:schemeClr val="bg1"/>
                </a:solidFill>
              </a:rPr>
              <a:t>THIS IS AN INSTRUCTIONAL SLIDE </a:t>
            </a:r>
          </a:p>
          <a:p>
            <a:r>
              <a:rPr lang="en-US" sz="4000" b="1">
                <a:solidFill>
                  <a:schemeClr val="bg1"/>
                </a:solidFill>
              </a:rPr>
              <a:t>DO NOT USE</a:t>
            </a:r>
            <a:endParaRPr lang="en-US" sz="3200" b="1">
              <a:solidFill>
                <a:schemeClr val="bg1"/>
              </a:solidFill>
            </a:endParaRPr>
          </a:p>
        </p:txBody>
      </p:sp>
      <p:sp>
        <p:nvSpPr>
          <p:cNvPr id="7" name="TextBox 6">
            <a:extLst>
              <a:ext uri="{FF2B5EF4-FFF2-40B4-BE49-F238E27FC236}">
                <a16:creationId xmlns:a16="http://schemas.microsoft.com/office/drawing/2014/main" id="{6BFEBCAE-B9C3-7526-64F5-463C81DE63A2}"/>
              </a:ext>
            </a:extLst>
          </p:cNvPr>
          <p:cNvSpPr txBox="1"/>
          <p:nvPr userDrawn="1"/>
        </p:nvSpPr>
        <p:spPr>
          <a:xfrm>
            <a:off x="329871" y="2451409"/>
            <a:ext cx="10595304" cy="3631763"/>
          </a:xfrm>
          <a:prstGeom prst="rect">
            <a:avLst/>
          </a:prstGeom>
          <a:noFill/>
        </p:spPr>
        <p:txBody>
          <a:bodyPr wrap="square" rtlCol="0">
            <a:spAutoFit/>
          </a:bodyPr>
          <a:lstStyle/>
          <a:p>
            <a:r>
              <a:rPr lang="en-US" sz="11500">
                <a:solidFill>
                  <a:schemeClr val="bg1"/>
                </a:solidFill>
              </a:rPr>
              <a:t>Agenda</a:t>
            </a:r>
          </a:p>
          <a:p>
            <a:r>
              <a:rPr lang="en-US" sz="11500">
                <a:solidFill>
                  <a:schemeClr val="bg1"/>
                </a:solidFill>
              </a:rPr>
              <a:t>Options</a:t>
            </a:r>
            <a:endParaRPr lang="en-US" sz="11500" b="1">
              <a:solidFill>
                <a:schemeClr val="bg1"/>
              </a:solidFill>
            </a:endParaRPr>
          </a:p>
        </p:txBody>
      </p:sp>
    </p:spTree>
    <p:extLst>
      <p:ext uri="{BB962C8B-B14F-4D97-AF65-F5344CB8AC3E}">
        <p14:creationId xmlns:p14="http://schemas.microsoft.com/office/powerpoint/2010/main" val="9174565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BB7DEA1-0603-D0B5-36D4-A6532A7E4F2C}"/>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F5A91F93-D6BE-6441-E285-DFB98BD74A6D}"/>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D94DED3F-79EE-969F-6976-714DC0F2B763}"/>
              </a:ext>
            </a:extLst>
          </p:cNvPr>
          <p:cNvSpPr>
            <a:spLocks noGrp="1"/>
          </p:cNvSpPr>
          <p:nvPr>
            <p:ph type="dt" sz="half" idx="10"/>
          </p:nvPr>
        </p:nvSpPr>
        <p:spPr/>
        <p:txBody>
          <a:bodyPr/>
          <a:lstStyle/>
          <a:p>
            <a:fld id="{D0A8EAAB-0451-F345-AAE8-903E658FFCB4}" type="datetimeFigureOut">
              <a:rPr lang="es-ES" smtClean="0"/>
              <a:t>26/04/2026</a:t>
            </a:fld>
            <a:endParaRPr lang="es-ES"/>
          </a:p>
        </p:txBody>
      </p:sp>
      <p:sp>
        <p:nvSpPr>
          <p:cNvPr id="5" name="Marcador de pie de página 4">
            <a:extLst>
              <a:ext uri="{FF2B5EF4-FFF2-40B4-BE49-F238E27FC236}">
                <a16:creationId xmlns:a16="http://schemas.microsoft.com/office/drawing/2014/main" id="{9FE3D0C8-1975-5DA4-5947-098B42932D2E}"/>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F62B168B-02DE-0837-F4D1-344F09905C5E}"/>
              </a:ext>
            </a:extLst>
          </p:cNvPr>
          <p:cNvSpPr>
            <a:spLocks noGrp="1"/>
          </p:cNvSpPr>
          <p:nvPr>
            <p:ph type="sldNum" sz="quarter" idx="12"/>
          </p:nvPr>
        </p:nvSpPr>
        <p:spPr/>
        <p:txBody>
          <a:bodyPr/>
          <a:lstStyle/>
          <a:p>
            <a:fld id="{C5C9C0E2-798D-424A-9802-04B7FA7A38FE}" type="slidenum">
              <a:rPr lang="es-ES" smtClean="0"/>
              <a:t>‹Nr.›</a:t>
            </a:fld>
            <a:endParaRPr lang="es-ES"/>
          </a:p>
        </p:txBody>
      </p:sp>
    </p:spTree>
    <p:extLst>
      <p:ext uri="{BB962C8B-B14F-4D97-AF65-F5344CB8AC3E}">
        <p14:creationId xmlns:p14="http://schemas.microsoft.com/office/powerpoint/2010/main" val="39162796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 name="Google Shape;1631;g28b48f0dcfc_0_1980" descr="A purple and blue background&#10;&#10;Description automatically generated">
            <a:extLst>
              <a:ext uri="{FF2B5EF4-FFF2-40B4-BE49-F238E27FC236}">
                <a16:creationId xmlns:a16="http://schemas.microsoft.com/office/drawing/2014/main" id="{DEC1D1C3-9E7C-9845-DD1A-843C6CEE50A3}"/>
              </a:ext>
            </a:extLst>
          </p:cNvPr>
          <p:cNvPicPr preferRelativeResize="0"/>
          <p:nvPr userDrawn="1"/>
        </p:nvPicPr>
        <p:blipFill rotWithShape="1">
          <a:blip r:embed="rId3">
            <a:alphaModFix/>
          </a:blip>
          <a:srcRect/>
          <a:stretch/>
        </p:blipFill>
        <p:spPr>
          <a:xfrm>
            <a:off x="-3" y="-3"/>
            <a:ext cx="12192003" cy="6858003"/>
          </a:xfrm>
          <a:prstGeom prst="rect">
            <a:avLst/>
          </a:prstGeom>
          <a:noFill/>
          <a:ln>
            <a:noFill/>
          </a:ln>
        </p:spPr>
      </p:pic>
      <p:sp>
        <p:nvSpPr>
          <p:cNvPr id="8" name="TextBox 7">
            <a:extLst>
              <a:ext uri="{FF2B5EF4-FFF2-40B4-BE49-F238E27FC236}">
                <a16:creationId xmlns:a16="http://schemas.microsoft.com/office/drawing/2014/main" id="{0E8B71A1-569C-9943-CBDD-1B98516E5493}"/>
              </a:ext>
            </a:extLst>
          </p:cNvPr>
          <p:cNvSpPr txBox="1"/>
          <p:nvPr userDrawn="1"/>
        </p:nvSpPr>
        <p:spPr>
          <a:xfrm>
            <a:off x="831849" y="639635"/>
            <a:ext cx="5585155" cy="830997"/>
          </a:xfrm>
          <a:prstGeom prst="rect">
            <a:avLst/>
          </a:prstGeom>
          <a:noFill/>
        </p:spPr>
        <p:txBody>
          <a:bodyPr wrap="square" lIns="0" tIns="0" rIns="0" bIns="0" rtlCol="0">
            <a:spAutoFit/>
          </a:bodyPr>
          <a:lstStyle/>
          <a:p>
            <a:r>
              <a:rPr lang="en-US" sz="5400" b="0">
                <a:solidFill>
                  <a:schemeClr val="bg1"/>
                </a:solidFill>
              </a:rPr>
              <a:t>Agenda</a:t>
            </a:r>
          </a:p>
        </p:txBody>
      </p:sp>
      <p:sp>
        <p:nvSpPr>
          <p:cNvPr id="12" name="Footer Placeholder 9">
            <a:extLst>
              <a:ext uri="{FF2B5EF4-FFF2-40B4-BE49-F238E27FC236}">
                <a16:creationId xmlns:a16="http://schemas.microsoft.com/office/drawing/2014/main" id="{273CF3B9-0A41-8696-28DE-AE99AC483F77}"/>
              </a:ext>
            </a:extLst>
          </p:cNvPr>
          <p:cNvSpPr>
            <a:spLocks noGrp="1"/>
          </p:cNvSpPr>
          <p:nvPr>
            <p:ph type="ftr" sz="quarter" idx="14"/>
          </p:nvPr>
        </p:nvSpPr>
        <p:spPr>
          <a:xfrm>
            <a:off x="10172701" y="6364123"/>
            <a:ext cx="1123951" cy="283368"/>
          </a:xfrm>
        </p:spPr>
        <p:txBody>
          <a:bodyPr/>
          <a:lstStyle>
            <a:lvl1pPr>
              <a:defRPr>
                <a:solidFill>
                  <a:schemeClr val="bg1"/>
                </a:solidFill>
              </a:defRPr>
            </a:lvl1pPr>
          </a:lstStyle>
          <a:p>
            <a:r>
              <a:rPr lang="en-US"/>
              <a:t>© Commvault 2024</a:t>
            </a:r>
          </a:p>
        </p:txBody>
      </p:sp>
      <p:sp>
        <p:nvSpPr>
          <p:cNvPr id="13" name="Slide Number Placeholder 10">
            <a:extLst>
              <a:ext uri="{FF2B5EF4-FFF2-40B4-BE49-F238E27FC236}">
                <a16:creationId xmlns:a16="http://schemas.microsoft.com/office/drawing/2014/main" id="{CB092E08-7E68-F4BA-7564-C072535F7902}"/>
              </a:ext>
            </a:extLst>
          </p:cNvPr>
          <p:cNvSpPr>
            <a:spLocks noGrp="1"/>
          </p:cNvSpPr>
          <p:nvPr>
            <p:ph type="sldNum" sz="quarter" idx="15"/>
          </p:nvPr>
        </p:nvSpPr>
        <p:spPr>
          <a:xfrm>
            <a:off x="11403177" y="6377922"/>
            <a:ext cx="373227" cy="255775"/>
          </a:xfrm>
        </p:spPr>
        <p:txBody>
          <a:bodyPr/>
          <a:lstStyle>
            <a:lvl1pPr>
              <a:defRPr>
                <a:solidFill>
                  <a:schemeClr val="bg1"/>
                </a:solidFill>
              </a:defRPr>
            </a:lvl1pPr>
          </a:lstStyle>
          <a:p>
            <a:fld id="{71676EBD-8486-AA4B-82C3-0598DF1E43FA}" type="slidenum">
              <a:rPr lang="en-US" smtClean="0"/>
              <a:pPr/>
              <a:t>‹Nr.›</a:t>
            </a:fld>
            <a:endParaRPr lang="en-US"/>
          </a:p>
        </p:txBody>
      </p:sp>
      <p:sp>
        <p:nvSpPr>
          <p:cNvPr id="14" name="Text Placeholder 19">
            <a:extLst>
              <a:ext uri="{FF2B5EF4-FFF2-40B4-BE49-F238E27FC236}">
                <a16:creationId xmlns:a16="http://schemas.microsoft.com/office/drawing/2014/main" id="{5B7BD9D5-552B-E2D4-DCA7-7CA196A0246B}"/>
              </a:ext>
            </a:extLst>
          </p:cNvPr>
          <p:cNvSpPr>
            <a:spLocks noGrp="1"/>
          </p:cNvSpPr>
          <p:nvPr>
            <p:ph type="body" sz="quarter" idx="18" hasCustomPrompt="1"/>
          </p:nvPr>
        </p:nvSpPr>
        <p:spPr>
          <a:xfrm>
            <a:off x="831850" y="1738314"/>
            <a:ext cx="755647" cy="392597"/>
          </a:xfrm>
        </p:spPr>
        <p:txBody>
          <a:bodyPr wrap="none" lIns="0" tIns="0" rIns="0" bIns="0" anchor="ctr" anchorCtr="0">
            <a:noAutofit/>
          </a:bodyPr>
          <a:lstStyle>
            <a:lvl1pPr algn="l">
              <a:lnSpc>
                <a:spcPct val="100000"/>
              </a:lnSpc>
              <a:spcAft>
                <a:spcPts val="0"/>
              </a:spcAft>
              <a:defRPr sz="2000" b="1">
                <a:solidFill>
                  <a:schemeClr val="bg1"/>
                </a:solidFill>
              </a:defRPr>
            </a:lvl1pPr>
          </a:lstStyle>
          <a:p>
            <a:pPr lvl="0"/>
            <a:r>
              <a:rPr lang="en-US"/>
              <a:t>00</a:t>
            </a:r>
          </a:p>
        </p:txBody>
      </p:sp>
      <p:sp>
        <p:nvSpPr>
          <p:cNvPr id="15" name="Text Placeholder 23">
            <a:extLst>
              <a:ext uri="{FF2B5EF4-FFF2-40B4-BE49-F238E27FC236}">
                <a16:creationId xmlns:a16="http://schemas.microsoft.com/office/drawing/2014/main" id="{7BF3C378-060A-3C18-4272-536CC910B687}"/>
              </a:ext>
            </a:extLst>
          </p:cNvPr>
          <p:cNvSpPr>
            <a:spLocks noGrp="1"/>
          </p:cNvSpPr>
          <p:nvPr>
            <p:ph type="body" sz="quarter" idx="20" hasCustomPrompt="1"/>
          </p:nvPr>
        </p:nvSpPr>
        <p:spPr>
          <a:xfrm>
            <a:off x="1777999" y="1738314"/>
            <a:ext cx="4546599" cy="392597"/>
          </a:xfrm>
        </p:spPr>
        <p:txBody>
          <a:bodyPr lIns="0" tIns="0" rIns="0" bIns="0" anchor="ctr">
            <a:noAutofit/>
          </a:bodyPr>
          <a:lstStyle>
            <a:lvl1pPr>
              <a:spcAft>
                <a:spcPts val="0"/>
              </a:spcAft>
              <a:defRPr sz="1600">
                <a:solidFill>
                  <a:schemeClr val="bg1"/>
                </a:solidFill>
              </a:defRPr>
            </a:lvl1pPr>
          </a:lstStyle>
          <a:p>
            <a:pPr marL="0" marR="0" lvl="0" indent="0" algn="l" defTabSz="914377"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sp>
        <p:nvSpPr>
          <p:cNvPr id="16" name="Text Placeholder 19">
            <a:extLst>
              <a:ext uri="{FF2B5EF4-FFF2-40B4-BE49-F238E27FC236}">
                <a16:creationId xmlns:a16="http://schemas.microsoft.com/office/drawing/2014/main" id="{641184EE-D899-ADF2-A3DB-D99B0274E928}"/>
              </a:ext>
            </a:extLst>
          </p:cNvPr>
          <p:cNvSpPr>
            <a:spLocks noGrp="1"/>
          </p:cNvSpPr>
          <p:nvPr>
            <p:ph type="body" sz="quarter" idx="46" hasCustomPrompt="1"/>
          </p:nvPr>
        </p:nvSpPr>
        <p:spPr>
          <a:xfrm>
            <a:off x="831850" y="2260396"/>
            <a:ext cx="755647" cy="392597"/>
          </a:xfrm>
        </p:spPr>
        <p:txBody>
          <a:bodyPr wrap="none" lIns="0" tIns="0" rIns="0" bIns="0" anchor="ctr" anchorCtr="0">
            <a:noAutofit/>
          </a:bodyPr>
          <a:lstStyle>
            <a:lvl1pPr algn="l">
              <a:lnSpc>
                <a:spcPct val="100000"/>
              </a:lnSpc>
              <a:spcAft>
                <a:spcPts val="0"/>
              </a:spcAft>
              <a:defRPr sz="2000" b="1">
                <a:solidFill>
                  <a:schemeClr val="bg1"/>
                </a:solidFill>
              </a:defRPr>
            </a:lvl1pPr>
          </a:lstStyle>
          <a:p>
            <a:pPr lvl="0"/>
            <a:r>
              <a:rPr lang="en-US"/>
              <a:t>00</a:t>
            </a:r>
          </a:p>
        </p:txBody>
      </p:sp>
      <p:sp>
        <p:nvSpPr>
          <p:cNvPr id="17" name="Text Placeholder 23">
            <a:extLst>
              <a:ext uri="{FF2B5EF4-FFF2-40B4-BE49-F238E27FC236}">
                <a16:creationId xmlns:a16="http://schemas.microsoft.com/office/drawing/2014/main" id="{E890822C-8C34-304E-25FD-3403B32BDEE0}"/>
              </a:ext>
            </a:extLst>
          </p:cNvPr>
          <p:cNvSpPr>
            <a:spLocks noGrp="1"/>
          </p:cNvSpPr>
          <p:nvPr>
            <p:ph type="body" sz="quarter" idx="47" hasCustomPrompt="1"/>
          </p:nvPr>
        </p:nvSpPr>
        <p:spPr>
          <a:xfrm>
            <a:off x="1777999" y="2260396"/>
            <a:ext cx="4546599" cy="392597"/>
          </a:xfrm>
        </p:spPr>
        <p:txBody>
          <a:bodyPr lIns="0" tIns="0" rIns="0" bIns="0" anchor="ctr">
            <a:noAutofit/>
          </a:bodyPr>
          <a:lstStyle>
            <a:lvl1pPr>
              <a:spcAft>
                <a:spcPts val="0"/>
              </a:spcAft>
              <a:defRPr sz="1600">
                <a:solidFill>
                  <a:schemeClr val="bg1"/>
                </a:solidFill>
              </a:defRPr>
            </a:lvl1pPr>
          </a:lstStyle>
          <a:p>
            <a:pPr marL="0" marR="0" lvl="0" indent="0" algn="l" defTabSz="914377"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sp>
        <p:nvSpPr>
          <p:cNvPr id="18" name="Text Placeholder 19">
            <a:extLst>
              <a:ext uri="{FF2B5EF4-FFF2-40B4-BE49-F238E27FC236}">
                <a16:creationId xmlns:a16="http://schemas.microsoft.com/office/drawing/2014/main" id="{4CA6076B-31A0-13D7-A312-FE3F9E240263}"/>
              </a:ext>
            </a:extLst>
          </p:cNvPr>
          <p:cNvSpPr>
            <a:spLocks noGrp="1"/>
          </p:cNvSpPr>
          <p:nvPr>
            <p:ph type="body" sz="quarter" idx="48" hasCustomPrompt="1"/>
          </p:nvPr>
        </p:nvSpPr>
        <p:spPr>
          <a:xfrm>
            <a:off x="831850" y="2787940"/>
            <a:ext cx="755647" cy="392597"/>
          </a:xfrm>
        </p:spPr>
        <p:txBody>
          <a:bodyPr wrap="none" lIns="0" tIns="0" rIns="0" bIns="0" anchor="ctr" anchorCtr="0">
            <a:noAutofit/>
          </a:bodyPr>
          <a:lstStyle>
            <a:lvl1pPr algn="l">
              <a:lnSpc>
                <a:spcPct val="100000"/>
              </a:lnSpc>
              <a:spcAft>
                <a:spcPts val="0"/>
              </a:spcAft>
              <a:defRPr sz="2000" b="1">
                <a:solidFill>
                  <a:schemeClr val="bg1"/>
                </a:solidFill>
              </a:defRPr>
            </a:lvl1pPr>
          </a:lstStyle>
          <a:p>
            <a:pPr lvl="0"/>
            <a:r>
              <a:rPr lang="en-US"/>
              <a:t>00</a:t>
            </a:r>
          </a:p>
        </p:txBody>
      </p:sp>
      <p:sp>
        <p:nvSpPr>
          <p:cNvPr id="19" name="Text Placeholder 23">
            <a:extLst>
              <a:ext uri="{FF2B5EF4-FFF2-40B4-BE49-F238E27FC236}">
                <a16:creationId xmlns:a16="http://schemas.microsoft.com/office/drawing/2014/main" id="{7B54F0FF-362B-D31C-3C6A-C2DF79027EEB}"/>
              </a:ext>
            </a:extLst>
          </p:cNvPr>
          <p:cNvSpPr>
            <a:spLocks noGrp="1"/>
          </p:cNvSpPr>
          <p:nvPr>
            <p:ph type="body" sz="quarter" idx="49" hasCustomPrompt="1"/>
          </p:nvPr>
        </p:nvSpPr>
        <p:spPr>
          <a:xfrm>
            <a:off x="1777999" y="2787940"/>
            <a:ext cx="4546599" cy="392597"/>
          </a:xfrm>
        </p:spPr>
        <p:txBody>
          <a:bodyPr lIns="0" tIns="0" rIns="0" bIns="0" anchor="ctr">
            <a:noAutofit/>
          </a:bodyPr>
          <a:lstStyle>
            <a:lvl1pPr>
              <a:spcAft>
                <a:spcPts val="0"/>
              </a:spcAft>
              <a:defRPr sz="1600">
                <a:solidFill>
                  <a:schemeClr val="bg1"/>
                </a:solidFill>
              </a:defRPr>
            </a:lvl1pPr>
          </a:lstStyle>
          <a:p>
            <a:pPr marL="0" marR="0" lvl="0" indent="0" algn="l" defTabSz="914377"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sp>
        <p:nvSpPr>
          <p:cNvPr id="20" name="Text Placeholder 19">
            <a:extLst>
              <a:ext uri="{FF2B5EF4-FFF2-40B4-BE49-F238E27FC236}">
                <a16:creationId xmlns:a16="http://schemas.microsoft.com/office/drawing/2014/main" id="{47C48B80-17D6-1D5B-B0C8-9D94C2CDB1B2}"/>
              </a:ext>
            </a:extLst>
          </p:cNvPr>
          <p:cNvSpPr>
            <a:spLocks noGrp="1"/>
          </p:cNvSpPr>
          <p:nvPr>
            <p:ph type="body" sz="quarter" idx="50" hasCustomPrompt="1"/>
          </p:nvPr>
        </p:nvSpPr>
        <p:spPr>
          <a:xfrm>
            <a:off x="831850" y="3315484"/>
            <a:ext cx="755647" cy="392597"/>
          </a:xfrm>
        </p:spPr>
        <p:txBody>
          <a:bodyPr wrap="none" lIns="0" tIns="0" rIns="0" bIns="0" anchor="ctr" anchorCtr="0">
            <a:noAutofit/>
          </a:bodyPr>
          <a:lstStyle>
            <a:lvl1pPr algn="l">
              <a:lnSpc>
                <a:spcPct val="100000"/>
              </a:lnSpc>
              <a:spcAft>
                <a:spcPts val="0"/>
              </a:spcAft>
              <a:defRPr sz="2000" b="1">
                <a:solidFill>
                  <a:schemeClr val="bg1"/>
                </a:solidFill>
              </a:defRPr>
            </a:lvl1pPr>
          </a:lstStyle>
          <a:p>
            <a:pPr lvl="0"/>
            <a:r>
              <a:rPr lang="en-US"/>
              <a:t>00</a:t>
            </a:r>
          </a:p>
        </p:txBody>
      </p:sp>
      <p:sp>
        <p:nvSpPr>
          <p:cNvPr id="21" name="Text Placeholder 23">
            <a:extLst>
              <a:ext uri="{FF2B5EF4-FFF2-40B4-BE49-F238E27FC236}">
                <a16:creationId xmlns:a16="http://schemas.microsoft.com/office/drawing/2014/main" id="{DEC57B1F-2111-0449-9EA7-49BC310CDA3B}"/>
              </a:ext>
            </a:extLst>
          </p:cNvPr>
          <p:cNvSpPr>
            <a:spLocks noGrp="1"/>
          </p:cNvSpPr>
          <p:nvPr>
            <p:ph type="body" sz="quarter" idx="51" hasCustomPrompt="1"/>
          </p:nvPr>
        </p:nvSpPr>
        <p:spPr>
          <a:xfrm>
            <a:off x="1777999" y="3315484"/>
            <a:ext cx="4546599" cy="392597"/>
          </a:xfrm>
        </p:spPr>
        <p:txBody>
          <a:bodyPr lIns="0" tIns="0" rIns="0" bIns="0" anchor="ctr">
            <a:noAutofit/>
          </a:bodyPr>
          <a:lstStyle>
            <a:lvl1pPr>
              <a:spcAft>
                <a:spcPts val="0"/>
              </a:spcAft>
              <a:defRPr sz="1600">
                <a:solidFill>
                  <a:schemeClr val="bg1"/>
                </a:solidFill>
              </a:defRPr>
            </a:lvl1pPr>
          </a:lstStyle>
          <a:p>
            <a:pPr marL="0" marR="0" lvl="0" indent="0" algn="l" defTabSz="914377"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sp>
        <p:nvSpPr>
          <p:cNvPr id="22" name="Text Placeholder 19">
            <a:extLst>
              <a:ext uri="{FF2B5EF4-FFF2-40B4-BE49-F238E27FC236}">
                <a16:creationId xmlns:a16="http://schemas.microsoft.com/office/drawing/2014/main" id="{C05973CF-BD38-412F-4119-DDA05D462A32}"/>
              </a:ext>
            </a:extLst>
          </p:cNvPr>
          <p:cNvSpPr>
            <a:spLocks noGrp="1"/>
          </p:cNvSpPr>
          <p:nvPr>
            <p:ph type="body" sz="quarter" idx="52" hasCustomPrompt="1"/>
          </p:nvPr>
        </p:nvSpPr>
        <p:spPr>
          <a:xfrm>
            <a:off x="831850" y="3843028"/>
            <a:ext cx="755647" cy="392597"/>
          </a:xfrm>
        </p:spPr>
        <p:txBody>
          <a:bodyPr wrap="none" lIns="0" tIns="0" rIns="0" bIns="0" anchor="ctr" anchorCtr="0">
            <a:noAutofit/>
          </a:bodyPr>
          <a:lstStyle>
            <a:lvl1pPr algn="l">
              <a:lnSpc>
                <a:spcPct val="100000"/>
              </a:lnSpc>
              <a:spcAft>
                <a:spcPts val="0"/>
              </a:spcAft>
              <a:defRPr sz="2000" b="1">
                <a:solidFill>
                  <a:schemeClr val="bg1"/>
                </a:solidFill>
              </a:defRPr>
            </a:lvl1pPr>
          </a:lstStyle>
          <a:p>
            <a:pPr lvl="0"/>
            <a:r>
              <a:rPr lang="en-US"/>
              <a:t>00</a:t>
            </a:r>
          </a:p>
        </p:txBody>
      </p:sp>
      <p:sp>
        <p:nvSpPr>
          <p:cNvPr id="23" name="Text Placeholder 23">
            <a:extLst>
              <a:ext uri="{FF2B5EF4-FFF2-40B4-BE49-F238E27FC236}">
                <a16:creationId xmlns:a16="http://schemas.microsoft.com/office/drawing/2014/main" id="{E0414440-DCD0-9624-895A-5074C36DA2B4}"/>
              </a:ext>
            </a:extLst>
          </p:cNvPr>
          <p:cNvSpPr>
            <a:spLocks noGrp="1"/>
          </p:cNvSpPr>
          <p:nvPr>
            <p:ph type="body" sz="quarter" idx="53" hasCustomPrompt="1"/>
          </p:nvPr>
        </p:nvSpPr>
        <p:spPr>
          <a:xfrm>
            <a:off x="1777999" y="3843028"/>
            <a:ext cx="4546599" cy="392597"/>
          </a:xfrm>
        </p:spPr>
        <p:txBody>
          <a:bodyPr lIns="0" tIns="0" rIns="0" bIns="0" anchor="ctr">
            <a:noAutofit/>
          </a:bodyPr>
          <a:lstStyle>
            <a:lvl1pPr>
              <a:spcAft>
                <a:spcPts val="0"/>
              </a:spcAft>
              <a:defRPr sz="1600">
                <a:solidFill>
                  <a:schemeClr val="bg1"/>
                </a:solidFill>
              </a:defRPr>
            </a:lvl1pPr>
          </a:lstStyle>
          <a:p>
            <a:pPr marL="0" marR="0" lvl="0" indent="0" algn="l" defTabSz="914377"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sp>
        <p:nvSpPr>
          <p:cNvPr id="24" name="Text Placeholder 19">
            <a:extLst>
              <a:ext uri="{FF2B5EF4-FFF2-40B4-BE49-F238E27FC236}">
                <a16:creationId xmlns:a16="http://schemas.microsoft.com/office/drawing/2014/main" id="{46EA97D9-775F-453F-C01D-03C23863B327}"/>
              </a:ext>
            </a:extLst>
          </p:cNvPr>
          <p:cNvSpPr>
            <a:spLocks noGrp="1"/>
          </p:cNvSpPr>
          <p:nvPr>
            <p:ph type="body" sz="quarter" idx="54" hasCustomPrompt="1"/>
          </p:nvPr>
        </p:nvSpPr>
        <p:spPr>
          <a:xfrm>
            <a:off x="831850" y="4370572"/>
            <a:ext cx="755647" cy="392597"/>
          </a:xfrm>
        </p:spPr>
        <p:txBody>
          <a:bodyPr wrap="none" lIns="0" tIns="0" rIns="0" bIns="0" anchor="ctr" anchorCtr="0">
            <a:noAutofit/>
          </a:bodyPr>
          <a:lstStyle>
            <a:lvl1pPr algn="l">
              <a:lnSpc>
                <a:spcPct val="100000"/>
              </a:lnSpc>
              <a:spcAft>
                <a:spcPts val="0"/>
              </a:spcAft>
              <a:defRPr sz="2000" b="1">
                <a:solidFill>
                  <a:schemeClr val="bg1"/>
                </a:solidFill>
              </a:defRPr>
            </a:lvl1pPr>
          </a:lstStyle>
          <a:p>
            <a:pPr lvl="0"/>
            <a:r>
              <a:rPr lang="en-US"/>
              <a:t>00</a:t>
            </a:r>
          </a:p>
        </p:txBody>
      </p:sp>
      <p:sp>
        <p:nvSpPr>
          <p:cNvPr id="25" name="Text Placeholder 23">
            <a:extLst>
              <a:ext uri="{FF2B5EF4-FFF2-40B4-BE49-F238E27FC236}">
                <a16:creationId xmlns:a16="http://schemas.microsoft.com/office/drawing/2014/main" id="{94E1E7E5-500B-BCAF-ABDF-F671ED352BF9}"/>
              </a:ext>
            </a:extLst>
          </p:cNvPr>
          <p:cNvSpPr>
            <a:spLocks noGrp="1"/>
          </p:cNvSpPr>
          <p:nvPr>
            <p:ph type="body" sz="quarter" idx="55" hasCustomPrompt="1"/>
          </p:nvPr>
        </p:nvSpPr>
        <p:spPr>
          <a:xfrm>
            <a:off x="1777999" y="4370572"/>
            <a:ext cx="4546599" cy="392597"/>
          </a:xfrm>
        </p:spPr>
        <p:txBody>
          <a:bodyPr lIns="0" tIns="0" rIns="0" bIns="0" anchor="ctr">
            <a:noAutofit/>
          </a:bodyPr>
          <a:lstStyle>
            <a:lvl1pPr>
              <a:spcAft>
                <a:spcPts val="0"/>
              </a:spcAft>
              <a:defRPr sz="1600">
                <a:solidFill>
                  <a:schemeClr val="bg1"/>
                </a:solidFill>
              </a:defRPr>
            </a:lvl1pPr>
          </a:lstStyle>
          <a:p>
            <a:pPr marL="0" marR="0" lvl="0" indent="0" algn="l" defTabSz="914377"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sp>
        <p:nvSpPr>
          <p:cNvPr id="26" name="Text Placeholder 19">
            <a:extLst>
              <a:ext uri="{FF2B5EF4-FFF2-40B4-BE49-F238E27FC236}">
                <a16:creationId xmlns:a16="http://schemas.microsoft.com/office/drawing/2014/main" id="{ADF86D12-1BB6-DE1E-0297-C987B6A6FC35}"/>
              </a:ext>
            </a:extLst>
          </p:cNvPr>
          <p:cNvSpPr>
            <a:spLocks noGrp="1"/>
          </p:cNvSpPr>
          <p:nvPr>
            <p:ph type="body" sz="quarter" idx="56" hasCustomPrompt="1"/>
          </p:nvPr>
        </p:nvSpPr>
        <p:spPr>
          <a:xfrm>
            <a:off x="831850" y="4898116"/>
            <a:ext cx="755647" cy="392597"/>
          </a:xfrm>
        </p:spPr>
        <p:txBody>
          <a:bodyPr wrap="none" lIns="0" tIns="0" rIns="0" bIns="0" anchor="ctr" anchorCtr="0">
            <a:noAutofit/>
          </a:bodyPr>
          <a:lstStyle>
            <a:lvl1pPr algn="l">
              <a:lnSpc>
                <a:spcPct val="100000"/>
              </a:lnSpc>
              <a:spcAft>
                <a:spcPts val="0"/>
              </a:spcAft>
              <a:defRPr sz="2000" b="1">
                <a:solidFill>
                  <a:schemeClr val="bg1"/>
                </a:solidFill>
              </a:defRPr>
            </a:lvl1pPr>
          </a:lstStyle>
          <a:p>
            <a:pPr lvl="0"/>
            <a:r>
              <a:rPr lang="en-US"/>
              <a:t>00</a:t>
            </a:r>
          </a:p>
        </p:txBody>
      </p:sp>
      <p:sp>
        <p:nvSpPr>
          <p:cNvPr id="27" name="Text Placeholder 23">
            <a:extLst>
              <a:ext uri="{FF2B5EF4-FFF2-40B4-BE49-F238E27FC236}">
                <a16:creationId xmlns:a16="http://schemas.microsoft.com/office/drawing/2014/main" id="{AFB78279-8A39-A48C-40E4-F6465E9A43B0}"/>
              </a:ext>
            </a:extLst>
          </p:cNvPr>
          <p:cNvSpPr>
            <a:spLocks noGrp="1"/>
          </p:cNvSpPr>
          <p:nvPr>
            <p:ph type="body" sz="quarter" idx="57" hasCustomPrompt="1"/>
          </p:nvPr>
        </p:nvSpPr>
        <p:spPr>
          <a:xfrm>
            <a:off x="1777999" y="4898116"/>
            <a:ext cx="4546599" cy="392597"/>
          </a:xfrm>
        </p:spPr>
        <p:txBody>
          <a:bodyPr lIns="0" tIns="0" rIns="0" bIns="0" anchor="ctr">
            <a:noAutofit/>
          </a:bodyPr>
          <a:lstStyle>
            <a:lvl1pPr>
              <a:spcAft>
                <a:spcPts val="0"/>
              </a:spcAft>
              <a:defRPr sz="1600">
                <a:solidFill>
                  <a:schemeClr val="bg1"/>
                </a:solidFill>
              </a:defRPr>
            </a:lvl1pPr>
          </a:lstStyle>
          <a:p>
            <a:pPr marL="0" marR="0" lvl="0" indent="0" algn="l" defTabSz="914377"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sp>
        <p:nvSpPr>
          <p:cNvPr id="28" name="Text Placeholder 19">
            <a:extLst>
              <a:ext uri="{FF2B5EF4-FFF2-40B4-BE49-F238E27FC236}">
                <a16:creationId xmlns:a16="http://schemas.microsoft.com/office/drawing/2014/main" id="{AEA14A84-6737-E6B6-13FF-03C5E4716055}"/>
              </a:ext>
            </a:extLst>
          </p:cNvPr>
          <p:cNvSpPr>
            <a:spLocks noGrp="1"/>
          </p:cNvSpPr>
          <p:nvPr>
            <p:ph type="body" sz="quarter" idx="58" hasCustomPrompt="1"/>
          </p:nvPr>
        </p:nvSpPr>
        <p:spPr>
          <a:xfrm>
            <a:off x="831850" y="5425660"/>
            <a:ext cx="755647" cy="392597"/>
          </a:xfrm>
        </p:spPr>
        <p:txBody>
          <a:bodyPr wrap="none" lIns="0" tIns="0" rIns="0" bIns="0" anchor="ctr" anchorCtr="0">
            <a:noAutofit/>
          </a:bodyPr>
          <a:lstStyle>
            <a:lvl1pPr algn="l">
              <a:lnSpc>
                <a:spcPct val="100000"/>
              </a:lnSpc>
              <a:spcAft>
                <a:spcPts val="0"/>
              </a:spcAft>
              <a:defRPr sz="2000" b="1">
                <a:solidFill>
                  <a:schemeClr val="bg1"/>
                </a:solidFill>
              </a:defRPr>
            </a:lvl1pPr>
          </a:lstStyle>
          <a:p>
            <a:pPr lvl="0"/>
            <a:r>
              <a:rPr lang="en-US"/>
              <a:t>00</a:t>
            </a:r>
          </a:p>
        </p:txBody>
      </p:sp>
      <p:sp>
        <p:nvSpPr>
          <p:cNvPr id="29" name="Text Placeholder 23">
            <a:extLst>
              <a:ext uri="{FF2B5EF4-FFF2-40B4-BE49-F238E27FC236}">
                <a16:creationId xmlns:a16="http://schemas.microsoft.com/office/drawing/2014/main" id="{04CEE2E1-B7FE-7453-16C3-6EC7D513BE33}"/>
              </a:ext>
            </a:extLst>
          </p:cNvPr>
          <p:cNvSpPr>
            <a:spLocks noGrp="1"/>
          </p:cNvSpPr>
          <p:nvPr>
            <p:ph type="body" sz="quarter" idx="59" hasCustomPrompt="1"/>
          </p:nvPr>
        </p:nvSpPr>
        <p:spPr>
          <a:xfrm>
            <a:off x="1777999" y="5425660"/>
            <a:ext cx="4546599" cy="392597"/>
          </a:xfrm>
        </p:spPr>
        <p:txBody>
          <a:bodyPr lIns="0" tIns="0" rIns="0" bIns="0" anchor="ctr">
            <a:noAutofit/>
          </a:bodyPr>
          <a:lstStyle>
            <a:lvl1pPr>
              <a:spcAft>
                <a:spcPts val="0"/>
              </a:spcAft>
              <a:defRPr sz="1600">
                <a:solidFill>
                  <a:schemeClr val="bg1"/>
                </a:solidFill>
              </a:defRPr>
            </a:lvl1pPr>
          </a:lstStyle>
          <a:p>
            <a:pPr marL="0" marR="0" lvl="0" indent="0" algn="l" defTabSz="914377"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pic>
        <p:nvPicPr>
          <p:cNvPr id="3" name="Graphic 2">
            <a:extLst>
              <a:ext uri="{FF2B5EF4-FFF2-40B4-BE49-F238E27FC236}">
                <a16:creationId xmlns:a16="http://schemas.microsoft.com/office/drawing/2014/main" id="{09E5B382-B0AD-3DD1-5D9D-F28F6E312ADA}"/>
              </a:ext>
            </a:extLst>
          </p:cNvPr>
          <p:cNvPicPr>
            <a:picLocks noChangeAspect="1"/>
          </p:cNvPicPr>
          <p:nvPr userDrawn="1">
            <p:custDataLst>
              <p:tags r:id="rId1"/>
            </p:custDataLst>
          </p:nvPr>
        </p:nvPicPr>
        <p:blipFill>
          <a:blip>
            <a:extLst>
              <a:ext uri="{96DAC541-7B7A-43D3-8B79-37D633B846F1}">
                <asvg:svgBlip xmlns:asvg="http://schemas.microsoft.com/office/drawing/2016/SVG/main" r:embed="rId4"/>
              </a:ext>
            </a:extLst>
          </a:blip>
          <a:stretch>
            <a:fillRect/>
          </a:stretch>
        </p:blipFill>
        <p:spPr>
          <a:xfrm>
            <a:off x="831851" y="6364123"/>
            <a:ext cx="1484309" cy="283368"/>
          </a:xfrm>
          <a:prstGeom prst="rect">
            <a:avLst/>
          </a:prstGeom>
        </p:spPr>
      </p:pic>
    </p:spTree>
    <p:extLst>
      <p:ext uri="{BB962C8B-B14F-4D97-AF65-F5344CB8AC3E}">
        <p14:creationId xmlns:p14="http://schemas.microsoft.com/office/powerpoint/2010/main" val="35329908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DO NOT USE - INSTRUCTIONAL 3">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3F3F73B-5A7E-8BBE-68A8-9BD49B10A6BC}"/>
              </a:ext>
            </a:extLst>
          </p:cNvPr>
          <p:cNvSpPr>
            <a:spLocks noGrp="1"/>
          </p:cNvSpPr>
          <p:nvPr>
            <p:ph type="ftr" sz="quarter" idx="11"/>
          </p:nvPr>
        </p:nvSpPr>
        <p:spPr>
          <a:xfrm>
            <a:off x="10447173" y="6356351"/>
            <a:ext cx="956004" cy="365125"/>
          </a:xfrm>
          <a:prstGeom prst="rect">
            <a:avLst/>
          </a:prstGeom>
        </p:spPr>
        <p:txBody>
          <a:bodyPr/>
          <a:lstStyle/>
          <a:p>
            <a:r>
              <a:rPr lang="en-US"/>
              <a:t>© Commvault 2024</a:t>
            </a:r>
          </a:p>
        </p:txBody>
      </p:sp>
      <p:sp>
        <p:nvSpPr>
          <p:cNvPr id="4" name="Slide Number Placeholder 3">
            <a:extLst>
              <a:ext uri="{FF2B5EF4-FFF2-40B4-BE49-F238E27FC236}">
                <a16:creationId xmlns:a16="http://schemas.microsoft.com/office/drawing/2014/main" id="{D481AB5E-0FD8-E0D0-B848-CE488AFA1733}"/>
              </a:ext>
            </a:extLst>
          </p:cNvPr>
          <p:cNvSpPr>
            <a:spLocks noGrp="1"/>
          </p:cNvSpPr>
          <p:nvPr>
            <p:ph type="sldNum" sz="quarter" idx="12"/>
          </p:nvPr>
        </p:nvSpPr>
        <p:spPr/>
        <p:txBody>
          <a:bodyPr/>
          <a:lstStyle/>
          <a:p>
            <a:fld id="{71676EBD-8486-AA4B-82C3-0598DF1E43FA}" type="slidenum">
              <a:rPr lang="en-US" smtClean="0"/>
              <a:t>‹Nr.›</a:t>
            </a:fld>
            <a:endParaRPr lang="en-US"/>
          </a:p>
        </p:txBody>
      </p:sp>
      <p:sp>
        <p:nvSpPr>
          <p:cNvPr id="5" name="Rectangle 4">
            <a:extLst>
              <a:ext uri="{FF2B5EF4-FFF2-40B4-BE49-F238E27FC236}">
                <a16:creationId xmlns:a16="http://schemas.microsoft.com/office/drawing/2014/main" id="{CB32733C-E917-A5A6-1594-5B360FC1919B}"/>
              </a:ext>
            </a:extLst>
          </p:cNvPr>
          <p:cNvSpPr/>
          <p:nvPr userDrawn="1"/>
        </p:nvSpPr>
        <p:spPr>
          <a:xfrm>
            <a:off x="0" y="0"/>
            <a:ext cx="12192000"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 name="TextBox 5">
            <a:extLst>
              <a:ext uri="{FF2B5EF4-FFF2-40B4-BE49-F238E27FC236}">
                <a16:creationId xmlns:a16="http://schemas.microsoft.com/office/drawing/2014/main" id="{6803F741-5B4D-49EC-3B06-5F25CE645285}"/>
              </a:ext>
            </a:extLst>
          </p:cNvPr>
          <p:cNvSpPr txBox="1"/>
          <p:nvPr userDrawn="1"/>
        </p:nvSpPr>
        <p:spPr>
          <a:xfrm>
            <a:off x="415597" y="476250"/>
            <a:ext cx="9315449" cy="1200329"/>
          </a:xfrm>
          <a:prstGeom prst="rect">
            <a:avLst/>
          </a:prstGeom>
          <a:noFill/>
        </p:spPr>
        <p:txBody>
          <a:bodyPr wrap="square" rtlCol="0">
            <a:spAutoFit/>
          </a:bodyPr>
          <a:lstStyle/>
          <a:p>
            <a:r>
              <a:rPr lang="en-US" sz="3200">
                <a:solidFill>
                  <a:schemeClr val="bg1"/>
                </a:solidFill>
              </a:rPr>
              <a:t>THIS IS AN INSTRUCTIONAL SLIDE </a:t>
            </a:r>
          </a:p>
          <a:p>
            <a:r>
              <a:rPr lang="en-US" sz="4000" b="1">
                <a:solidFill>
                  <a:schemeClr val="bg1"/>
                </a:solidFill>
              </a:rPr>
              <a:t>DO NOT USE</a:t>
            </a:r>
            <a:endParaRPr lang="en-US" sz="3200" b="1">
              <a:solidFill>
                <a:schemeClr val="bg1"/>
              </a:solidFill>
            </a:endParaRPr>
          </a:p>
        </p:txBody>
      </p:sp>
      <p:sp>
        <p:nvSpPr>
          <p:cNvPr id="7" name="TextBox 6">
            <a:extLst>
              <a:ext uri="{FF2B5EF4-FFF2-40B4-BE49-F238E27FC236}">
                <a16:creationId xmlns:a16="http://schemas.microsoft.com/office/drawing/2014/main" id="{6BFEBCAE-B9C3-7526-64F5-463C81DE63A2}"/>
              </a:ext>
            </a:extLst>
          </p:cNvPr>
          <p:cNvSpPr txBox="1"/>
          <p:nvPr userDrawn="1"/>
        </p:nvSpPr>
        <p:spPr>
          <a:xfrm>
            <a:off x="329871" y="2451409"/>
            <a:ext cx="10595304" cy="3631763"/>
          </a:xfrm>
          <a:prstGeom prst="rect">
            <a:avLst/>
          </a:prstGeom>
          <a:noFill/>
        </p:spPr>
        <p:txBody>
          <a:bodyPr wrap="square" rtlCol="0">
            <a:spAutoFit/>
          </a:bodyPr>
          <a:lstStyle/>
          <a:p>
            <a:r>
              <a:rPr lang="en-US" sz="11500">
                <a:solidFill>
                  <a:schemeClr val="bg1"/>
                </a:solidFill>
              </a:rPr>
              <a:t>Content Slide</a:t>
            </a:r>
          </a:p>
          <a:p>
            <a:r>
              <a:rPr lang="en-US" sz="11500">
                <a:solidFill>
                  <a:schemeClr val="bg1"/>
                </a:solidFill>
              </a:rPr>
              <a:t>Options</a:t>
            </a:r>
            <a:endParaRPr lang="en-US" sz="11500" b="1">
              <a:solidFill>
                <a:schemeClr val="bg1"/>
              </a:solidFill>
            </a:endParaRPr>
          </a:p>
        </p:txBody>
      </p:sp>
    </p:spTree>
    <p:extLst>
      <p:ext uri="{BB962C8B-B14F-4D97-AF65-F5344CB8AC3E}">
        <p14:creationId xmlns:p14="http://schemas.microsoft.com/office/powerpoint/2010/main" val="13674629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1D7C0C-9BA2-DCB3-9469-4AF45A12494C}"/>
              </a:ext>
            </a:extLst>
          </p:cNvPr>
          <p:cNvSpPr>
            <a:spLocks noGrp="1"/>
          </p:cNvSpPr>
          <p:nvPr>
            <p:ph idx="1"/>
          </p:nvPr>
        </p:nvSpPr>
        <p:spPr>
          <a:xfrm>
            <a:off x="415596" y="1725497"/>
            <a:ext cx="11360808" cy="4494328"/>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17C63088-FDF0-049A-9B74-7E475F288EAF}"/>
              </a:ext>
            </a:extLst>
          </p:cNvPr>
          <p:cNvSpPr>
            <a:spLocks noGrp="1"/>
          </p:cNvSpPr>
          <p:nvPr>
            <p:ph type="body" sz="quarter" idx="13" hasCustomPrompt="1"/>
          </p:nvPr>
        </p:nvSpPr>
        <p:spPr>
          <a:xfrm>
            <a:off x="415926" y="1246597"/>
            <a:ext cx="11360479" cy="193899"/>
          </a:xfrm>
        </p:spPr>
        <p:txBody>
          <a:bodyPr anchor="t" anchorCtr="0">
            <a:noAutofit/>
          </a:bodyPr>
          <a:lstStyle>
            <a:lvl1pPr marL="0" indent="0">
              <a:buNone/>
              <a:defRPr sz="1400" b="1" cap="all" baseline="0">
                <a:solidFill>
                  <a:schemeClr val="tx1"/>
                </a:solidFill>
              </a:defRPr>
            </a:lvl1pPr>
            <a:lvl4pPr marL="1371566" indent="0">
              <a:buNone/>
              <a:defRPr/>
            </a:lvl4pPr>
          </a:lstStyle>
          <a:p>
            <a:pPr lvl="0"/>
            <a:r>
              <a:rPr lang="en-US"/>
              <a:t>CLICK TO INSERT SUB HEADLINE</a:t>
            </a:r>
          </a:p>
        </p:txBody>
      </p:sp>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p>
            <a:fld id="{71676EBD-8486-AA4B-82C3-0598DF1E43FA}" type="slidenum">
              <a:rPr lang="en-US" smtClean="0"/>
              <a:pPr/>
              <a:t>‹Nr.›</a:t>
            </a:fld>
            <a:endParaRPr lang="en-US"/>
          </a:p>
        </p:txBody>
      </p:sp>
      <p:sp>
        <p:nvSpPr>
          <p:cNvPr id="12" name="Title 11">
            <a:extLst>
              <a:ext uri="{FF2B5EF4-FFF2-40B4-BE49-F238E27FC236}">
                <a16:creationId xmlns:a16="http://schemas.microsoft.com/office/drawing/2014/main" id="{7EE9BBB3-9AF9-06F0-77C0-1C60B3151995}"/>
              </a:ext>
            </a:extLst>
          </p:cNvPr>
          <p:cNvSpPr>
            <a:spLocks noGrp="1"/>
          </p:cNvSpPr>
          <p:nvPr>
            <p:ph type="title" hasCustomPrompt="1"/>
          </p:nvPr>
        </p:nvSpPr>
        <p:spPr>
          <a:xfrm>
            <a:off x="415596" y="462506"/>
            <a:ext cx="11360808" cy="553997"/>
          </a:xfrm>
        </p:spPr>
        <p:txBody>
          <a:bodyPr anchor="t" anchorCtr="0">
            <a:spAutoFit/>
          </a:bodyPr>
          <a:lstStyle>
            <a:lvl1pPr>
              <a:defRPr b="0">
                <a:solidFill>
                  <a:schemeClr val="tx1"/>
                </a:solidFill>
              </a:defRPr>
            </a:lvl1pPr>
          </a:lstStyle>
          <a:p>
            <a:r>
              <a:rPr lang="en-US"/>
              <a:t>Click to Insert Headline</a:t>
            </a:r>
          </a:p>
        </p:txBody>
      </p:sp>
      <p:sp>
        <p:nvSpPr>
          <p:cNvPr id="21" name="Text Placeholder 44">
            <a:extLst>
              <a:ext uri="{FF2B5EF4-FFF2-40B4-BE49-F238E27FC236}">
                <a16:creationId xmlns:a16="http://schemas.microsoft.com/office/drawing/2014/main" id="{D003C8DE-91DB-2332-95D7-E9943CDA1B84}"/>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rgbClr val="3D3F48"/>
                </a:solidFill>
              </a:defRPr>
            </a:lvl1pPr>
            <a:lvl2pPr marL="0" indent="0">
              <a:buNone/>
              <a:defRPr/>
            </a:lvl2pPr>
          </a:lstStyle>
          <a:p>
            <a:pPr lvl="0"/>
            <a:r>
              <a:rPr lang="en-US"/>
              <a:t>Add footnotes here if needed</a:t>
            </a:r>
          </a:p>
        </p:txBody>
      </p:sp>
      <p:pic>
        <p:nvPicPr>
          <p:cNvPr id="4" name="Google Shape;959;g28b48f0dcfc_0_664" descr="A blurry image of a colorful background&#10;&#10;Description automatically generated">
            <a:extLst>
              <a:ext uri="{FF2B5EF4-FFF2-40B4-BE49-F238E27FC236}">
                <a16:creationId xmlns:a16="http://schemas.microsoft.com/office/drawing/2014/main" id="{F6AB0747-69C9-14DD-C3B2-2D95D13EBBCD}"/>
              </a:ext>
            </a:extLst>
          </p:cNvPr>
          <p:cNvPicPr preferRelativeResize="0"/>
          <p:nvPr userDrawn="1"/>
        </p:nvPicPr>
        <p:blipFill rotWithShape="1">
          <a:blip r:embed="rId2">
            <a:alphaModFix/>
          </a:blip>
          <a:srcRect b="97900"/>
          <a:stretch/>
        </p:blipFill>
        <p:spPr>
          <a:xfrm>
            <a:off x="2" y="-19341"/>
            <a:ext cx="12191999" cy="144015"/>
          </a:xfrm>
          <a:prstGeom prst="rect">
            <a:avLst/>
          </a:prstGeom>
          <a:noFill/>
          <a:ln>
            <a:noFill/>
          </a:ln>
        </p:spPr>
      </p:pic>
    </p:spTree>
    <p:extLst>
      <p:ext uri="{BB962C8B-B14F-4D97-AF65-F5344CB8AC3E}">
        <p14:creationId xmlns:p14="http://schemas.microsoft.com/office/powerpoint/2010/main" val="1225803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1D7C0C-9BA2-DCB3-9469-4AF45A12494C}"/>
              </a:ext>
            </a:extLst>
          </p:cNvPr>
          <p:cNvSpPr>
            <a:spLocks noGrp="1"/>
          </p:cNvSpPr>
          <p:nvPr>
            <p:ph idx="1"/>
          </p:nvPr>
        </p:nvSpPr>
        <p:spPr>
          <a:xfrm>
            <a:off x="415596" y="1246598"/>
            <a:ext cx="11360808" cy="4973228"/>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p>
            <a:fld id="{71676EBD-8486-AA4B-82C3-0598DF1E43FA}" type="slidenum">
              <a:rPr lang="en-US" smtClean="0"/>
              <a:pPr/>
              <a:t>‹Nr.›</a:t>
            </a:fld>
            <a:endParaRPr lang="en-US"/>
          </a:p>
        </p:txBody>
      </p:sp>
      <p:sp>
        <p:nvSpPr>
          <p:cNvPr id="6" name="Title 11">
            <a:extLst>
              <a:ext uri="{FF2B5EF4-FFF2-40B4-BE49-F238E27FC236}">
                <a16:creationId xmlns:a16="http://schemas.microsoft.com/office/drawing/2014/main" id="{A22B6922-6B41-44A2-35D7-CB88D0503A0C}"/>
              </a:ext>
            </a:extLst>
          </p:cNvPr>
          <p:cNvSpPr>
            <a:spLocks noGrp="1"/>
          </p:cNvSpPr>
          <p:nvPr>
            <p:ph type="title" hasCustomPrompt="1"/>
          </p:nvPr>
        </p:nvSpPr>
        <p:spPr>
          <a:xfrm>
            <a:off x="415596" y="462506"/>
            <a:ext cx="11360808" cy="553997"/>
          </a:xfrm>
        </p:spPr>
        <p:txBody>
          <a:bodyPr anchor="t" anchorCtr="0">
            <a:spAutoFit/>
          </a:bodyPr>
          <a:lstStyle>
            <a:lvl1pPr>
              <a:defRPr>
                <a:solidFill>
                  <a:schemeClr val="tx1"/>
                </a:solidFill>
              </a:defRPr>
            </a:lvl1pPr>
          </a:lstStyle>
          <a:p>
            <a:r>
              <a:rPr lang="en-US"/>
              <a:t>Click to Insert Headline</a:t>
            </a:r>
          </a:p>
        </p:txBody>
      </p:sp>
      <p:sp>
        <p:nvSpPr>
          <p:cNvPr id="9" name="Text Placeholder 44">
            <a:extLst>
              <a:ext uri="{FF2B5EF4-FFF2-40B4-BE49-F238E27FC236}">
                <a16:creationId xmlns:a16="http://schemas.microsoft.com/office/drawing/2014/main" id="{58058CD2-07E4-0FEA-D169-014E823558F7}"/>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rgbClr val="3D3F48"/>
                </a:solidFill>
              </a:defRPr>
            </a:lvl1pPr>
            <a:lvl2pPr marL="0" indent="0">
              <a:buNone/>
              <a:defRPr/>
            </a:lvl2pPr>
          </a:lstStyle>
          <a:p>
            <a:pPr lvl="0"/>
            <a:r>
              <a:rPr lang="en-US"/>
              <a:t>Add footnotes here if needed</a:t>
            </a:r>
          </a:p>
        </p:txBody>
      </p:sp>
      <p:pic>
        <p:nvPicPr>
          <p:cNvPr id="4" name="Google Shape;959;g28b48f0dcfc_0_664" descr="A blurry image of a colorful background&#10;&#10;Description automatically generated">
            <a:extLst>
              <a:ext uri="{FF2B5EF4-FFF2-40B4-BE49-F238E27FC236}">
                <a16:creationId xmlns:a16="http://schemas.microsoft.com/office/drawing/2014/main" id="{8C68CBC6-5875-61D8-D010-FC9A5B34711D}"/>
              </a:ext>
            </a:extLst>
          </p:cNvPr>
          <p:cNvPicPr preferRelativeResize="0"/>
          <p:nvPr userDrawn="1"/>
        </p:nvPicPr>
        <p:blipFill rotWithShape="1">
          <a:blip r:embed="rId2">
            <a:alphaModFix/>
          </a:blip>
          <a:srcRect b="97900"/>
          <a:stretch/>
        </p:blipFill>
        <p:spPr>
          <a:xfrm>
            <a:off x="2" y="-19341"/>
            <a:ext cx="12191999" cy="144015"/>
          </a:xfrm>
          <a:prstGeom prst="rect">
            <a:avLst/>
          </a:prstGeom>
          <a:noFill/>
          <a:ln>
            <a:noFill/>
          </a:ln>
        </p:spPr>
      </p:pic>
    </p:spTree>
    <p:extLst>
      <p:ext uri="{BB962C8B-B14F-4D97-AF65-F5344CB8AC3E}">
        <p14:creationId xmlns:p14="http://schemas.microsoft.com/office/powerpoint/2010/main" val="16930899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line 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1D7C0C-9BA2-DCB3-9469-4AF45A12494C}"/>
              </a:ext>
            </a:extLst>
          </p:cNvPr>
          <p:cNvSpPr>
            <a:spLocks noGrp="1"/>
          </p:cNvSpPr>
          <p:nvPr>
            <p:ph idx="1"/>
          </p:nvPr>
        </p:nvSpPr>
        <p:spPr>
          <a:xfrm>
            <a:off x="415596" y="1725498"/>
            <a:ext cx="11360808" cy="4494327"/>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p>
            <a:fld id="{71676EBD-8486-AA4B-82C3-0598DF1E43FA}" type="slidenum">
              <a:rPr lang="en-US" smtClean="0"/>
              <a:pPr/>
              <a:t>‹Nr.›</a:t>
            </a:fld>
            <a:endParaRPr lang="en-US"/>
          </a:p>
        </p:txBody>
      </p:sp>
      <p:sp>
        <p:nvSpPr>
          <p:cNvPr id="4" name="Title 11">
            <a:extLst>
              <a:ext uri="{FF2B5EF4-FFF2-40B4-BE49-F238E27FC236}">
                <a16:creationId xmlns:a16="http://schemas.microsoft.com/office/drawing/2014/main" id="{FA2218AA-4C95-721D-023C-EB98CF9927CB}"/>
              </a:ext>
            </a:extLst>
          </p:cNvPr>
          <p:cNvSpPr>
            <a:spLocks noGrp="1"/>
          </p:cNvSpPr>
          <p:nvPr>
            <p:ph type="title" hasCustomPrompt="1"/>
          </p:nvPr>
        </p:nvSpPr>
        <p:spPr>
          <a:xfrm>
            <a:off x="415596" y="462506"/>
            <a:ext cx="11360808" cy="1107996"/>
          </a:xfrm>
        </p:spPr>
        <p:txBody>
          <a:bodyPr anchor="t" anchorCtr="0">
            <a:spAutoFit/>
          </a:bodyPr>
          <a:lstStyle/>
          <a:p>
            <a:r>
              <a:rPr lang="en-US"/>
              <a:t>Click to Insert 2 Line</a:t>
            </a:r>
            <a:br>
              <a:rPr lang="en-US"/>
            </a:br>
            <a:r>
              <a:rPr lang="en-US"/>
              <a:t>Headlines</a:t>
            </a:r>
          </a:p>
        </p:txBody>
      </p:sp>
      <p:sp>
        <p:nvSpPr>
          <p:cNvPr id="7" name="Text Placeholder 44">
            <a:extLst>
              <a:ext uri="{FF2B5EF4-FFF2-40B4-BE49-F238E27FC236}">
                <a16:creationId xmlns:a16="http://schemas.microsoft.com/office/drawing/2014/main" id="{9DF404AA-50B2-2A29-1DCD-3FA83C31ED60}"/>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rgbClr val="3D3F48"/>
                </a:solidFill>
              </a:defRPr>
            </a:lvl1pPr>
            <a:lvl2pPr marL="0" indent="0">
              <a:buNone/>
              <a:defRPr/>
            </a:lvl2pPr>
          </a:lstStyle>
          <a:p>
            <a:pPr lvl="0"/>
            <a:r>
              <a:rPr lang="en-US"/>
              <a:t>Add footnotes here if needed</a:t>
            </a:r>
          </a:p>
        </p:txBody>
      </p:sp>
      <p:pic>
        <p:nvPicPr>
          <p:cNvPr id="5" name="Google Shape;959;g28b48f0dcfc_0_664" descr="A blurry image of a colorful background&#10;&#10;Description automatically generated">
            <a:extLst>
              <a:ext uri="{FF2B5EF4-FFF2-40B4-BE49-F238E27FC236}">
                <a16:creationId xmlns:a16="http://schemas.microsoft.com/office/drawing/2014/main" id="{97C8FA49-0609-1B49-1777-CAF7D27F204B}"/>
              </a:ext>
            </a:extLst>
          </p:cNvPr>
          <p:cNvPicPr preferRelativeResize="0"/>
          <p:nvPr userDrawn="1"/>
        </p:nvPicPr>
        <p:blipFill rotWithShape="1">
          <a:blip r:embed="rId2">
            <a:alphaModFix/>
          </a:blip>
          <a:srcRect b="97900"/>
          <a:stretch/>
        </p:blipFill>
        <p:spPr>
          <a:xfrm>
            <a:off x="2" y="-19341"/>
            <a:ext cx="12191999" cy="144015"/>
          </a:xfrm>
          <a:prstGeom prst="rect">
            <a:avLst/>
          </a:prstGeom>
          <a:noFill/>
          <a:ln>
            <a:noFill/>
          </a:ln>
        </p:spPr>
      </p:pic>
    </p:spTree>
    <p:extLst>
      <p:ext uri="{BB962C8B-B14F-4D97-AF65-F5344CB8AC3E}">
        <p14:creationId xmlns:p14="http://schemas.microsoft.com/office/powerpoint/2010/main" val="35008011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nd Content No Top Bar">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1D7C0C-9BA2-DCB3-9469-4AF45A12494C}"/>
              </a:ext>
            </a:extLst>
          </p:cNvPr>
          <p:cNvSpPr>
            <a:spLocks noGrp="1"/>
          </p:cNvSpPr>
          <p:nvPr>
            <p:ph idx="1"/>
          </p:nvPr>
        </p:nvSpPr>
        <p:spPr>
          <a:xfrm>
            <a:off x="415596" y="1725497"/>
            <a:ext cx="11360808" cy="449432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17C63088-FDF0-049A-9B74-7E475F288EAF}"/>
              </a:ext>
            </a:extLst>
          </p:cNvPr>
          <p:cNvSpPr>
            <a:spLocks noGrp="1"/>
          </p:cNvSpPr>
          <p:nvPr>
            <p:ph type="body" sz="quarter" idx="13" hasCustomPrompt="1"/>
          </p:nvPr>
        </p:nvSpPr>
        <p:spPr>
          <a:xfrm>
            <a:off x="415926" y="1246597"/>
            <a:ext cx="11360479" cy="193899"/>
          </a:xfrm>
        </p:spPr>
        <p:txBody>
          <a:bodyPr anchor="t" anchorCtr="0">
            <a:noAutofit/>
          </a:bodyPr>
          <a:lstStyle>
            <a:lvl1pPr marL="0" indent="0">
              <a:buNone/>
              <a:defRPr sz="1400" b="1" cap="all" baseline="0">
                <a:solidFill>
                  <a:schemeClr val="tx1"/>
                </a:solidFill>
              </a:defRPr>
            </a:lvl1pPr>
            <a:lvl4pPr marL="1371566" indent="0">
              <a:buNone/>
              <a:defRPr/>
            </a:lvl4pPr>
          </a:lstStyle>
          <a:p>
            <a:pPr lvl="0"/>
            <a:r>
              <a:rPr lang="en-US"/>
              <a:t>CLICK TO INSERT SUB HEADLINE</a:t>
            </a:r>
          </a:p>
        </p:txBody>
      </p:sp>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p>
            <a:fld id="{71676EBD-8486-AA4B-82C3-0598DF1E43FA}" type="slidenum">
              <a:rPr lang="en-US" smtClean="0"/>
              <a:pPr/>
              <a:t>‹Nr.›</a:t>
            </a:fld>
            <a:endParaRPr lang="en-US"/>
          </a:p>
        </p:txBody>
      </p:sp>
      <p:sp>
        <p:nvSpPr>
          <p:cNvPr id="12" name="Title 11">
            <a:extLst>
              <a:ext uri="{FF2B5EF4-FFF2-40B4-BE49-F238E27FC236}">
                <a16:creationId xmlns:a16="http://schemas.microsoft.com/office/drawing/2014/main" id="{7EE9BBB3-9AF9-06F0-77C0-1C60B3151995}"/>
              </a:ext>
            </a:extLst>
          </p:cNvPr>
          <p:cNvSpPr>
            <a:spLocks noGrp="1"/>
          </p:cNvSpPr>
          <p:nvPr>
            <p:ph type="title" hasCustomPrompt="1"/>
          </p:nvPr>
        </p:nvSpPr>
        <p:spPr>
          <a:xfrm>
            <a:off x="415596" y="462506"/>
            <a:ext cx="11360808" cy="553997"/>
          </a:xfrm>
        </p:spPr>
        <p:txBody>
          <a:bodyPr anchor="t" anchorCtr="0">
            <a:spAutoFit/>
          </a:bodyPr>
          <a:lstStyle/>
          <a:p>
            <a:r>
              <a:rPr lang="en-US"/>
              <a:t>Click to Insert Headline</a:t>
            </a:r>
          </a:p>
        </p:txBody>
      </p:sp>
      <p:sp>
        <p:nvSpPr>
          <p:cNvPr id="2" name="Text Placeholder 44">
            <a:extLst>
              <a:ext uri="{FF2B5EF4-FFF2-40B4-BE49-F238E27FC236}">
                <a16:creationId xmlns:a16="http://schemas.microsoft.com/office/drawing/2014/main" id="{51C34473-A5AF-F29D-8848-1D77C374CE45}"/>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rgbClr val="3D3F48"/>
                </a:solidFill>
              </a:defRPr>
            </a:lvl1pPr>
            <a:lvl2pPr marL="0" indent="0">
              <a:buNone/>
              <a:defRPr/>
            </a:lvl2pPr>
          </a:lstStyle>
          <a:p>
            <a:pPr lvl="0"/>
            <a:r>
              <a:rPr lang="en-US"/>
              <a:t>Add footnotes here if needed</a:t>
            </a:r>
          </a:p>
        </p:txBody>
      </p:sp>
    </p:spTree>
    <p:extLst>
      <p:ext uri="{BB962C8B-B14F-4D97-AF65-F5344CB8AC3E}">
        <p14:creationId xmlns:p14="http://schemas.microsoft.com/office/powerpoint/2010/main" val="17534028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p>
            <a:fld id="{71676EBD-8486-AA4B-82C3-0598DF1E43FA}" type="slidenum">
              <a:rPr lang="en-US" smtClean="0"/>
              <a:pPr/>
              <a:t>‹Nr.›</a:t>
            </a:fld>
            <a:endParaRPr lang="en-US"/>
          </a:p>
        </p:txBody>
      </p:sp>
      <p:sp>
        <p:nvSpPr>
          <p:cNvPr id="12" name="Title 11">
            <a:extLst>
              <a:ext uri="{FF2B5EF4-FFF2-40B4-BE49-F238E27FC236}">
                <a16:creationId xmlns:a16="http://schemas.microsoft.com/office/drawing/2014/main" id="{7EE9BBB3-9AF9-06F0-77C0-1C60B3151995}"/>
              </a:ext>
            </a:extLst>
          </p:cNvPr>
          <p:cNvSpPr>
            <a:spLocks noGrp="1"/>
          </p:cNvSpPr>
          <p:nvPr>
            <p:ph type="title" hasCustomPrompt="1"/>
          </p:nvPr>
        </p:nvSpPr>
        <p:spPr>
          <a:xfrm>
            <a:off x="415596" y="462506"/>
            <a:ext cx="11360808" cy="553997"/>
          </a:xfrm>
        </p:spPr>
        <p:txBody>
          <a:bodyPr anchor="t" anchorCtr="0">
            <a:spAutoFit/>
          </a:bodyPr>
          <a:lstStyle/>
          <a:p>
            <a:r>
              <a:rPr lang="en-US"/>
              <a:t>Click to Insert Headline</a:t>
            </a:r>
          </a:p>
        </p:txBody>
      </p:sp>
      <p:sp>
        <p:nvSpPr>
          <p:cNvPr id="2" name="Text Placeholder 44">
            <a:extLst>
              <a:ext uri="{FF2B5EF4-FFF2-40B4-BE49-F238E27FC236}">
                <a16:creationId xmlns:a16="http://schemas.microsoft.com/office/drawing/2014/main" id="{51C34473-A5AF-F29D-8848-1D77C374CE45}"/>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rgbClr val="3D3F48"/>
                </a:solidFill>
              </a:defRPr>
            </a:lvl1pPr>
            <a:lvl2pPr marL="0" indent="0">
              <a:buNone/>
              <a:defRPr/>
            </a:lvl2pPr>
          </a:lstStyle>
          <a:p>
            <a:pPr lvl="0"/>
            <a:r>
              <a:rPr lang="en-US"/>
              <a:t>Add footnotes here if needed</a:t>
            </a:r>
          </a:p>
        </p:txBody>
      </p:sp>
    </p:spTree>
    <p:extLst>
      <p:ext uri="{BB962C8B-B14F-4D97-AF65-F5344CB8AC3E}">
        <p14:creationId xmlns:p14="http://schemas.microsoft.com/office/powerpoint/2010/main" val="22504020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p>
            <a:fld id="{71676EBD-8486-AA4B-82C3-0598DF1E43FA}" type="slidenum">
              <a:rPr lang="en-US" smtClean="0"/>
              <a:pPr/>
              <a:t>‹Nr.›</a:t>
            </a:fld>
            <a:endParaRPr lang="en-US"/>
          </a:p>
        </p:txBody>
      </p:sp>
      <p:sp>
        <p:nvSpPr>
          <p:cNvPr id="2" name="Text Placeholder 44">
            <a:extLst>
              <a:ext uri="{FF2B5EF4-FFF2-40B4-BE49-F238E27FC236}">
                <a16:creationId xmlns:a16="http://schemas.microsoft.com/office/drawing/2014/main" id="{51C34473-A5AF-F29D-8848-1D77C374CE45}"/>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rgbClr val="3D3F48"/>
                </a:solidFill>
              </a:defRPr>
            </a:lvl1pPr>
            <a:lvl2pPr marL="0" indent="0">
              <a:buNone/>
              <a:defRPr/>
            </a:lvl2pPr>
          </a:lstStyle>
          <a:p>
            <a:pPr lvl="0"/>
            <a:r>
              <a:rPr lang="en-US"/>
              <a:t>Add footnotes here if needed</a:t>
            </a:r>
          </a:p>
        </p:txBody>
      </p:sp>
    </p:spTree>
    <p:extLst>
      <p:ext uri="{BB962C8B-B14F-4D97-AF65-F5344CB8AC3E}">
        <p14:creationId xmlns:p14="http://schemas.microsoft.com/office/powerpoint/2010/main" val="8889998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Dark Midnight">
    <p:bg>
      <p:bgPr>
        <a:solidFill>
          <a:srgbClr val="000218"/>
        </a:solidFill>
        <a:effectLst/>
      </p:bgPr>
    </p:bg>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lvl1pPr>
              <a:defRPr>
                <a:solidFill>
                  <a:schemeClr val="bg1"/>
                </a:solidFill>
              </a:defRPr>
            </a:lvl1p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lvl1pPr>
              <a:defRPr>
                <a:solidFill>
                  <a:schemeClr val="bg1"/>
                </a:solidFill>
              </a:defRPr>
            </a:lvl1pPr>
          </a:lstStyle>
          <a:p>
            <a:fld id="{71676EBD-8486-AA4B-82C3-0598DF1E43FA}" type="slidenum">
              <a:rPr lang="en-US" smtClean="0"/>
              <a:pPr/>
              <a:t>‹Nr.›</a:t>
            </a:fld>
            <a:endParaRPr lang="en-US"/>
          </a:p>
        </p:txBody>
      </p:sp>
    </p:spTree>
    <p:extLst>
      <p:ext uri="{BB962C8B-B14F-4D97-AF65-F5344CB8AC3E}">
        <p14:creationId xmlns:p14="http://schemas.microsoft.com/office/powerpoint/2010/main" val="37155521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Fog">
    <p:bg>
      <p:bgPr>
        <a:solidFill>
          <a:srgbClr val="EAEAEA"/>
        </a:solidFill>
        <a:effectLst/>
      </p:bgPr>
    </p:bg>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lvl1pPr>
              <a:defRPr>
                <a:solidFill>
                  <a:schemeClr val="bg1"/>
                </a:solidFill>
              </a:defRPr>
            </a:lvl1p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lvl1pPr>
              <a:defRPr>
                <a:solidFill>
                  <a:schemeClr val="bg1"/>
                </a:solidFill>
              </a:defRPr>
            </a:lvl1pPr>
          </a:lstStyle>
          <a:p>
            <a:fld id="{71676EBD-8486-AA4B-82C3-0598DF1E43FA}" type="slidenum">
              <a:rPr lang="en-US" smtClean="0"/>
              <a:pPr/>
              <a:t>‹Nr.›</a:t>
            </a:fld>
            <a:endParaRPr lang="en-US"/>
          </a:p>
        </p:txBody>
      </p:sp>
      <p:pic>
        <p:nvPicPr>
          <p:cNvPr id="2" name="Graphic 1">
            <a:extLst>
              <a:ext uri="{FF2B5EF4-FFF2-40B4-BE49-F238E27FC236}">
                <a16:creationId xmlns:a16="http://schemas.microsoft.com/office/drawing/2014/main" id="{02EFC05A-872C-223B-CAC1-E157181CB91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15598" y="6364123"/>
            <a:ext cx="1484309" cy="283368"/>
          </a:xfrm>
          <a:prstGeom prst="rect">
            <a:avLst/>
          </a:prstGeom>
        </p:spPr>
      </p:pic>
    </p:spTree>
    <p:extLst>
      <p:ext uri="{BB962C8B-B14F-4D97-AF65-F5344CB8AC3E}">
        <p14:creationId xmlns:p14="http://schemas.microsoft.com/office/powerpoint/2010/main" val="35998143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1B9A9F5-B2A1-6673-0430-623BFF3610B1}"/>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p>
        </p:txBody>
      </p:sp>
      <p:sp>
        <p:nvSpPr>
          <p:cNvPr id="3" name="Marcador de texto 2">
            <a:extLst>
              <a:ext uri="{FF2B5EF4-FFF2-40B4-BE49-F238E27FC236}">
                <a16:creationId xmlns:a16="http://schemas.microsoft.com/office/drawing/2014/main" id="{19C8D66F-E591-0AF8-EFE3-58A88C66681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B57F68D4-8CDB-4333-9AF0-676E5EE37538}"/>
              </a:ext>
            </a:extLst>
          </p:cNvPr>
          <p:cNvSpPr>
            <a:spLocks noGrp="1"/>
          </p:cNvSpPr>
          <p:nvPr>
            <p:ph type="dt" sz="half" idx="10"/>
          </p:nvPr>
        </p:nvSpPr>
        <p:spPr/>
        <p:txBody>
          <a:bodyPr/>
          <a:lstStyle/>
          <a:p>
            <a:fld id="{D0A8EAAB-0451-F345-AAE8-903E658FFCB4}" type="datetimeFigureOut">
              <a:rPr lang="es-ES" smtClean="0"/>
              <a:t>26/04/2026</a:t>
            </a:fld>
            <a:endParaRPr lang="es-ES"/>
          </a:p>
        </p:txBody>
      </p:sp>
      <p:sp>
        <p:nvSpPr>
          <p:cNvPr id="5" name="Marcador de pie de página 4">
            <a:extLst>
              <a:ext uri="{FF2B5EF4-FFF2-40B4-BE49-F238E27FC236}">
                <a16:creationId xmlns:a16="http://schemas.microsoft.com/office/drawing/2014/main" id="{EDFB9A89-62BA-7D17-9C09-F7CB42AB15F2}"/>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7E8A8BA4-347D-E5C9-0AB1-4E5FD2A5EAB8}"/>
              </a:ext>
            </a:extLst>
          </p:cNvPr>
          <p:cNvSpPr>
            <a:spLocks noGrp="1"/>
          </p:cNvSpPr>
          <p:nvPr>
            <p:ph type="sldNum" sz="quarter" idx="12"/>
          </p:nvPr>
        </p:nvSpPr>
        <p:spPr/>
        <p:txBody>
          <a:bodyPr/>
          <a:lstStyle/>
          <a:p>
            <a:fld id="{C5C9C0E2-798D-424A-9802-04B7FA7A38FE}" type="slidenum">
              <a:rPr lang="es-ES" smtClean="0"/>
              <a:t>‹Nr.›</a:t>
            </a:fld>
            <a:endParaRPr lang="es-ES"/>
          </a:p>
        </p:txBody>
      </p:sp>
    </p:spTree>
    <p:extLst>
      <p:ext uri="{BB962C8B-B14F-4D97-AF65-F5344CB8AC3E}">
        <p14:creationId xmlns:p14="http://schemas.microsoft.com/office/powerpoint/2010/main" val="7382519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1D7C0C-9BA2-DCB3-9469-4AF45A12494C}"/>
              </a:ext>
            </a:extLst>
          </p:cNvPr>
          <p:cNvSpPr>
            <a:spLocks noGrp="1"/>
          </p:cNvSpPr>
          <p:nvPr>
            <p:ph idx="1"/>
          </p:nvPr>
        </p:nvSpPr>
        <p:spPr>
          <a:xfrm>
            <a:off x="415597" y="1246598"/>
            <a:ext cx="5566105" cy="497322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p>
            <a:fld id="{71676EBD-8486-AA4B-82C3-0598DF1E43FA}" type="slidenum">
              <a:rPr lang="en-US" smtClean="0"/>
              <a:pPr/>
              <a:t>‹Nr.›</a:t>
            </a:fld>
            <a:endParaRPr lang="en-US"/>
          </a:p>
        </p:txBody>
      </p:sp>
      <p:sp>
        <p:nvSpPr>
          <p:cNvPr id="2" name="Content Placeholder 2">
            <a:extLst>
              <a:ext uri="{FF2B5EF4-FFF2-40B4-BE49-F238E27FC236}">
                <a16:creationId xmlns:a16="http://schemas.microsoft.com/office/drawing/2014/main" id="{B96D45F3-3495-70E2-C6C2-3CEA48C57019}"/>
              </a:ext>
            </a:extLst>
          </p:cNvPr>
          <p:cNvSpPr>
            <a:spLocks noGrp="1"/>
          </p:cNvSpPr>
          <p:nvPr>
            <p:ph idx="16"/>
          </p:nvPr>
        </p:nvSpPr>
        <p:spPr>
          <a:xfrm>
            <a:off x="6210302" y="1260639"/>
            <a:ext cx="5566105" cy="497322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1">
            <a:extLst>
              <a:ext uri="{FF2B5EF4-FFF2-40B4-BE49-F238E27FC236}">
                <a16:creationId xmlns:a16="http://schemas.microsoft.com/office/drawing/2014/main" id="{E546389F-2B14-82F6-DA6A-5C1047705085}"/>
              </a:ext>
            </a:extLst>
          </p:cNvPr>
          <p:cNvSpPr>
            <a:spLocks noGrp="1"/>
          </p:cNvSpPr>
          <p:nvPr>
            <p:ph type="title" hasCustomPrompt="1"/>
          </p:nvPr>
        </p:nvSpPr>
        <p:spPr>
          <a:xfrm>
            <a:off x="415596" y="462506"/>
            <a:ext cx="11360808" cy="553997"/>
          </a:xfrm>
        </p:spPr>
        <p:txBody>
          <a:bodyPr anchor="t" anchorCtr="0">
            <a:spAutoFit/>
          </a:bodyPr>
          <a:lstStyle/>
          <a:p>
            <a:r>
              <a:rPr lang="en-US"/>
              <a:t>Click to Insert Headline</a:t>
            </a:r>
          </a:p>
        </p:txBody>
      </p:sp>
      <p:sp>
        <p:nvSpPr>
          <p:cNvPr id="8" name="Text Placeholder 44">
            <a:extLst>
              <a:ext uri="{FF2B5EF4-FFF2-40B4-BE49-F238E27FC236}">
                <a16:creationId xmlns:a16="http://schemas.microsoft.com/office/drawing/2014/main" id="{906A0B44-F6A2-5F15-8684-02262E808AE9}"/>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rgbClr val="3D3F48"/>
                </a:solidFill>
              </a:defRPr>
            </a:lvl1pPr>
            <a:lvl2pPr marL="0" indent="0">
              <a:buNone/>
              <a:defRPr/>
            </a:lvl2pPr>
          </a:lstStyle>
          <a:p>
            <a:pPr lvl="0"/>
            <a:r>
              <a:rPr lang="en-US"/>
              <a:t>Add footnotes here if needed</a:t>
            </a:r>
          </a:p>
        </p:txBody>
      </p:sp>
      <p:pic>
        <p:nvPicPr>
          <p:cNvPr id="5" name="Google Shape;959;g28b48f0dcfc_0_664" descr="A blurry image of a colorful background&#10;&#10;Description automatically generated">
            <a:extLst>
              <a:ext uri="{FF2B5EF4-FFF2-40B4-BE49-F238E27FC236}">
                <a16:creationId xmlns:a16="http://schemas.microsoft.com/office/drawing/2014/main" id="{0822524B-B846-A980-5D2A-50223F73BEAF}"/>
              </a:ext>
            </a:extLst>
          </p:cNvPr>
          <p:cNvPicPr preferRelativeResize="0"/>
          <p:nvPr userDrawn="1"/>
        </p:nvPicPr>
        <p:blipFill rotWithShape="1">
          <a:blip r:embed="rId2">
            <a:alphaModFix/>
          </a:blip>
          <a:srcRect b="97900"/>
          <a:stretch/>
        </p:blipFill>
        <p:spPr>
          <a:xfrm>
            <a:off x="2" y="-19341"/>
            <a:ext cx="12191999" cy="144015"/>
          </a:xfrm>
          <a:prstGeom prst="rect">
            <a:avLst/>
          </a:prstGeom>
          <a:noFill/>
          <a:ln>
            <a:noFill/>
          </a:ln>
        </p:spPr>
      </p:pic>
    </p:spTree>
    <p:extLst>
      <p:ext uri="{BB962C8B-B14F-4D97-AF65-F5344CB8AC3E}">
        <p14:creationId xmlns:p14="http://schemas.microsoft.com/office/powerpoint/2010/main" val="12849291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B Comparis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1D7C0C-9BA2-DCB3-9469-4AF45A12494C}"/>
              </a:ext>
            </a:extLst>
          </p:cNvPr>
          <p:cNvSpPr>
            <a:spLocks noGrp="1"/>
          </p:cNvSpPr>
          <p:nvPr>
            <p:ph idx="1"/>
          </p:nvPr>
        </p:nvSpPr>
        <p:spPr>
          <a:xfrm>
            <a:off x="415597" y="1725497"/>
            <a:ext cx="5566105" cy="449432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p>
            <a:fld id="{71676EBD-8486-AA4B-82C3-0598DF1E43FA}" type="slidenum">
              <a:rPr lang="en-US" smtClean="0"/>
              <a:pPr/>
              <a:t>‹Nr.›</a:t>
            </a:fld>
            <a:endParaRPr lang="en-US"/>
          </a:p>
        </p:txBody>
      </p:sp>
      <p:sp>
        <p:nvSpPr>
          <p:cNvPr id="2" name="Content Placeholder 2">
            <a:extLst>
              <a:ext uri="{FF2B5EF4-FFF2-40B4-BE49-F238E27FC236}">
                <a16:creationId xmlns:a16="http://schemas.microsoft.com/office/drawing/2014/main" id="{B96D45F3-3495-70E2-C6C2-3CEA48C57019}"/>
              </a:ext>
            </a:extLst>
          </p:cNvPr>
          <p:cNvSpPr>
            <a:spLocks noGrp="1"/>
          </p:cNvSpPr>
          <p:nvPr>
            <p:ph idx="16"/>
          </p:nvPr>
        </p:nvSpPr>
        <p:spPr>
          <a:xfrm>
            <a:off x="6210302" y="1739539"/>
            <a:ext cx="5566105" cy="449432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a:extLst>
              <a:ext uri="{FF2B5EF4-FFF2-40B4-BE49-F238E27FC236}">
                <a16:creationId xmlns:a16="http://schemas.microsoft.com/office/drawing/2014/main" id="{EBEBCADF-B626-5D49-8579-B4746DFE3135}"/>
              </a:ext>
            </a:extLst>
          </p:cNvPr>
          <p:cNvSpPr>
            <a:spLocks noGrp="1"/>
          </p:cNvSpPr>
          <p:nvPr>
            <p:ph type="body" sz="quarter" idx="13" hasCustomPrompt="1"/>
          </p:nvPr>
        </p:nvSpPr>
        <p:spPr>
          <a:xfrm>
            <a:off x="415925" y="1246597"/>
            <a:ext cx="5565776" cy="193899"/>
          </a:xfrm>
        </p:spPr>
        <p:txBody>
          <a:bodyPr anchor="t" anchorCtr="0">
            <a:noAutofit/>
          </a:bodyPr>
          <a:lstStyle>
            <a:lvl1pPr marL="0" indent="0">
              <a:buNone/>
              <a:defRPr sz="1400" b="1" cap="all" baseline="0">
                <a:solidFill>
                  <a:schemeClr val="tx1"/>
                </a:solidFill>
              </a:defRPr>
            </a:lvl1pPr>
            <a:lvl4pPr marL="1371566" indent="0">
              <a:buNone/>
              <a:defRPr/>
            </a:lvl4pPr>
          </a:lstStyle>
          <a:p>
            <a:pPr lvl="0"/>
            <a:r>
              <a:rPr lang="en-US"/>
              <a:t>Click to insert sub headline</a:t>
            </a:r>
          </a:p>
        </p:txBody>
      </p:sp>
      <p:sp>
        <p:nvSpPr>
          <p:cNvPr id="6" name="Title 11">
            <a:extLst>
              <a:ext uri="{FF2B5EF4-FFF2-40B4-BE49-F238E27FC236}">
                <a16:creationId xmlns:a16="http://schemas.microsoft.com/office/drawing/2014/main" id="{E546389F-2B14-82F6-DA6A-5C1047705085}"/>
              </a:ext>
            </a:extLst>
          </p:cNvPr>
          <p:cNvSpPr>
            <a:spLocks noGrp="1"/>
          </p:cNvSpPr>
          <p:nvPr>
            <p:ph type="title" hasCustomPrompt="1"/>
          </p:nvPr>
        </p:nvSpPr>
        <p:spPr>
          <a:xfrm>
            <a:off x="415596" y="462506"/>
            <a:ext cx="11360808" cy="553997"/>
          </a:xfrm>
        </p:spPr>
        <p:txBody>
          <a:bodyPr anchor="t" anchorCtr="0">
            <a:spAutoFit/>
          </a:bodyPr>
          <a:lstStyle/>
          <a:p>
            <a:r>
              <a:rPr lang="en-US"/>
              <a:t>Click to Insert Headline</a:t>
            </a:r>
          </a:p>
        </p:txBody>
      </p:sp>
      <p:sp>
        <p:nvSpPr>
          <p:cNvPr id="4" name="Text Placeholder 6">
            <a:extLst>
              <a:ext uri="{FF2B5EF4-FFF2-40B4-BE49-F238E27FC236}">
                <a16:creationId xmlns:a16="http://schemas.microsoft.com/office/drawing/2014/main" id="{7FDAA86F-4F45-23F1-47B2-F687BBC7D29B}"/>
              </a:ext>
            </a:extLst>
          </p:cNvPr>
          <p:cNvSpPr>
            <a:spLocks noGrp="1"/>
          </p:cNvSpPr>
          <p:nvPr>
            <p:ph type="body" sz="quarter" idx="17" hasCustomPrompt="1"/>
          </p:nvPr>
        </p:nvSpPr>
        <p:spPr>
          <a:xfrm>
            <a:off x="6210465" y="1246597"/>
            <a:ext cx="5565776" cy="193899"/>
          </a:xfrm>
        </p:spPr>
        <p:txBody>
          <a:bodyPr anchor="t" anchorCtr="0">
            <a:noAutofit/>
          </a:bodyPr>
          <a:lstStyle>
            <a:lvl1pPr marL="0" indent="0">
              <a:buNone/>
              <a:defRPr sz="1400" b="1" cap="all" baseline="0">
                <a:solidFill>
                  <a:schemeClr val="tx1"/>
                </a:solidFill>
              </a:defRPr>
            </a:lvl1pPr>
            <a:lvl4pPr marL="1371566" indent="0">
              <a:buNone/>
              <a:defRPr/>
            </a:lvl4pPr>
          </a:lstStyle>
          <a:p>
            <a:pPr lvl="0"/>
            <a:r>
              <a:rPr lang="en-US"/>
              <a:t>Click to insert sub headline</a:t>
            </a:r>
          </a:p>
        </p:txBody>
      </p:sp>
      <p:sp>
        <p:nvSpPr>
          <p:cNvPr id="8" name="Text Placeholder 44">
            <a:extLst>
              <a:ext uri="{FF2B5EF4-FFF2-40B4-BE49-F238E27FC236}">
                <a16:creationId xmlns:a16="http://schemas.microsoft.com/office/drawing/2014/main" id="{CC2BD72D-BF6B-C1DF-4485-88B37120940A}"/>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rgbClr val="3D3F48"/>
                </a:solidFill>
              </a:defRPr>
            </a:lvl1pPr>
            <a:lvl2pPr marL="0" indent="0">
              <a:buNone/>
              <a:defRPr/>
            </a:lvl2pPr>
          </a:lstStyle>
          <a:p>
            <a:pPr lvl="0"/>
            <a:r>
              <a:rPr lang="en-US"/>
              <a:t>Add footnotes here if needed</a:t>
            </a:r>
          </a:p>
        </p:txBody>
      </p:sp>
      <p:pic>
        <p:nvPicPr>
          <p:cNvPr id="9" name="Google Shape;959;g28b48f0dcfc_0_664" descr="A blurry image of a colorful background&#10;&#10;Description automatically generated">
            <a:extLst>
              <a:ext uri="{FF2B5EF4-FFF2-40B4-BE49-F238E27FC236}">
                <a16:creationId xmlns:a16="http://schemas.microsoft.com/office/drawing/2014/main" id="{66AE972C-9C31-A45A-DE12-79D0C94DCDD4}"/>
              </a:ext>
            </a:extLst>
          </p:cNvPr>
          <p:cNvPicPr preferRelativeResize="0"/>
          <p:nvPr userDrawn="1"/>
        </p:nvPicPr>
        <p:blipFill rotWithShape="1">
          <a:blip r:embed="rId2">
            <a:alphaModFix/>
          </a:blip>
          <a:srcRect b="97900"/>
          <a:stretch/>
        </p:blipFill>
        <p:spPr>
          <a:xfrm>
            <a:off x="2" y="-19341"/>
            <a:ext cx="12191999" cy="144015"/>
          </a:xfrm>
          <a:prstGeom prst="rect">
            <a:avLst/>
          </a:prstGeom>
          <a:noFill/>
          <a:ln>
            <a:noFill/>
          </a:ln>
        </p:spPr>
      </p:pic>
    </p:spTree>
    <p:extLst>
      <p:ext uri="{BB962C8B-B14F-4D97-AF65-F5344CB8AC3E}">
        <p14:creationId xmlns:p14="http://schemas.microsoft.com/office/powerpoint/2010/main" val="17570031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B Comparison with Ico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1D7C0C-9BA2-DCB3-9469-4AF45A12494C}"/>
              </a:ext>
            </a:extLst>
          </p:cNvPr>
          <p:cNvSpPr>
            <a:spLocks noGrp="1"/>
          </p:cNvSpPr>
          <p:nvPr>
            <p:ph idx="1"/>
          </p:nvPr>
        </p:nvSpPr>
        <p:spPr>
          <a:xfrm>
            <a:off x="415597" y="2731906"/>
            <a:ext cx="5566105" cy="348792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p>
            <a:fld id="{71676EBD-8486-AA4B-82C3-0598DF1E43FA}" type="slidenum">
              <a:rPr lang="en-US" smtClean="0"/>
              <a:pPr/>
              <a:t>‹Nr.›</a:t>
            </a:fld>
            <a:endParaRPr lang="en-US"/>
          </a:p>
        </p:txBody>
      </p:sp>
      <p:sp>
        <p:nvSpPr>
          <p:cNvPr id="5" name="Text Placeholder 6">
            <a:extLst>
              <a:ext uri="{FF2B5EF4-FFF2-40B4-BE49-F238E27FC236}">
                <a16:creationId xmlns:a16="http://schemas.microsoft.com/office/drawing/2014/main" id="{EBEBCADF-B626-5D49-8579-B4746DFE3135}"/>
              </a:ext>
            </a:extLst>
          </p:cNvPr>
          <p:cNvSpPr>
            <a:spLocks noGrp="1"/>
          </p:cNvSpPr>
          <p:nvPr>
            <p:ph type="body" sz="quarter" idx="13" hasCustomPrompt="1"/>
          </p:nvPr>
        </p:nvSpPr>
        <p:spPr>
          <a:xfrm>
            <a:off x="415925" y="2238964"/>
            <a:ext cx="5565776" cy="193899"/>
          </a:xfrm>
        </p:spPr>
        <p:txBody>
          <a:bodyPr anchor="t" anchorCtr="0">
            <a:noAutofit/>
          </a:bodyPr>
          <a:lstStyle>
            <a:lvl1pPr marL="0" indent="0">
              <a:buNone/>
              <a:defRPr sz="1400" b="1" cap="all" baseline="0">
                <a:solidFill>
                  <a:schemeClr val="tx1"/>
                </a:solidFill>
              </a:defRPr>
            </a:lvl1pPr>
            <a:lvl4pPr marL="1371566" indent="0">
              <a:buNone/>
              <a:defRPr/>
            </a:lvl4pPr>
          </a:lstStyle>
          <a:p>
            <a:pPr lvl="0"/>
            <a:r>
              <a:rPr lang="en-US"/>
              <a:t>Click to insert sub headline</a:t>
            </a:r>
          </a:p>
        </p:txBody>
      </p:sp>
      <p:sp>
        <p:nvSpPr>
          <p:cNvPr id="6" name="Title 11">
            <a:extLst>
              <a:ext uri="{FF2B5EF4-FFF2-40B4-BE49-F238E27FC236}">
                <a16:creationId xmlns:a16="http://schemas.microsoft.com/office/drawing/2014/main" id="{E546389F-2B14-82F6-DA6A-5C1047705085}"/>
              </a:ext>
            </a:extLst>
          </p:cNvPr>
          <p:cNvSpPr>
            <a:spLocks noGrp="1"/>
          </p:cNvSpPr>
          <p:nvPr>
            <p:ph type="title" hasCustomPrompt="1"/>
          </p:nvPr>
        </p:nvSpPr>
        <p:spPr>
          <a:xfrm>
            <a:off x="415596" y="462506"/>
            <a:ext cx="11360808" cy="553997"/>
          </a:xfrm>
        </p:spPr>
        <p:txBody>
          <a:bodyPr anchor="t" anchorCtr="0">
            <a:spAutoFit/>
          </a:bodyPr>
          <a:lstStyle/>
          <a:p>
            <a:r>
              <a:rPr lang="en-US"/>
              <a:t>Click to Insert Headline</a:t>
            </a:r>
          </a:p>
        </p:txBody>
      </p:sp>
      <p:sp>
        <p:nvSpPr>
          <p:cNvPr id="9" name="Picture Placeholder 33">
            <a:extLst>
              <a:ext uri="{FF2B5EF4-FFF2-40B4-BE49-F238E27FC236}">
                <a16:creationId xmlns:a16="http://schemas.microsoft.com/office/drawing/2014/main" id="{17213EF2-6A1B-A746-AE9A-54E307FFE6F4}"/>
              </a:ext>
            </a:extLst>
          </p:cNvPr>
          <p:cNvSpPr>
            <a:spLocks noGrp="1"/>
          </p:cNvSpPr>
          <p:nvPr>
            <p:ph type="pic" sz="quarter" idx="21" hasCustomPrompt="1"/>
          </p:nvPr>
        </p:nvSpPr>
        <p:spPr>
          <a:xfrm>
            <a:off x="415596" y="1296135"/>
            <a:ext cx="755651" cy="720000"/>
          </a:xfrm>
        </p:spPr>
        <p:txBody>
          <a:bodyPr anchor="ctr">
            <a:noAutofit/>
          </a:bodyPr>
          <a:lstStyle>
            <a:lvl1pPr marL="0" indent="0" algn="ctr">
              <a:buNone/>
              <a:defRPr sz="1100">
                <a:solidFill>
                  <a:schemeClr val="bg2"/>
                </a:solidFill>
              </a:defRPr>
            </a:lvl1pPr>
          </a:lstStyle>
          <a:p>
            <a:r>
              <a:rPr lang="en-US"/>
              <a:t>Click to insert</a:t>
            </a:r>
            <a:br>
              <a:rPr lang="en-US"/>
            </a:br>
            <a:r>
              <a:rPr lang="en-US"/>
              <a:t>picture or icon</a:t>
            </a:r>
          </a:p>
        </p:txBody>
      </p:sp>
      <p:sp>
        <p:nvSpPr>
          <p:cNvPr id="17" name="Content Placeholder 2">
            <a:extLst>
              <a:ext uri="{FF2B5EF4-FFF2-40B4-BE49-F238E27FC236}">
                <a16:creationId xmlns:a16="http://schemas.microsoft.com/office/drawing/2014/main" id="{4A1504F4-984D-6D64-7805-6ED884B5145C}"/>
              </a:ext>
            </a:extLst>
          </p:cNvPr>
          <p:cNvSpPr>
            <a:spLocks noGrp="1"/>
          </p:cNvSpPr>
          <p:nvPr>
            <p:ph idx="22"/>
          </p:nvPr>
        </p:nvSpPr>
        <p:spPr>
          <a:xfrm>
            <a:off x="6210302" y="2731906"/>
            <a:ext cx="5566105" cy="348792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30FFF63E-FA89-DB7F-EA26-C80D126F8242}"/>
              </a:ext>
            </a:extLst>
          </p:cNvPr>
          <p:cNvSpPr>
            <a:spLocks noGrp="1"/>
          </p:cNvSpPr>
          <p:nvPr>
            <p:ph type="body" sz="quarter" idx="23" hasCustomPrompt="1"/>
          </p:nvPr>
        </p:nvSpPr>
        <p:spPr>
          <a:xfrm>
            <a:off x="6210629" y="2238963"/>
            <a:ext cx="5565776" cy="193899"/>
          </a:xfrm>
        </p:spPr>
        <p:txBody>
          <a:bodyPr anchor="t" anchorCtr="0">
            <a:noAutofit/>
          </a:bodyPr>
          <a:lstStyle>
            <a:lvl1pPr marL="0" indent="0">
              <a:buNone/>
              <a:defRPr sz="1400" b="1" cap="all" baseline="0">
                <a:solidFill>
                  <a:schemeClr val="tx1"/>
                </a:solidFill>
              </a:defRPr>
            </a:lvl1pPr>
            <a:lvl4pPr marL="1371566" indent="0">
              <a:buNone/>
              <a:defRPr/>
            </a:lvl4pPr>
          </a:lstStyle>
          <a:p>
            <a:pPr lvl="0"/>
            <a:r>
              <a:rPr lang="en-US"/>
              <a:t>Click to insert sub headline</a:t>
            </a:r>
          </a:p>
        </p:txBody>
      </p:sp>
      <p:sp>
        <p:nvSpPr>
          <p:cNvPr id="19" name="Picture Placeholder 33">
            <a:extLst>
              <a:ext uri="{FF2B5EF4-FFF2-40B4-BE49-F238E27FC236}">
                <a16:creationId xmlns:a16="http://schemas.microsoft.com/office/drawing/2014/main" id="{F1490744-10F3-833E-7EA0-86475F19E048}"/>
              </a:ext>
            </a:extLst>
          </p:cNvPr>
          <p:cNvSpPr>
            <a:spLocks noGrp="1"/>
          </p:cNvSpPr>
          <p:nvPr>
            <p:ph type="pic" sz="quarter" idx="24" hasCustomPrompt="1"/>
          </p:nvPr>
        </p:nvSpPr>
        <p:spPr>
          <a:xfrm>
            <a:off x="6210301" y="1282307"/>
            <a:ext cx="755651" cy="720000"/>
          </a:xfrm>
        </p:spPr>
        <p:txBody>
          <a:bodyPr anchor="ctr">
            <a:noAutofit/>
          </a:bodyPr>
          <a:lstStyle>
            <a:lvl1pPr marL="0" indent="0" algn="ctr">
              <a:buNone/>
              <a:defRPr sz="1100">
                <a:solidFill>
                  <a:schemeClr val="bg2"/>
                </a:solidFill>
              </a:defRPr>
            </a:lvl1pPr>
          </a:lstStyle>
          <a:p>
            <a:r>
              <a:rPr lang="en-US"/>
              <a:t>Click to insert</a:t>
            </a:r>
            <a:br>
              <a:rPr lang="en-US"/>
            </a:br>
            <a:r>
              <a:rPr lang="en-US"/>
              <a:t>picture or icon</a:t>
            </a:r>
          </a:p>
        </p:txBody>
      </p:sp>
      <p:sp>
        <p:nvSpPr>
          <p:cNvPr id="20" name="Text Placeholder 44">
            <a:extLst>
              <a:ext uri="{FF2B5EF4-FFF2-40B4-BE49-F238E27FC236}">
                <a16:creationId xmlns:a16="http://schemas.microsoft.com/office/drawing/2014/main" id="{A78B3715-7573-02F2-7187-BA8DC03F1214}"/>
              </a:ext>
            </a:extLst>
          </p:cNvPr>
          <p:cNvSpPr>
            <a:spLocks noGrp="1"/>
          </p:cNvSpPr>
          <p:nvPr>
            <p:ph type="body" sz="quarter" idx="25" hasCustomPrompt="1"/>
          </p:nvPr>
        </p:nvSpPr>
        <p:spPr>
          <a:xfrm>
            <a:off x="2037523" y="6364123"/>
            <a:ext cx="8028652" cy="283368"/>
          </a:xfrm>
        </p:spPr>
        <p:txBody>
          <a:bodyPr anchor="ctr">
            <a:noAutofit/>
          </a:bodyPr>
          <a:lstStyle>
            <a:lvl1pPr>
              <a:spcAft>
                <a:spcPts val="0"/>
              </a:spcAft>
              <a:defRPr sz="800" b="0">
                <a:solidFill>
                  <a:srgbClr val="3D3F48"/>
                </a:solidFill>
              </a:defRPr>
            </a:lvl1pPr>
            <a:lvl2pPr marL="0" indent="0">
              <a:buNone/>
              <a:defRPr/>
            </a:lvl2pPr>
          </a:lstStyle>
          <a:p>
            <a:pPr lvl="0"/>
            <a:r>
              <a:rPr lang="en-US"/>
              <a:t>Add footnotes here if needed</a:t>
            </a:r>
          </a:p>
        </p:txBody>
      </p:sp>
      <p:pic>
        <p:nvPicPr>
          <p:cNvPr id="4" name="Google Shape;959;g28b48f0dcfc_0_664" descr="A blurry image of a colorful background&#10;&#10;Description automatically generated">
            <a:extLst>
              <a:ext uri="{FF2B5EF4-FFF2-40B4-BE49-F238E27FC236}">
                <a16:creationId xmlns:a16="http://schemas.microsoft.com/office/drawing/2014/main" id="{30C1E983-6B82-DF64-E2BB-CCF9EC521680}"/>
              </a:ext>
            </a:extLst>
          </p:cNvPr>
          <p:cNvPicPr preferRelativeResize="0"/>
          <p:nvPr userDrawn="1"/>
        </p:nvPicPr>
        <p:blipFill rotWithShape="1">
          <a:blip r:embed="rId2">
            <a:alphaModFix/>
          </a:blip>
          <a:srcRect b="97900"/>
          <a:stretch/>
        </p:blipFill>
        <p:spPr>
          <a:xfrm>
            <a:off x="2" y="-19341"/>
            <a:ext cx="12191999" cy="144015"/>
          </a:xfrm>
          <a:prstGeom prst="rect">
            <a:avLst/>
          </a:prstGeom>
          <a:noFill/>
          <a:ln>
            <a:noFill/>
          </a:ln>
        </p:spPr>
      </p:pic>
    </p:spTree>
    <p:extLst>
      <p:ext uri="{BB962C8B-B14F-4D97-AF65-F5344CB8AC3E}">
        <p14:creationId xmlns:p14="http://schemas.microsoft.com/office/powerpoint/2010/main" val="36339383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B-C Comparis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1D7C0C-9BA2-DCB3-9469-4AF45A12494C}"/>
              </a:ext>
            </a:extLst>
          </p:cNvPr>
          <p:cNvSpPr>
            <a:spLocks noGrp="1"/>
          </p:cNvSpPr>
          <p:nvPr>
            <p:ph idx="1"/>
          </p:nvPr>
        </p:nvSpPr>
        <p:spPr>
          <a:xfrm>
            <a:off x="415597" y="1725497"/>
            <a:ext cx="3633148" cy="449432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p>
            <a:fld id="{71676EBD-8486-AA4B-82C3-0598DF1E43FA}" type="slidenum">
              <a:rPr lang="en-US" smtClean="0"/>
              <a:pPr/>
              <a:t>‹Nr.›</a:t>
            </a:fld>
            <a:endParaRPr lang="en-US"/>
          </a:p>
        </p:txBody>
      </p:sp>
      <p:sp>
        <p:nvSpPr>
          <p:cNvPr id="2" name="Content Placeholder 2">
            <a:extLst>
              <a:ext uri="{FF2B5EF4-FFF2-40B4-BE49-F238E27FC236}">
                <a16:creationId xmlns:a16="http://schemas.microsoft.com/office/drawing/2014/main" id="{B96D45F3-3495-70E2-C6C2-3CEA48C57019}"/>
              </a:ext>
            </a:extLst>
          </p:cNvPr>
          <p:cNvSpPr>
            <a:spLocks noGrp="1"/>
          </p:cNvSpPr>
          <p:nvPr>
            <p:ph idx="16"/>
          </p:nvPr>
        </p:nvSpPr>
        <p:spPr>
          <a:xfrm>
            <a:off x="4277311" y="1725500"/>
            <a:ext cx="3633148" cy="45083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a:extLst>
              <a:ext uri="{FF2B5EF4-FFF2-40B4-BE49-F238E27FC236}">
                <a16:creationId xmlns:a16="http://schemas.microsoft.com/office/drawing/2014/main" id="{EBEBCADF-B626-5D49-8579-B4746DFE3135}"/>
              </a:ext>
            </a:extLst>
          </p:cNvPr>
          <p:cNvSpPr>
            <a:spLocks noGrp="1"/>
          </p:cNvSpPr>
          <p:nvPr>
            <p:ph type="body" sz="quarter" idx="13" hasCustomPrompt="1"/>
          </p:nvPr>
        </p:nvSpPr>
        <p:spPr>
          <a:xfrm>
            <a:off x="415779" y="1246597"/>
            <a:ext cx="3632933" cy="193899"/>
          </a:xfrm>
        </p:spPr>
        <p:txBody>
          <a:bodyPr anchor="t" anchorCtr="0">
            <a:noAutofit/>
          </a:bodyPr>
          <a:lstStyle>
            <a:lvl1pPr marL="0" indent="0">
              <a:buNone/>
              <a:defRPr sz="1400" b="1" cap="all" baseline="0">
                <a:solidFill>
                  <a:schemeClr val="tx1"/>
                </a:solidFill>
              </a:defRPr>
            </a:lvl1pPr>
            <a:lvl4pPr marL="1371566" indent="0">
              <a:buNone/>
              <a:defRPr/>
            </a:lvl4pPr>
          </a:lstStyle>
          <a:p>
            <a:pPr lvl="0"/>
            <a:r>
              <a:rPr lang="en-US"/>
              <a:t>Click to insert sub headline</a:t>
            </a:r>
          </a:p>
        </p:txBody>
      </p:sp>
      <p:sp>
        <p:nvSpPr>
          <p:cNvPr id="6" name="Title 11">
            <a:extLst>
              <a:ext uri="{FF2B5EF4-FFF2-40B4-BE49-F238E27FC236}">
                <a16:creationId xmlns:a16="http://schemas.microsoft.com/office/drawing/2014/main" id="{E546389F-2B14-82F6-DA6A-5C1047705085}"/>
              </a:ext>
            </a:extLst>
          </p:cNvPr>
          <p:cNvSpPr>
            <a:spLocks noGrp="1"/>
          </p:cNvSpPr>
          <p:nvPr>
            <p:ph type="title" hasCustomPrompt="1"/>
          </p:nvPr>
        </p:nvSpPr>
        <p:spPr>
          <a:xfrm>
            <a:off x="415596" y="462506"/>
            <a:ext cx="11360808" cy="553997"/>
          </a:xfrm>
        </p:spPr>
        <p:txBody>
          <a:bodyPr anchor="t" anchorCtr="0">
            <a:spAutoFit/>
          </a:bodyPr>
          <a:lstStyle/>
          <a:p>
            <a:r>
              <a:rPr lang="en-US"/>
              <a:t>Click to Insert Headline</a:t>
            </a:r>
          </a:p>
        </p:txBody>
      </p:sp>
      <p:sp>
        <p:nvSpPr>
          <p:cNvPr id="4" name="Text Placeholder 6">
            <a:extLst>
              <a:ext uri="{FF2B5EF4-FFF2-40B4-BE49-F238E27FC236}">
                <a16:creationId xmlns:a16="http://schemas.microsoft.com/office/drawing/2014/main" id="{7FDAA86F-4F45-23F1-47B2-F687BBC7D29B}"/>
              </a:ext>
            </a:extLst>
          </p:cNvPr>
          <p:cNvSpPr>
            <a:spLocks noGrp="1"/>
          </p:cNvSpPr>
          <p:nvPr>
            <p:ph type="body" sz="quarter" idx="17" hasCustomPrompt="1"/>
          </p:nvPr>
        </p:nvSpPr>
        <p:spPr>
          <a:xfrm>
            <a:off x="4277475" y="1246445"/>
            <a:ext cx="3632933" cy="193899"/>
          </a:xfrm>
        </p:spPr>
        <p:txBody>
          <a:bodyPr anchor="t" anchorCtr="0">
            <a:noAutofit/>
          </a:bodyPr>
          <a:lstStyle>
            <a:lvl1pPr marL="0" indent="0">
              <a:buNone/>
              <a:defRPr sz="1400" b="1" cap="all" baseline="0">
                <a:solidFill>
                  <a:schemeClr val="tx1"/>
                </a:solidFill>
              </a:defRPr>
            </a:lvl1pPr>
            <a:lvl4pPr marL="1371566" indent="0">
              <a:buNone/>
              <a:defRPr/>
            </a:lvl4pPr>
          </a:lstStyle>
          <a:p>
            <a:pPr lvl="0"/>
            <a:r>
              <a:rPr lang="en-US"/>
              <a:t>Click to insert sub headline</a:t>
            </a:r>
          </a:p>
        </p:txBody>
      </p:sp>
      <p:sp>
        <p:nvSpPr>
          <p:cNvPr id="19" name="Content Placeholder 2">
            <a:extLst>
              <a:ext uri="{FF2B5EF4-FFF2-40B4-BE49-F238E27FC236}">
                <a16:creationId xmlns:a16="http://schemas.microsoft.com/office/drawing/2014/main" id="{55574851-A201-0572-7EC6-0DB615B8C704}"/>
              </a:ext>
            </a:extLst>
          </p:cNvPr>
          <p:cNvSpPr>
            <a:spLocks noGrp="1"/>
          </p:cNvSpPr>
          <p:nvPr>
            <p:ph idx="18"/>
          </p:nvPr>
        </p:nvSpPr>
        <p:spPr>
          <a:xfrm>
            <a:off x="8139007" y="1725500"/>
            <a:ext cx="3633148" cy="45083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6">
            <a:extLst>
              <a:ext uri="{FF2B5EF4-FFF2-40B4-BE49-F238E27FC236}">
                <a16:creationId xmlns:a16="http://schemas.microsoft.com/office/drawing/2014/main" id="{972D7D0A-DDCA-A87D-AD6A-EB63472B1BF3}"/>
              </a:ext>
            </a:extLst>
          </p:cNvPr>
          <p:cNvSpPr>
            <a:spLocks noGrp="1"/>
          </p:cNvSpPr>
          <p:nvPr>
            <p:ph type="body" sz="quarter" idx="19" hasCustomPrompt="1"/>
          </p:nvPr>
        </p:nvSpPr>
        <p:spPr>
          <a:xfrm>
            <a:off x="8139171" y="1243651"/>
            <a:ext cx="3632933" cy="193899"/>
          </a:xfrm>
        </p:spPr>
        <p:txBody>
          <a:bodyPr anchor="t" anchorCtr="0">
            <a:noAutofit/>
          </a:bodyPr>
          <a:lstStyle>
            <a:lvl1pPr marL="0" indent="0">
              <a:buNone/>
              <a:defRPr sz="1400" b="1" cap="all" baseline="0">
                <a:solidFill>
                  <a:schemeClr val="tx1"/>
                </a:solidFill>
              </a:defRPr>
            </a:lvl1pPr>
            <a:lvl4pPr marL="1371566" indent="0">
              <a:buNone/>
              <a:defRPr/>
            </a:lvl4pPr>
          </a:lstStyle>
          <a:p>
            <a:pPr lvl="0"/>
            <a:r>
              <a:rPr lang="en-US"/>
              <a:t>Click to insert sub headline</a:t>
            </a:r>
          </a:p>
        </p:txBody>
      </p:sp>
      <p:sp>
        <p:nvSpPr>
          <p:cNvPr id="21" name="Text Placeholder 44">
            <a:extLst>
              <a:ext uri="{FF2B5EF4-FFF2-40B4-BE49-F238E27FC236}">
                <a16:creationId xmlns:a16="http://schemas.microsoft.com/office/drawing/2014/main" id="{F90D5E41-A03D-CCB2-24E0-C8443E7A4A99}"/>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rgbClr val="3D3F48"/>
                </a:solidFill>
              </a:defRPr>
            </a:lvl1pPr>
            <a:lvl2pPr marL="0" indent="0">
              <a:buNone/>
              <a:defRPr/>
            </a:lvl2pPr>
          </a:lstStyle>
          <a:p>
            <a:pPr lvl="0"/>
            <a:r>
              <a:rPr lang="en-US"/>
              <a:t>Add footnotes here if needed</a:t>
            </a:r>
          </a:p>
        </p:txBody>
      </p:sp>
      <p:pic>
        <p:nvPicPr>
          <p:cNvPr id="8" name="Google Shape;959;g28b48f0dcfc_0_664" descr="A blurry image of a colorful background&#10;&#10;Description automatically generated">
            <a:extLst>
              <a:ext uri="{FF2B5EF4-FFF2-40B4-BE49-F238E27FC236}">
                <a16:creationId xmlns:a16="http://schemas.microsoft.com/office/drawing/2014/main" id="{DC339598-67BC-EC78-93CB-E473BA3A38CC}"/>
              </a:ext>
            </a:extLst>
          </p:cNvPr>
          <p:cNvPicPr preferRelativeResize="0"/>
          <p:nvPr userDrawn="1"/>
        </p:nvPicPr>
        <p:blipFill rotWithShape="1">
          <a:blip r:embed="rId2">
            <a:alphaModFix/>
          </a:blip>
          <a:srcRect b="97900"/>
          <a:stretch/>
        </p:blipFill>
        <p:spPr>
          <a:xfrm>
            <a:off x="2" y="-19341"/>
            <a:ext cx="12191999" cy="144015"/>
          </a:xfrm>
          <a:prstGeom prst="rect">
            <a:avLst/>
          </a:prstGeom>
          <a:noFill/>
          <a:ln>
            <a:noFill/>
          </a:ln>
        </p:spPr>
      </p:pic>
    </p:spTree>
    <p:extLst>
      <p:ext uri="{BB962C8B-B14F-4D97-AF65-F5344CB8AC3E}">
        <p14:creationId xmlns:p14="http://schemas.microsoft.com/office/powerpoint/2010/main" val="584962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B-C Comparison with Icons">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p>
            <a:fld id="{71676EBD-8486-AA4B-82C3-0598DF1E43FA}" type="slidenum">
              <a:rPr lang="en-US" smtClean="0"/>
              <a:pPr/>
              <a:t>‹Nr.›</a:t>
            </a:fld>
            <a:endParaRPr lang="en-US"/>
          </a:p>
        </p:txBody>
      </p:sp>
      <p:sp>
        <p:nvSpPr>
          <p:cNvPr id="6" name="Title 11">
            <a:extLst>
              <a:ext uri="{FF2B5EF4-FFF2-40B4-BE49-F238E27FC236}">
                <a16:creationId xmlns:a16="http://schemas.microsoft.com/office/drawing/2014/main" id="{E546389F-2B14-82F6-DA6A-5C1047705085}"/>
              </a:ext>
            </a:extLst>
          </p:cNvPr>
          <p:cNvSpPr>
            <a:spLocks noGrp="1"/>
          </p:cNvSpPr>
          <p:nvPr>
            <p:ph type="title" hasCustomPrompt="1"/>
          </p:nvPr>
        </p:nvSpPr>
        <p:spPr>
          <a:xfrm>
            <a:off x="415596" y="462506"/>
            <a:ext cx="11360808" cy="553997"/>
          </a:xfrm>
        </p:spPr>
        <p:txBody>
          <a:bodyPr anchor="t" anchorCtr="0">
            <a:spAutoFit/>
          </a:bodyPr>
          <a:lstStyle/>
          <a:p>
            <a:r>
              <a:rPr lang="en-US"/>
              <a:t>Click to Insert Headline</a:t>
            </a:r>
          </a:p>
        </p:txBody>
      </p:sp>
      <p:sp>
        <p:nvSpPr>
          <p:cNvPr id="9" name="Content Placeholder 2">
            <a:extLst>
              <a:ext uri="{FF2B5EF4-FFF2-40B4-BE49-F238E27FC236}">
                <a16:creationId xmlns:a16="http://schemas.microsoft.com/office/drawing/2014/main" id="{B8B08915-FA4F-3FDC-4496-0D52315901E2}"/>
              </a:ext>
            </a:extLst>
          </p:cNvPr>
          <p:cNvSpPr>
            <a:spLocks noGrp="1"/>
          </p:cNvSpPr>
          <p:nvPr>
            <p:ph idx="1"/>
          </p:nvPr>
        </p:nvSpPr>
        <p:spPr>
          <a:xfrm>
            <a:off x="415596" y="2731906"/>
            <a:ext cx="3633149" cy="348792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7965F5EC-A6C4-FD31-3FFC-4A925196B1D4}"/>
              </a:ext>
            </a:extLst>
          </p:cNvPr>
          <p:cNvSpPr>
            <a:spLocks noGrp="1"/>
          </p:cNvSpPr>
          <p:nvPr>
            <p:ph type="body" sz="quarter" idx="13" hasCustomPrompt="1"/>
          </p:nvPr>
        </p:nvSpPr>
        <p:spPr>
          <a:xfrm>
            <a:off x="415924" y="2238964"/>
            <a:ext cx="3632935" cy="193899"/>
          </a:xfrm>
        </p:spPr>
        <p:txBody>
          <a:bodyPr anchor="t" anchorCtr="0">
            <a:noAutofit/>
          </a:bodyPr>
          <a:lstStyle>
            <a:lvl1pPr marL="0" indent="0">
              <a:buNone/>
              <a:defRPr sz="1400" b="1" cap="all" baseline="0">
                <a:solidFill>
                  <a:schemeClr val="tx1"/>
                </a:solidFill>
              </a:defRPr>
            </a:lvl1pPr>
            <a:lvl4pPr marL="1371566" indent="0">
              <a:buNone/>
              <a:defRPr/>
            </a:lvl4pPr>
          </a:lstStyle>
          <a:p>
            <a:pPr lvl="0"/>
            <a:r>
              <a:rPr lang="en-US"/>
              <a:t>Click to insert sub headline</a:t>
            </a:r>
          </a:p>
        </p:txBody>
      </p:sp>
      <p:sp>
        <p:nvSpPr>
          <p:cNvPr id="13" name="Picture Placeholder 33">
            <a:extLst>
              <a:ext uri="{FF2B5EF4-FFF2-40B4-BE49-F238E27FC236}">
                <a16:creationId xmlns:a16="http://schemas.microsoft.com/office/drawing/2014/main" id="{C5260966-98EF-443F-B570-1F4C38F0A481}"/>
              </a:ext>
            </a:extLst>
          </p:cNvPr>
          <p:cNvSpPr>
            <a:spLocks noGrp="1"/>
          </p:cNvSpPr>
          <p:nvPr>
            <p:ph type="pic" sz="quarter" idx="21" hasCustomPrompt="1"/>
          </p:nvPr>
        </p:nvSpPr>
        <p:spPr>
          <a:xfrm>
            <a:off x="415596" y="1296135"/>
            <a:ext cx="755651" cy="720000"/>
          </a:xfrm>
        </p:spPr>
        <p:txBody>
          <a:bodyPr anchor="ctr">
            <a:noAutofit/>
          </a:bodyPr>
          <a:lstStyle>
            <a:lvl1pPr marL="0" indent="0" algn="ctr">
              <a:buNone/>
              <a:defRPr sz="1100">
                <a:solidFill>
                  <a:schemeClr val="bg2"/>
                </a:solidFill>
              </a:defRPr>
            </a:lvl1pPr>
          </a:lstStyle>
          <a:p>
            <a:r>
              <a:rPr lang="en-US"/>
              <a:t>Click to insert</a:t>
            </a:r>
            <a:br>
              <a:rPr lang="en-US"/>
            </a:br>
            <a:r>
              <a:rPr lang="en-US"/>
              <a:t>picture or icon</a:t>
            </a:r>
          </a:p>
        </p:txBody>
      </p:sp>
      <p:sp>
        <p:nvSpPr>
          <p:cNvPr id="18" name="Content Placeholder 2">
            <a:extLst>
              <a:ext uri="{FF2B5EF4-FFF2-40B4-BE49-F238E27FC236}">
                <a16:creationId xmlns:a16="http://schemas.microsoft.com/office/drawing/2014/main" id="{27B61D6A-9F37-3629-021F-1BDBC8C59380}"/>
              </a:ext>
            </a:extLst>
          </p:cNvPr>
          <p:cNvSpPr>
            <a:spLocks noGrp="1"/>
          </p:cNvSpPr>
          <p:nvPr>
            <p:ph idx="22"/>
          </p:nvPr>
        </p:nvSpPr>
        <p:spPr>
          <a:xfrm>
            <a:off x="4277259" y="2731906"/>
            <a:ext cx="3633149" cy="348792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6">
            <a:extLst>
              <a:ext uri="{FF2B5EF4-FFF2-40B4-BE49-F238E27FC236}">
                <a16:creationId xmlns:a16="http://schemas.microsoft.com/office/drawing/2014/main" id="{1C19CE38-BDED-070A-2DBA-45DB5AFE099F}"/>
              </a:ext>
            </a:extLst>
          </p:cNvPr>
          <p:cNvSpPr>
            <a:spLocks noGrp="1"/>
          </p:cNvSpPr>
          <p:nvPr>
            <p:ph type="body" sz="quarter" idx="23" hasCustomPrompt="1"/>
          </p:nvPr>
        </p:nvSpPr>
        <p:spPr>
          <a:xfrm>
            <a:off x="4277587" y="2238964"/>
            <a:ext cx="3632935" cy="193899"/>
          </a:xfrm>
        </p:spPr>
        <p:txBody>
          <a:bodyPr anchor="t" anchorCtr="0">
            <a:noAutofit/>
          </a:bodyPr>
          <a:lstStyle>
            <a:lvl1pPr marL="0" indent="0">
              <a:buNone/>
              <a:defRPr sz="1400" b="1" cap="all" baseline="0">
                <a:solidFill>
                  <a:schemeClr val="tx1"/>
                </a:solidFill>
              </a:defRPr>
            </a:lvl1pPr>
            <a:lvl4pPr marL="1371566" indent="0">
              <a:buNone/>
              <a:defRPr/>
            </a:lvl4pPr>
          </a:lstStyle>
          <a:p>
            <a:pPr lvl="0"/>
            <a:r>
              <a:rPr lang="en-US"/>
              <a:t>Click to insert sub headline</a:t>
            </a:r>
          </a:p>
        </p:txBody>
      </p:sp>
      <p:sp>
        <p:nvSpPr>
          <p:cNvPr id="22" name="Picture Placeholder 33">
            <a:extLst>
              <a:ext uri="{FF2B5EF4-FFF2-40B4-BE49-F238E27FC236}">
                <a16:creationId xmlns:a16="http://schemas.microsoft.com/office/drawing/2014/main" id="{33A53472-3113-7029-06BE-0515F82F4443}"/>
              </a:ext>
            </a:extLst>
          </p:cNvPr>
          <p:cNvSpPr>
            <a:spLocks noGrp="1"/>
          </p:cNvSpPr>
          <p:nvPr>
            <p:ph type="pic" sz="quarter" idx="24" hasCustomPrompt="1"/>
          </p:nvPr>
        </p:nvSpPr>
        <p:spPr>
          <a:xfrm>
            <a:off x="4277257" y="1296135"/>
            <a:ext cx="755651" cy="720000"/>
          </a:xfrm>
        </p:spPr>
        <p:txBody>
          <a:bodyPr anchor="ctr">
            <a:noAutofit/>
          </a:bodyPr>
          <a:lstStyle>
            <a:lvl1pPr marL="0" indent="0" algn="ctr">
              <a:buNone/>
              <a:defRPr sz="1100">
                <a:solidFill>
                  <a:schemeClr val="bg2"/>
                </a:solidFill>
              </a:defRPr>
            </a:lvl1pPr>
          </a:lstStyle>
          <a:p>
            <a:r>
              <a:rPr lang="en-US"/>
              <a:t>Click to insert</a:t>
            </a:r>
            <a:br>
              <a:rPr lang="en-US"/>
            </a:br>
            <a:r>
              <a:rPr lang="en-US"/>
              <a:t>picture or icon</a:t>
            </a:r>
          </a:p>
        </p:txBody>
      </p:sp>
      <p:sp>
        <p:nvSpPr>
          <p:cNvPr id="29" name="Content Placeholder 2">
            <a:extLst>
              <a:ext uri="{FF2B5EF4-FFF2-40B4-BE49-F238E27FC236}">
                <a16:creationId xmlns:a16="http://schemas.microsoft.com/office/drawing/2014/main" id="{B5F510BB-39FB-5A31-A479-8E5A9B2092D8}"/>
              </a:ext>
            </a:extLst>
          </p:cNvPr>
          <p:cNvSpPr>
            <a:spLocks noGrp="1"/>
          </p:cNvSpPr>
          <p:nvPr>
            <p:ph idx="25"/>
          </p:nvPr>
        </p:nvSpPr>
        <p:spPr>
          <a:xfrm>
            <a:off x="8138564" y="2731906"/>
            <a:ext cx="3633149" cy="348792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6">
            <a:extLst>
              <a:ext uri="{FF2B5EF4-FFF2-40B4-BE49-F238E27FC236}">
                <a16:creationId xmlns:a16="http://schemas.microsoft.com/office/drawing/2014/main" id="{E9EB9BF2-53A8-A78A-9A19-333D2BA7B336}"/>
              </a:ext>
            </a:extLst>
          </p:cNvPr>
          <p:cNvSpPr>
            <a:spLocks noGrp="1"/>
          </p:cNvSpPr>
          <p:nvPr>
            <p:ph type="body" sz="quarter" idx="26" hasCustomPrompt="1"/>
          </p:nvPr>
        </p:nvSpPr>
        <p:spPr>
          <a:xfrm>
            <a:off x="8138894" y="2238964"/>
            <a:ext cx="3632935" cy="193899"/>
          </a:xfrm>
        </p:spPr>
        <p:txBody>
          <a:bodyPr anchor="t" anchorCtr="0">
            <a:noAutofit/>
          </a:bodyPr>
          <a:lstStyle>
            <a:lvl1pPr marL="0" indent="0">
              <a:buNone/>
              <a:defRPr sz="1400" b="1" cap="all" baseline="0">
                <a:solidFill>
                  <a:schemeClr val="tx1"/>
                </a:solidFill>
              </a:defRPr>
            </a:lvl1pPr>
            <a:lvl4pPr marL="1371566" indent="0">
              <a:buNone/>
              <a:defRPr/>
            </a:lvl4pPr>
          </a:lstStyle>
          <a:p>
            <a:pPr lvl="0"/>
            <a:r>
              <a:rPr lang="en-US"/>
              <a:t>Click to insert sub headline</a:t>
            </a:r>
          </a:p>
        </p:txBody>
      </p:sp>
      <p:sp>
        <p:nvSpPr>
          <p:cNvPr id="31" name="Picture Placeholder 33">
            <a:extLst>
              <a:ext uri="{FF2B5EF4-FFF2-40B4-BE49-F238E27FC236}">
                <a16:creationId xmlns:a16="http://schemas.microsoft.com/office/drawing/2014/main" id="{0567A6D0-CF4A-8819-2BFA-861F82111FBD}"/>
              </a:ext>
            </a:extLst>
          </p:cNvPr>
          <p:cNvSpPr>
            <a:spLocks noGrp="1"/>
          </p:cNvSpPr>
          <p:nvPr>
            <p:ph type="pic" sz="quarter" idx="27" hasCustomPrompt="1"/>
          </p:nvPr>
        </p:nvSpPr>
        <p:spPr>
          <a:xfrm>
            <a:off x="8138564" y="1296135"/>
            <a:ext cx="755651" cy="720000"/>
          </a:xfrm>
        </p:spPr>
        <p:txBody>
          <a:bodyPr anchor="ctr">
            <a:noAutofit/>
          </a:bodyPr>
          <a:lstStyle>
            <a:lvl1pPr marL="0" indent="0" algn="ctr">
              <a:buNone/>
              <a:defRPr sz="1100">
                <a:solidFill>
                  <a:schemeClr val="bg2"/>
                </a:solidFill>
              </a:defRPr>
            </a:lvl1pPr>
          </a:lstStyle>
          <a:p>
            <a:r>
              <a:rPr lang="en-US"/>
              <a:t>Click to insert</a:t>
            </a:r>
            <a:br>
              <a:rPr lang="en-US"/>
            </a:br>
            <a:r>
              <a:rPr lang="en-US"/>
              <a:t>picture or icon</a:t>
            </a:r>
          </a:p>
        </p:txBody>
      </p:sp>
      <p:sp>
        <p:nvSpPr>
          <p:cNvPr id="32" name="Text Placeholder 44">
            <a:extLst>
              <a:ext uri="{FF2B5EF4-FFF2-40B4-BE49-F238E27FC236}">
                <a16:creationId xmlns:a16="http://schemas.microsoft.com/office/drawing/2014/main" id="{5394737C-5854-F36A-9DAC-011643078579}"/>
              </a:ext>
            </a:extLst>
          </p:cNvPr>
          <p:cNvSpPr>
            <a:spLocks noGrp="1"/>
          </p:cNvSpPr>
          <p:nvPr>
            <p:ph type="body" sz="quarter" idx="28" hasCustomPrompt="1"/>
          </p:nvPr>
        </p:nvSpPr>
        <p:spPr>
          <a:xfrm>
            <a:off x="2037523" y="6364123"/>
            <a:ext cx="8028652" cy="283368"/>
          </a:xfrm>
        </p:spPr>
        <p:txBody>
          <a:bodyPr anchor="ctr">
            <a:noAutofit/>
          </a:bodyPr>
          <a:lstStyle>
            <a:lvl1pPr>
              <a:spcAft>
                <a:spcPts val="0"/>
              </a:spcAft>
              <a:defRPr sz="800" b="0">
                <a:solidFill>
                  <a:srgbClr val="3D3F48"/>
                </a:solidFill>
              </a:defRPr>
            </a:lvl1pPr>
            <a:lvl2pPr marL="0" indent="0">
              <a:buNone/>
              <a:defRPr/>
            </a:lvl2pPr>
          </a:lstStyle>
          <a:p>
            <a:pPr lvl="0"/>
            <a:r>
              <a:rPr lang="en-US"/>
              <a:t>Add footnotes here if needed</a:t>
            </a:r>
          </a:p>
        </p:txBody>
      </p:sp>
      <p:pic>
        <p:nvPicPr>
          <p:cNvPr id="3" name="Google Shape;959;g28b48f0dcfc_0_664" descr="A blurry image of a colorful background&#10;&#10;Description automatically generated">
            <a:extLst>
              <a:ext uri="{FF2B5EF4-FFF2-40B4-BE49-F238E27FC236}">
                <a16:creationId xmlns:a16="http://schemas.microsoft.com/office/drawing/2014/main" id="{69154126-60CD-88F9-9D53-6279D9E65591}"/>
              </a:ext>
            </a:extLst>
          </p:cNvPr>
          <p:cNvPicPr preferRelativeResize="0"/>
          <p:nvPr userDrawn="1"/>
        </p:nvPicPr>
        <p:blipFill rotWithShape="1">
          <a:blip r:embed="rId2">
            <a:alphaModFix/>
          </a:blip>
          <a:srcRect b="97900"/>
          <a:stretch/>
        </p:blipFill>
        <p:spPr>
          <a:xfrm>
            <a:off x="2" y="-19341"/>
            <a:ext cx="12191999" cy="144015"/>
          </a:xfrm>
          <a:prstGeom prst="rect">
            <a:avLst/>
          </a:prstGeom>
          <a:noFill/>
          <a:ln>
            <a:noFill/>
          </a:ln>
        </p:spPr>
      </p:pic>
    </p:spTree>
    <p:extLst>
      <p:ext uri="{BB962C8B-B14F-4D97-AF65-F5344CB8AC3E}">
        <p14:creationId xmlns:p14="http://schemas.microsoft.com/office/powerpoint/2010/main" val="4583038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with Header Imag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1D7C0C-9BA2-DCB3-9469-4AF45A12494C}"/>
              </a:ext>
            </a:extLst>
          </p:cNvPr>
          <p:cNvSpPr>
            <a:spLocks noGrp="1"/>
          </p:cNvSpPr>
          <p:nvPr>
            <p:ph idx="1"/>
          </p:nvPr>
        </p:nvSpPr>
        <p:spPr>
          <a:xfrm>
            <a:off x="415597" y="3658732"/>
            <a:ext cx="5566105" cy="2575137"/>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p>
            <a:fld id="{71676EBD-8486-AA4B-82C3-0598DF1E43FA}" type="slidenum">
              <a:rPr lang="en-US" smtClean="0"/>
              <a:pPr/>
              <a:t>‹Nr.›</a:t>
            </a:fld>
            <a:endParaRPr lang="en-US"/>
          </a:p>
        </p:txBody>
      </p:sp>
      <p:sp>
        <p:nvSpPr>
          <p:cNvPr id="2" name="Content Placeholder 2">
            <a:extLst>
              <a:ext uri="{FF2B5EF4-FFF2-40B4-BE49-F238E27FC236}">
                <a16:creationId xmlns:a16="http://schemas.microsoft.com/office/drawing/2014/main" id="{B96D45F3-3495-70E2-C6C2-3CEA48C57019}"/>
              </a:ext>
            </a:extLst>
          </p:cNvPr>
          <p:cNvSpPr>
            <a:spLocks noGrp="1"/>
          </p:cNvSpPr>
          <p:nvPr>
            <p:ph idx="16"/>
          </p:nvPr>
        </p:nvSpPr>
        <p:spPr>
          <a:xfrm>
            <a:off x="6210302" y="3658729"/>
            <a:ext cx="5566105" cy="257513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a:extLst>
              <a:ext uri="{FF2B5EF4-FFF2-40B4-BE49-F238E27FC236}">
                <a16:creationId xmlns:a16="http://schemas.microsoft.com/office/drawing/2014/main" id="{EBEBCADF-B626-5D49-8579-B4746DFE3135}"/>
              </a:ext>
            </a:extLst>
          </p:cNvPr>
          <p:cNvSpPr>
            <a:spLocks noGrp="1"/>
          </p:cNvSpPr>
          <p:nvPr>
            <p:ph type="body" sz="quarter" idx="13" hasCustomPrompt="1"/>
          </p:nvPr>
        </p:nvSpPr>
        <p:spPr>
          <a:xfrm>
            <a:off x="415925" y="3179829"/>
            <a:ext cx="5565776" cy="193899"/>
          </a:xfrm>
        </p:spPr>
        <p:txBody>
          <a:bodyPr anchor="t" anchorCtr="0">
            <a:noAutofit/>
          </a:bodyPr>
          <a:lstStyle>
            <a:lvl1pPr marL="0" indent="0">
              <a:buNone/>
              <a:defRPr sz="1400" b="1" cap="all" baseline="0">
                <a:solidFill>
                  <a:schemeClr val="tx1"/>
                </a:solidFill>
              </a:defRPr>
            </a:lvl1pPr>
            <a:lvl4pPr marL="1371566" indent="0">
              <a:buNone/>
              <a:defRPr/>
            </a:lvl4pPr>
          </a:lstStyle>
          <a:p>
            <a:pPr lvl="0"/>
            <a:r>
              <a:rPr lang="en-US"/>
              <a:t>Click to insert sub headline</a:t>
            </a:r>
          </a:p>
        </p:txBody>
      </p:sp>
      <p:sp>
        <p:nvSpPr>
          <p:cNvPr id="6" name="Title 11">
            <a:extLst>
              <a:ext uri="{FF2B5EF4-FFF2-40B4-BE49-F238E27FC236}">
                <a16:creationId xmlns:a16="http://schemas.microsoft.com/office/drawing/2014/main" id="{E546389F-2B14-82F6-DA6A-5C1047705085}"/>
              </a:ext>
            </a:extLst>
          </p:cNvPr>
          <p:cNvSpPr>
            <a:spLocks noGrp="1"/>
          </p:cNvSpPr>
          <p:nvPr>
            <p:ph type="title" hasCustomPrompt="1"/>
          </p:nvPr>
        </p:nvSpPr>
        <p:spPr>
          <a:xfrm>
            <a:off x="415596" y="462506"/>
            <a:ext cx="11360808" cy="553997"/>
          </a:xfrm>
        </p:spPr>
        <p:txBody>
          <a:bodyPr anchor="t" anchorCtr="0">
            <a:spAutoFit/>
          </a:bodyPr>
          <a:lstStyle/>
          <a:p>
            <a:r>
              <a:rPr lang="en-US"/>
              <a:t>Click to Insert Headline</a:t>
            </a:r>
          </a:p>
        </p:txBody>
      </p:sp>
      <p:sp>
        <p:nvSpPr>
          <p:cNvPr id="4" name="Text Placeholder 6">
            <a:extLst>
              <a:ext uri="{FF2B5EF4-FFF2-40B4-BE49-F238E27FC236}">
                <a16:creationId xmlns:a16="http://schemas.microsoft.com/office/drawing/2014/main" id="{7FDAA86F-4F45-23F1-47B2-F687BBC7D29B}"/>
              </a:ext>
            </a:extLst>
          </p:cNvPr>
          <p:cNvSpPr>
            <a:spLocks noGrp="1"/>
          </p:cNvSpPr>
          <p:nvPr>
            <p:ph type="body" sz="quarter" idx="17" hasCustomPrompt="1"/>
          </p:nvPr>
        </p:nvSpPr>
        <p:spPr>
          <a:xfrm>
            <a:off x="6210465" y="3179829"/>
            <a:ext cx="5565776" cy="193899"/>
          </a:xfrm>
        </p:spPr>
        <p:txBody>
          <a:bodyPr anchor="t" anchorCtr="0">
            <a:noAutofit/>
          </a:bodyPr>
          <a:lstStyle>
            <a:lvl1pPr marL="0" indent="0">
              <a:buNone/>
              <a:defRPr sz="1400" b="1" cap="all" baseline="0">
                <a:solidFill>
                  <a:schemeClr val="tx1"/>
                </a:solidFill>
              </a:defRPr>
            </a:lvl1pPr>
            <a:lvl4pPr marL="1371566" indent="0">
              <a:buNone/>
              <a:defRPr/>
            </a:lvl4pPr>
          </a:lstStyle>
          <a:p>
            <a:pPr lvl="0"/>
            <a:r>
              <a:rPr lang="en-US"/>
              <a:t>Click to insert sub headline</a:t>
            </a:r>
          </a:p>
        </p:txBody>
      </p:sp>
      <p:sp>
        <p:nvSpPr>
          <p:cNvPr id="15" name="Content Placeholder 14">
            <a:extLst>
              <a:ext uri="{FF2B5EF4-FFF2-40B4-BE49-F238E27FC236}">
                <a16:creationId xmlns:a16="http://schemas.microsoft.com/office/drawing/2014/main" id="{B238A0AF-4391-9D38-056B-99771BCEFCC2}"/>
              </a:ext>
            </a:extLst>
          </p:cNvPr>
          <p:cNvSpPr>
            <a:spLocks noGrp="1"/>
          </p:cNvSpPr>
          <p:nvPr>
            <p:ph sz="quarter" idx="18" hasCustomPrompt="1"/>
          </p:nvPr>
        </p:nvSpPr>
        <p:spPr>
          <a:xfrm>
            <a:off x="415926" y="1296135"/>
            <a:ext cx="5565775" cy="1654093"/>
          </a:xfrm>
        </p:spPr>
        <p:txBody>
          <a:bodyPr anchor="t"/>
          <a:lstStyle>
            <a:lvl1pPr marL="0" indent="0" algn="l">
              <a:buNone/>
              <a:defRPr>
                <a:solidFill>
                  <a:schemeClr val="bg2"/>
                </a:solidFill>
              </a:defRPr>
            </a:lvl1pPr>
          </a:lstStyle>
          <a:p>
            <a:pPr lvl="0"/>
            <a:r>
              <a:rPr lang="en-US"/>
              <a:t>Click to insert content</a:t>
            </a:r>
          </a:p>
        </p:txBody>
      </p:sp>
      <p:sp>
        <p:nvSpPr>
          <p:cNvPr id="17" name="Content Placeholder 14">
            <a:extLst>
              <a:ext uri="{FF2B5EF4-FFF2-40B4-BE49-F238E27FC236}">
                <a16:creationId xmlns:a16="http://schemas.microsoft.com/office/drawing/2014/main" id="{4C13A48E-5842-1575-B832-BF7B26F899E9}"/>
              </a:ext>
            </a:extLst>
          </p:cNvPr>
          <p:cNvSpPr>
            <a:spLocks noGrp="1"/>
          </p:cNvSpPr>
          <p:nvPr>
            <p:ph sz="quarter" idx="19" hasCustomPrompt="1"/>
          </p:nvPr>
        </p:nvSpPr>
        <p:spPr>
          <a:xfrm>
            <a:off x="6210302" y="1296135"/>
            <a:ext cx="5565775" cy="1654093"/>
          </a:xfrm>
        </p:spPr>
        <p:txBody>
          <a:bodyPr anchor="t"/>
          <a:lstStyle>
            <a:lvl1pPr marL="0" indent="0" algn="l">
              <a:buNone/>
              <a:defRPr>
                <a:solidFill>
                  <a:schemeClr val="bg2"/>
                </a:solidFill>
              </a:defRPr>
            </a:lvl1pPr>
          </a:lstStyle>
          <a:p>
            <a:pPr lvl="0"/>
            <a:r>
              <a:rPr lang="en-US"/>
              <a:t>Click to insert content</a:t>
            </a:r>
          </a:p>
        </p:txBody>
      </p:sp>
      <p:sp>
        <p:nvSpPr>
          <p:cNvPr id="18" name="Text Placeholder 44">
            <a:extLst>
              <a:ext uri="{FF2B5EF4-FFF2-40B4-BE49-F238E27FC236}">
                <a16:creationId xmlns:a16="http://schemas.microsoft.com/office/drawing/2014/main" id="{98B07A7E-2457-8B02-C997-039740D78F6A}"/>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rgbClr val="3D3F48"/>
                </a:solidFill>
              </a:defRPr>
            </a:lvl1pPr>
            <a:lvl2pPr marL="0" indent="0">
              <a:buNone/>
              <a:defRPr/>
            </a:lvl2pPr>
          </a:lstStyle>
          <a:p>
            <a:pPr lvl="0"/>
            <a:r>
              <a:rPr lang="en-US"/>
              <a:t>Add footnotes here if needed</a:t>
            </a:r>
          </a:p>
        </p:txBody>
      </p:sp>
      <p:pic>
        <p:nvPicPr>
          <p:cNvPr id="8" name="Google Shape;959;g28b48f0dcfc_0_664" descr="A blurry image of a colorful background&#10;&#10;Description automatically generated">
            <a:extLst>
              <a:ext uri="{FF2B5EF4-FFF2-40B4-BE49-F238E27FC236}">
                <a16:creationId xmlns:a16="http://schemas.microsoft.com/office/drawing/2014/main" id="{1702B32B-16E1-164D-7CA0-1B9AB3E03799}"/>
              </a:ext>
            </a:extLst>
          </p:cNvPr>
          <p:cNvPicPr preferRelativeResize="0"/>
          <p:nvPr userDrawn="1"/>
        </p:nvPicPr>
        <p:blipFill rotWithShape="1">
          <a:blip r:embed="rId2">
            <a:alphaModFix/>
          </a:blip>
          <a:srcRect b="97900"/>
          <a:stretch/>
        </p:blipFill>
        <p:spPr>
          <a:xfrm>
            <a:off x="2" y="-19341"/>
            <a:ext cx="12191999" cy="144015"/>
          </a:xfrm>
          <a:prstGeom prst="rect">
            <a:avLst/>
          </a:prstGeom>
          <a:noFill/>
          <a:ln>
            <a:noFill/>
          </a:ln>
        </p:spPr>
      </p:pic>
    </p:spTree>
    <p:extLst>
      <p:ext uri="{BB962C8B-B14F-4D97-AF65-F5344CB8AC3E}">
        <p14:creationId xmlns:p14="http://schemas.microsoft.com/office/powerpoint/2010/main" val="22256442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p>
            <a:fld id="{71676EBD-8486-AA4B-82C3-0598DF1E43FA}" type="slidenum">
              <a:rPr lang="en-US" smtClean="0"/>
              <a:pPr/>
              <a:t>‹Nr.›</a:t>
            </a:fld>
            <a:endParaRPr lang="en-US"/>
          </a:p>
        </p:txBody>
      </p:sp>
      <p:sp>
        <p:nvSpPr>
          <p:cNvPr id="6" name="Title 11">
            <a:extLst>
              <a:ext uri="{FF2B5EF4-FFF2-40B4-BE49-F238E27FC236}">
                <a16:creationId xmlns:a16="http://schemas.microsoft.com/office/drawing/2014/main" id="{E546389F-2B14-82F6-DA6A-5C1047705085}"/>
              </a:ext>
            </a:extLst>
          </p:cNvPr>
          <p:cNvSpPr>
            <a:spLocks noGrp="1"/>
          </p:cNvSpPr>
          <p:nvPr>
            <p:ph type="title" hasCustomPrompt="1"/>
          </p:nvPr>
        </p:nvSpPr>
        <p:spPr>
          <a:xfrm>
            <a:off x="415597" y="462506"/>
            <a:ext cx="4591833" cy="553997"/>
          </a:xfrm>
        </p:spPr>
        <p:txBody>
          <a:bodyPr wrap="square" anchor="t" anchorCtr="0">
            <a:spAutoFit/>
          </a:bodyPr>
          <a:lstStyle>
            <a:lvl1pPr>
              <a:defRPr>
                <a:solidFill>
                  <a:schemeClr val="tx1"/>
                </a:solidFill>
              </a:defRPr>
            </a:lvl1pPr>
          </a:lstStyle>
          <a:p>
            <a:r>
              <a:rPr lang="en-US"/>
              <a:t>Click to Edit Title</a:t>
            </a:r>
          </a:p>
        </p:txBody>
      </p:sp>
      <p:sp>
        <p:nvSpPr>
          <p:cNvPr id="8" name="Text Placeholder 7">
            <a:extLst>
              <a:ext uri="{FF2B5EF4-FFF2-40B4-BE49-F238E27FC236}">
                <a16:creationId xmlns:a16="http://schemas.microsoft.com/office/drawing/2014/main" id="{474FF6D2-3290-8A26-EBBD-2384236A0AC9}"/>
              </a:ext>
            </a:extLst>
          </p:cNvPr>
          <p:cNvSpPr>
            <a:spLocks noGrp="1"/>
          </p:cNvSpPr>
          <p:nvPr>
            <p:ph type="body" sz="quarter" idx="16"/>
          </p:nvPr>
        </p:nvSpPr>
        <p:spPr>
          <a:xfrm>
            <a:off x="415596" y="2255839"/>
            <a:ext cx="3529013" cy="26035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1D139026-EAAA-2FCA-45F0-B33EBEDB6A5E}"/>
              </a:ext>
            </a:extLst>
          </p:cNvPr>
          <p:cNvSpPr>
            <a:spLocks noGrp="1"/>
          </p:cNvSpPr>
          <p:nvPr>
            <p:ph sz="quarter" idx="24" hasCustomPrompt="1"/>
          </p:nvPr>
        </p:nvSpPr>
        <p:spPr>
          <a:xfrm>
            <a:off x="5243514" y="462506"/>
            <a:ext cx="6440487" cy="5633495"/>
          </a:xfrm>
        </p:spPr>
        <p:txBody>
          <a:bodyPr>
            <a:noAutofit/>
          </a:bodyPr>
          <a:lstStyle>
            <a:lvl1pPr>
              <a:defRPr>
                <a:solidFill>
                  <a:schemeClr val="tx2">
                    <a:alpha val="0"/>
                  </a:schemeClr>
                </a:solidFill>
              </a:defRPr>
            </a:lvl1pPr>
            <a:lvl2pPr>
              <a:defRPr>
                <a:solidFill>
                  <a:schemeClr val="tx2">
                    <a:alpha val="0"/>
                  </a:schemeClr>
                </a:solidFill>
              </a:defRPr>
            </a:lvl2pPr>
            <a:lvl3pPr>
              <a:defRPr>
                <a:solidFill>
                  <a:schemeClr val="tx2">
                    <a:alpha val="0"/>
                  </a:schemeClr>
                </a:solidFill>
              </a:defRPr>
            </a:lvl3pPr>
            <a:lvl4pPr>
              <a:defRPr>
                <a:solidFill>
                  <a:schemeClr val="tx2">
                    <a:alpha val="0"/>
                  </a:schemeClr>
                </a:solidFill>
              </a:defRPr>
            </a:lvl4pPr>
            <a:lvl5pPr>
              <a:defRPr>
                <a:solidFill>
                  <a:schemeClr val="tx2">
                    <a:alpha val="0"/>
                  </a:schemeClr>
                </a:solidFill>
              </a:defRPr>
            </a:lvl5pPr>
          </a:lstStyle>
          <a:p>
            <a:pPr lvl="0"/>
            <a:r>
              <a:rPr lang="en-US"/>
              <a:t>x</a:t>
            </a:r>
          </a:p>
        </p:txBody>
      </p:sp>
      <p:sp>
        <p:nvSpPr>
          <p:cNvPr id="12" name="Text Placeholder 44">
            <a:extLst>
              <a:ext uri="{FF2B5EF4-FFF2-40B4-BE49-F238E27FC236}">
                <a16:creationId xmlns:a16="http://schemas.microsoft.com/office/drawing/2014/main" id="{5B249229-5627-126E-D820-6C5B93DFC4AF}"/>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rgbClr val="3D3F48"/>
                </a:solidFill>
              </a:defRPr>
            </a:lvl1pPr>
            <a:lvl2pPr marL="0" indent="0">
              <a:buNone/>
              <a:defRPr/>
            </a:lvl2pPr>
          </a:lstStyle>
          <a:p>
            <a:pPr lvl="0"/>
            <a:r>
              <a:rPr lang="en-US"/>
              <a:t>Add footnotes here if needed</a:t>
            </a:r>
          </a:p>
        </p:txBody>
      </p:sp>
      <p:pic>
        <p:nvPicPr>
          <p:cNvPr id="3" name="Google Shape;959;g28b48f0dcfc_0_664" descr="A blurry image of a colorful background&#10;&#10;Description automatically generated">
            <a:extLst>
              <a:ext uri="{FF2B5EF4-FFF2-40B4-BE49-F238E27FC236}">
                <a16:creationId xmlns:a16="http://schemas.microsoft.com/office/drawing/2014/main" id="{00C0E08D-F834-1808-EFF6-904E8720440E}"/>
              </a:ext>
            </a:extLst>
          </p:cNvPr>
          <p:cNvPicPr preferRelativeResize="0"/>
          <p:nvPr userDrawn="1"/>
        </p:nvPicPr>
        <p:blipFill rotWithShape="1">
          <a:blip r:embed="rId2">
            <a:alphaModFix/>
          </a:blip>
          <a:srcRect b="97900"/>
          <a:stretch/>
        </p:blipFill>
        <p:spPr>
          <a:xfrm>
            <a:off x="2" y="-19341"/>
            <a:ext cx="12191999" cy="144015"/>
          </a:xfrm>
          <a:prstGeom prst="rect">
            <a:avLst/>
          </a:prstGeom>
          <a:noFill/>
          <a:ln>
            <a:noFill/>
          </a:ln>
        </p:spPr>
      </p:pic>
    </p:spTree>
    <p:extLst>
      <p:ext uri="{BB962C8B-B14F-4D97-AF65-F5344CB8AC3E}">
        <p14:creationId xmlns:p14="http://schemas.microsoft.com/office/powerpoint/2010/main" val="22647404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DO NOT USE - INSTRUCTIONAL 4">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3F3F73B-5A7E-8BBE-68A8-9BD49B10A6BC}"/>
              </a:ext>
            </a:extLst>
          </p:cNvPr>
          <p:cNvSpPr>
            <a:spLocks noGrp="1"/>
          </p:cNvSpPr>
          <p:nvPr>
            <p:ph type="ftr" sz="quarter" idx="11"/>
          </p:nvPr>
        </p:nvSpPr>
        <p:spPr>
          <a:xfrm>
            <a:off x="10447173" y="6356351"/>
            <a:ext cx="956004" cy="365125"/>
          </a:xfrm>
          <a:prstGeom prst="rect">
            <a:avLst/>
          </a:prstGeom>
        </p:spPr>
        <p:txBody>
          <a:bodyPr/>
          <a:lstStyle/>
          <a:p>
            <a:r>
              <a:rPr lang="en-US"/>
              <a:t>© Commvault 2024</a:t>
            </a:r>
          </a:p>
        </p:txBody>
      </p:sp>
      <p:sp>
        <p:nvSpPr>
          <p:cNvPr id="4" name="Slide Number Placeholder 3">
            <a:extLst>
              <a:ext uri="{FF2B5EF4-FFF2-40B4-BE49-F238E27FC236}">
                <a16:creationId xmlns:a16="http://schemas.microsoft.com/office/drawing/2014/main" id="{D481AB5E-0FD8-E0D0-B848-CE488AFA1733}"/>
              </a:ext>
            </a:extLst>
          </p:cNvPr>
          <p:cNvSpPr>
            <a:spLocks noGrp="1"/>
          </p:cNvSpPr>
          <p:nvPr>
            <p:ph type="sldNum" sz="quarter" idx="12"/>
          </p:nvPr>
        </p:nvSpPr>
        <p:spPr/>
        <p:txBody>
          <a:bodyPr/>
          <a:lstStyle/>
          <a:p>
            <a:fld id="{71676EBD-8486-AA4B-82C3-0598DF1E43FA}" type="slidenum">
              <a:rPr lang="en-US" smtClean="0"/>
              <a:t>‹Nr.›</a:t>
            </a:fld>
            <a:endParaRPr lang="en-US"/>
          </a:p>
        </p:txBody>
      </p:sp>
      <p:sp>
        <p:nvSpPr>
          <p:cNvPr id="5" name="Rectangle 4">
            <a:extLst>
              <a:ext uri="{FF2B5EF4-FFF2-40B4-BE49-F238E27FC236}">
                <a16:creationId xmlns:a16="http://schemas.microsoft.com/office/drawing/2014/main" id="{CB32733C-E917-A5A6-1594-5B360FC1919B}"/>
              </a:ext>
            </a:extLst>
          </p:cNvPr>
          <p:cNvSpPr/>
          <p:nvPr userDrawn="1"/>
        </p:nvSpPr>
        <p:spPr>
          <a:xfrm>
            <a:off x="0" y="0"/>
            <a:ext cx="12192000"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 name="TextBox 5">
            <a:extLst>
              <a:ext uri="{FF2B5EF4-FFF2-40B4-BE49-F238E27FC236}">
                <a16:creationId xmlns:a16="http://schemas.microsoft.com/office/drawing/2014/main" id="{6803F741-5B4D-49EC-3B06-5F25CE645285}"/>
              </a:ext>
            </a:extLst>
          </p:cNvPr>
          <p:cNvSpPr txBox="1"/>
          <p:nvPr userDrawn="1"/>
        </p:nvSpPr>
        <p:spPr>
          <a:xfrm>
            <a:off x="415597" y="476250"/>
            <a:ext cx="9315449" cy="1200329"/>
          </a:xfrm>
          <a:prstGeom prst="rect">
            <a:avLst/>
          </a:prstGeom>
          <a:noFill/>
        </p:spPr>
        <p:txBody>
          <a:bodyPr wrap="square" rtlCol="0">
            <a:spAutoFit/>
          </a:bodyPr>
          <a:lstStyle/>
          <a:p>
            <a:r>
              <a:rPr lang="en-US" sz="3200">
                <a:solidFill>
                  <a:schemeClr val="bg1"/>
                </a:solidFill>
              </a:rPr>
              <a:t>THIS IS AN INSTRUCTIONAL SLIDE </a:t>
            </a:r>
          </a:p>
          <a:p>
            <a:r>
              <a:rPr lang="en-US" sz="4000" b="1">
                <a:solidFill>
                  <a:schemeClr val="bg1"/>
                </a:solidFill>
              </a:rPr>
              <a:t>DO NOT USE</a:t>
            </a:r>
            <a:endParaRPr lang="en-US" sz="3200" b="1">
              <a:solidFill>
                <a:schemeClr val="bg1"/>
              </a:solidFill>
            </a:endParaRPr>
          </a:p>
        </p:txBody>
      </p:sp>
      <p:sp>
        <p:nvSpPr>
          <p:cNvPr id="7" name="TextBox 6">
            <a:extLst>
              <a:ext uri="{FF2B5EF4-FFF2-40B4-BE49-F238E27FC236}">
                <a16:creationId xmlns:a16="http://schemas.microsoft.com/office/drawing/2014/main" id="{6BFEBCAE-B9C3-7526-64F5-463C81DE63A2}"/>
              </a:ext>
            </a:extLst>
          </p:cNvPr>
          <p:cNvSpPr txBox="1"/>
          <p:nvPr userDrawn="1"/>
        </p:nvSpPr>
        <p:spPr>
          <a:xfrm>
            <a:off x="329871" y="2451409"/>
            <a:ext cx="10595304" cy="3631763"/>
          </a:xfrm>
          <a:prstGeom prst="rect">
            <a:avLst/>
          </a:prstGeom>
          <a:noFill/>
        </p:spPr>
        <p:txBody>
          <a:bodyPr wrap="square" rtlCol="0">
            <a:spAutoFit/>
          </a:bodyPr>
          <a:lstStyle/>
          <a:p>
            <a:r>
              <a:rPr lang="en-US" sz="11500">
                <a:solidFill>
                  <a:schemeClr val="bg1"/>
                </a:solidFill>
              </a:rPr>
              <a:t>Model Slide</a:t>
            </a:r>
          </a:p>
          <a:p>
            <a:r>
              <a:rPr lang="en-US" sz="11500">
                <a:solidFill>
                  <a:schemeClr val="bg1"/>
                </a:solidFill>
              </a:rPr>
              <a:t>Options</a:t>
            </a:r>
            <a:endParaRPr lang="en-US" sz="11500" b="1">
              <a:solidFill>
                <a:schemeClr val="bg1"/>
              </a:solidFill>
            </a:endParaRPr>
          </a:p>
        </p:txBody>
      </p:sp>
    </p:spTree>
    <p:extLst>
      <p:ext uri="{BB962C8B-B14F-4D97-AF65-F5344CB8AC3E}">
        <p14:creationId xmlns:p14="http://schemas.microsoft.com/office/powerpoint/2010/main" val="40764897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Picture Placeholder 12">
            <a:extLst>
              <a:ext uri="{FF2B5EF4-FFF2-40B4-BE49-F238E27FC236}">
                <a16:creationId xmlns:a16="http://schemas.microsoft.com/office/drawing/2014/main" id="{89B1B248-A735-47D1-B4C1-3A68BF1C71FD}"/>
              </a:ext>
            </a:extLst>
          </p:cNvPr>
          <p:cNvSpPr>
            <a:spLocks noGrp="1"/>
          </p:cNvSpPr>
          <p:nvPr>
            <p:ph type="pic" sz="quarter" idx="13" hasCustomPrompt="1"/>
          </p:nvPr>
        </p:nvSpPr>
        <p:spPr>
          <a:xfrm>
            <a:off x="0" y="0"/>
            <a:ext cx="12192000" cy="6858000"/>
          </a:xfrm>
          <a:prstGeom prst="rect">
            <a:avLst/>
          </a:prstGeom>
        </p:spPr>
        <p:txBody>
          <a:bodyPr wrap="square" anchor="ctr">
            <a:noAutofit/>
          </a:bodyPr>
          <a:lstStyle>
            <a:lvl1pPr algn="ctr">
              <a:defRPr>
                <a:solidFill>
                  <a:schemeClr val="bg2"/>
                </a:solidFill>
              </a:defRPr>
            </a:lvl1pPr>
          </a:lstStyle>
          <a:p>
            <a:r>
              <a:rPr lang="en-US"/>
              <a:t>Click to place image</a:t>
            </a:r>
          </a:p>
        </p:txBody>
      </p:sp>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p>
            <a:fld id="{71676EBD-8486-AA4B-82C3-0598DF1E43FA}" type="slidenum">
              <a:rPr lang="en-US" smtClean="0"/>
              <a:pPr/>
              <a:t>‹Nr.›</a:t>
            </a:fld>
            <a:endParaRPr lang="en-US"/>
          </a:p>
        </p:txBody>
      </p:sp>
      <p:sp>
        <p:nvSpPr>
          <p:cNvPr id="3" name="Text Placeholder 44">
            <a:extLst>
              <a:ext uri="{FF2B5EF4-FFF2-40B4-BE49-F238E27FC236}">
                <a16:creationId xmlns:a16="http://schemas.microsoft.com/office/drawing/2014/main" id="{360006CA-0D38-ABAC-6EB7-8EEE165A6B7A}"/>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rgbClr val="3D3F48"/>
                </a:solidFill>
              </a:defRPr>
            </a:lvl1pPr>
            <a:lvl2pPr marL="0" indent="0">
              <a:buNone/>
              <a:defRPr/>
            </a:lvl2pPr>
          </a:lstStyle>
          <a:p>
            <a:pPr lvl="0"/>
            <a:r>
              <a:rPr lang="en-US"/>
              <a:t>Add footnotes here if needed</a:t>
            </a:r>
          </a:p>
        </p:txBody>
      </p:sp>
    </p:spTree>
    <p:extLst>
      <p:ext uri="{BB962C8B-B14F-4D97-AF65-F5344CB8AC3E}">
        <p14:creationId xmlns:p14="http://schemas.microsoft.com/office/powerpoint/2010/main" val="34326202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38E6E34-12C9-7A12-0A26-DD51395710BF}"/>
              </a:ext>
            </a:extLst>
          </p:cNvPr>
          <p:cNvSpPr>
            <a:spLocks noGrp="1"/>
          </p:cNvSpPr>
          <p:nvPr>
            <p:ph type="pic" sz="quarter" idx="25" hasCustomPrompt="1"/>
          </p:nvPr>
        </p:nvSpPr>
        <p:spPr>
          <a:xfrm>
            <a:off x="5248275" y="0"/>
            <a:ext cx="6943725" cy="6858000"/>
          </a:xfrm>
        </p:spPr>
        <p:txBody>
          <a:bodyPr anchor="ctr"/>
          <a:lstStyle>
            <a:lvl1pPr algn="ctr">
              <a:defRPr>
                <a:solidFill>
                  <a:schemeClr val="bg2"/>
                </a:solidFill>
              </a:defRPr>
            </a:lvl1pPr>
          </a:lstStyle>
          <a:p>
            <a:r>
              <a:rPr lang="en-US"/>
              <a:t>Click to place image</a:t>
            </a:r>
          </a:p>
        </p:txBody>
      </p:sp>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p>
            <a:fld id="{71676EBD-8486-AA4B-82C3-0598DF1E43FA}" type="slidenum">
              <a:rPr lang="en-US" smtClean="0"/>
              <a:pPr/>
              <a:t>‹Nr.›</a:t>
            </a:fld>
            <a:endParaRPr lang="en-US"/>
          </a:p>
        </p:txBody>
      </p:sp>
      <p:sp>
        <p:nvSpPr>
          <p:cNvPr id="6" name="Title 11">
            <a:extLst>
              <a:ext uri="{FF2B5EF4-FFF2-40B4-BE49-F238E27FC236}">
                <a16:creationId xmlns:a16="http://schemas.microsoft.com/office/drawing/2014/main" id="{E546389F-2B14-82F6-DA6A-5C1047705085}"/>
              </a:ext>
            </a:extLst>
          </p:cNvPr>
          <p:cNvSpPr>
            <a:spLocks noGrp="1"/>
          </p:cNvSpPr>
          <p:nvPr>
            <p:ph type="title" hasCustomPrompt="1"/>
          </p:nvPr>
        </p:nvSpPr>
        <p:spPr>
          <a:xfrm>
            <a:off x="415598" y="2251549"/>
            <a:ext cx="4215711" cy="1107996"/>
          </a:xfrm>
        </p:spPr>
        <p:txBody>
          <a:bodyPr wrap="square" anchor="t" anchorCtr="0">
            <a:spAutoFit/>
          </a:bodyPr>
          <a:lstStyle>
            <a:lvl1pPr>
              <a:defRPr>
                <a:solidFill>
                  <a:schemeClr val="tx1"/>
                </a:solidFill>
              </a:defRPr>
            </a:lvl1pPr>
          </a:lstStyle>
          <a:p>
            <a:r>
              <a:rPr lang="en-US"/>
              <a:t>Click to </a:t>
            </a:r>
            <a:br>
              <a:rPr lang="en-US"/>
            </a:br>
            <a:r>
              <a:rPr lang="en-US"/>
              <a:t>Edit Title</a:t>
            </a:r>
          </a:p>
        </p:txBody>
      </p:sp>
      <p:sp>
        <p:nvSpPr>
          <p:cNvPr id="2" name="Text Placeholder 6">
            <a:extLst>
              <a:ext uri="{FF2B5EF4-FFF2-40B4-BE49-F238E27FC236}">
                <a16:creationId xmlns:a16="http://schemas.microsoft.com/office/drawing/2014/main" id="{17961B22-FE7C-C496-3E9D-BAD665140124}"/>
              </a:ext>
            </a:extLst>
          </p:cNvPr>
          <p:cNvSpPr>
            <a:spLocks noGrp="1"/>
          </p:cNvSpPr>
          <p:nvPr>
            <p:ph type="body" sz="quarter" idx="13" hasCustomPrompt="1"/>
          </p:nvPr>
        </p:nvSpPr>
        <p:spPr>
          <a:xfrm>
            <a:off x="415926" y="1858776"/>
            <a:ext cx="4215711" cy="193899"/>
          </a:xfrm>
        </p:spPr>
        <p:txBody>
          <a:bodyPr anchor="t" anchorCtr="0">
            <a:noAutofit/>
          </a:bodyPr>
          <a:lstStyle>
            <a:lvl1pPr marL="0" indent="0">
              <a:buNone/>
              <a:defRPr sz="1400" b="1" cap="all" baseline="0">
                <a:solidFill>
                  <a:schemeClr val="tx1"/>
                </a:solidFill>
              </a:defRPr>
            </a:lvl1pPr>
            <a:lvl4pPr marL="1371566" indent="0">
              <a:buNone/>
              <a:defRPr/>
            </a:lvl4pPr>
          </a:lstStyle>
          <a:p>
            <a:pPr lvl="0"/>
            <a:r>
              <a:rPr lang="en-US"/>
              <a:t>Click to add headline strap</a:t>
            </a:r>
          </a:p>
        </p:txBody>
      </p:sp>
      <p:sp>
        <p:nvSpPr>
          <p:cNvPr id="5" name="Text Placeholder 44">
            <a:extLst>
              <a:ext uri="{FF2B5EF4-FFF2-40B4-BE49-F238E27FC236}">
                <a16:creationId xmlns:a16="http://schemas.microsoft.com/office/drawing/2014/main" id="{61C5CD4C-1FCB-0809-E148-5C29BBE0FCE6}"/>
              </a:ext>
            </a:extLst>
          </p:cNvPr>
          <p:cNvSpPr>
            <a:spLocks noGrp="1"/>
          </p:cNvSpPr>
          <p:nvPr>
            <p:ph type="body" sz="quarter" idx="23" hasCustomPrompt="1"/>
          </p:nvPr>
        </p:nvSpPr>
        <p:spPr>
          <a:xfrm>
            <a:off x="2037521" y="6364123"/>
            <a:ext cx="3104227" cy="283368"/>
          </a:xfrm>
        </p:spPr>
        <p:txBody>
          <a:bodyPr anchor="ctr">
            <a:noAutofit/>
          </a:bodyPr>
          <a:lstStyle>
            <a:lvl1pPr>
              <a:spcAft>
                <a:spcPts val="0"/>
              </a:spcAft>
              <a:defRPr sz="800" b="0">
                <a:solidFill>
                  <a:srgbClr val="3D3F48"/>
                </a:solidFill>
              </a:defRPr>
            </a:lvl1pPr>
            <a:lvl2pPr marL="0" indent="0">
              <a:buNone/>
              <a:defRPr/>
            </a:lvl2pPr>
          </a:lstStyle>
          <a:p>
            <a:pPr lvl="0"/>
            <a:r>
              <a:rPr lang="en-US"/>
              <a:t>Add footnotes here if needed</a:t>
            </a:r>
          </a:p>
        </p:txBody>
      </p:sp>
    </p:spTree>
    <p:extLst>
      <p:ext uri="{BB962C8B-B14F-4D97-AF65-F5344CB8AC3E}">
        <p14:creationId xmlns:p14="http://schemas.microsoft.com/office/powerpoint/2010/main" val="18765983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982F988-EDAA-7031-E984-734D881713DB}"/>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E31A4304-E414-F9F7-C80B-119878B755F7}"/>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a:extLst>
              <a:ext uri="{FF2B5EF4-FFF2-40B4-BE49-F238E27FC236}">
                <a16:creationId xmlns:a16="http://schemas.microsoft.com/office/drawing/2014/main" id="{3FD3A235-BF72-77E5-61E8-094820755105}"/>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a:extLst>
              <a:ext uri="{FF2B5EF4-FFF2-40B4-BE49-F238E27FC236}">
                <a16:creationId xmlns:a16="http://schemas.microsoft.com/office/drawing/2014/main" id="{5B38D301-7525-CDF3-F23F-E97D614840C2}"/>
              </a:ext>
            </a:extLst>
          </p:cNvPr>
          <p:cNvSpPr>
            <a:spLocks noGrp="1"/>
          </p:cNvSpPr>
          <p:nvPr>
            <p:ph type="dt" sz="half" idx="10"/>
          </p:nvPr>
        </p:nvSpPr>
        <p:spPr/>
        <p:txBody>
          <a:bodyPr/>
          <a:lstStyle/>
          <a:p>
            <a:fld id="{D0A8EAAB-0451-F345-AAE8-903E658FFCB4}" type="datetimeFigureOut">
              <a:rPr lang="es-ES" smtClean="0"/>
              <a:t>26/04/2026</a:t>
            </a:fld>
            <a:endParaRPr lang="es-ES"/>
          </a:p>
        </p:txBody>
      </p:sp>
      <p:sp>
        <p:nvSpPr>
          <p:cNvPr id="6" name="Marcador de pie de página 5">
            <a:extLst>
              <a:ext uri="{FF2B5EF4-FFF2-40B4-BE49-F238E27FC236}">
                <a16:creationId xmlns:a16="http://schemas.microsoft.com/office/drawing/2014/main" id="{352D716E-73E0-6DCB-2285-EB0178A14744}"/>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FFC01093-D0F3-A0A5-9295-47970B78389F}"/>
              </a:ext>
            </a:extLst>
          </p:cNvPr>
          <p:cNvSpPr>
            <a:spLocks noGrp="1"/>
          </p:cNvSpPr>
          <p:nvPr>
            <p:ph type="sldNum" sz="quarter" idx="12"/>
          </p:nvPr>
        </p:nvSpPr>
        <p:spPr/>
        <p:txBody>
          <a:bodyPr/>
          <a:lstStyle/>
          <a:p>
            <a:fld id="{C5C9C0E2-798D-424A-9802-04B7FA7A38FE}" type="slidenum">
              <a:rPr lang="es-ES" smtClean="0"/>
              <a:t>‹Nr.›</a:t>
            </a:fld>
            <a:endParaRPr lang="es-ES"/>
          </a:p>
        </p:txBody>
      </p:sp>
    </p:spTree>
    <p:extLst>
      <p:ext uri="{BB962C8B-B14F-4D97-AF65-F5344CB8AC3E}">
        <p14:creationId xmlns:p14="http://schemas.microsoft.com/office/powerpoint/2010/main" val="7319331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ext - Screen Placehol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A1F67BB-5FC1-0087-CE7D-70801ADA196C}"/>
              </a:ext>
            </a:extLst>
          </p:cNvPr>
          <p:cNvSpPr>
            <a:spLocks/>
          </p:cNvSpPr>
          <p:nvPr userDrawn="1"/>
        </p:nvSpPr>
        <p:spPr>
          <a:xfrm>
            <a:off x="6191250" y="0"/>
            <a:ext cx="6000751" cy="6858000"/>
          </a:xfrm>
          <a:prstGeom prst="rect">
            <a:avLst/>
          </a:prstGeom>
          <a:solidFill>
            <a:srgbClr val="0002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grpSp>
        <p:nvGrpSpPr>
          <p:cNvPr id="7" name="Group 6">
            <a:extLst>
              <a:ext uri="{FF2B5EF4-FFF2-40B4-BE49-F238E27FC236}">
                <a16:creationId xmlns:a16="http://schemas.microsoft.com/office/drawing/2014/main" id="{3ADEC4AA-2766-91DB-ED3A-5886AA47DA95}"/>
              </a:ext>
            </a:extLst>
          </p:cNvPr>
          <p:cNvGrpSpPr/>
          <p:nvPr userDrawn="1"/>
        </p:nvGrpSpPr>
        <p:grpSpPr>
          <a:xfrm>
            <a:off x="5112464" y="714376"/>
            <a:ext cx="6593219" cy="5114925"/>
            <a:chOff x="5112464" y="714375"/>
            <a:chExt cx="6593218" cy="5114925"/>
          </a:xfrm>
        </p:grpSpPr>
        <p:sp>
          <p:nvSpPr>
            <p:cNvPr id="9" name="Freeform 8">
              <a:extLst>
                <a:ext uri="{FF2B5EF4-FFF2-40B4-BE49-F238E27FC236}">
                  <a16:creationId xmlns:a16="http://schemas.microsoft.com/office/drawing/2014/main" id="{22A6DEF5-DAF9-F9CA-3614-3DE55A4C4FB8}"/>
                </a:ext>
              </a:extLst>
            </p:cNvPr>
            <p:cNvSpPr/>
            <p:nvPr userDrawn="1"/>
          </p:nvSpPr>
          <p:spPr>
            <a:xfrm>
              <a:off x="5112464" y="714375"/>
              <a:ext cx="6593218" cy="5114925"/>
            </a:xfrm>
            <a:custGeom>
              <a:avLst/>
              <a:gdLst>
                <a:gd name="connsiteX0" fmla="*/ 130529 w 6593218"/>
                <a:gd name="connsiteY0" fmla="*/ 457199 h 5114925"/>
                <a:gd name="connsiteX1" fmla="*/ 130529 w 6593218"/>
                <a:gd name="connsiteY1" fmla="*/ 4967286 h 5114925"/>
                <a:gd name="connsiteX2" fmla="*/ 6462690 w 6593218"/>
                <a:gd name="connsiteY2" fmla="*/ 4967286 h 5114925"/>
                <a:gd name="connsiteX3" fmla="*/ 6462690 w 6593218"/>
                <a:gd name="connsiteY3" fmla="*/ 457199 h 5114925"/>
                <a:gd name="connsiteX4" fmla="*/ 77235 w 6593218"/>
                <a:gd name="connsiteY4" fmla="*/ 0 h 5114925"/>
                <a:gd name="connsiteX5" fmla="*/ 6515983 w 6593218"/>
                <a:gd name="connsiteY5" fmla="*/ 0 h 5114925"/>
                <a:gd name="connsiteX6" fmla="*/ 6593218 w 6593218"/>
                <a:gd name="connsiteY6" fmla="*/ 77235 h 5114925"/>
                <a:gd name="connsiteX7" fmla="*/ 6593218 w 6593218"/>
                <a:gd name="connsiteY7" fmla="*/ 5037690 h 5114925"/>
                <a:gd name="connsiteX8" fmla="*/ 6515983 w 6593218"/>
                <a:gd name="connsiteY8" fmla="*/ 5114925 h 5114925"/>
                <a:gd name="connsiteX9" fmla="*/ 77235 w 6593218"/>
                <a:gd name="connsiteY9" fmla="*/ 5114925 h 5114925"/>
                <a:gd name="connsiteX10" fmla="*/ 0 w 6593218"/>
                <a:gd name="connsiteY10" fmla="*/ 5037690 h 5114925"/>
                <a:gd name="connsiteX11" fmla="*/ 0 w 6593218"/>
                <a:gd name="connsiteY11" fmla="*/ 77235 h 5114925"/>
                <a:gd name="connsiteX12" fmla="*/ 77235 w 6593218"/>
                <a:gd name="connsiteY12" fmla="*/ 0 h 511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3218" h="5114925">
                  <a:moveTo>
                    <a:pt x="130529" y="457199"/>
                  </a:moveTo>
                  <a:lnTo>
                    <a:pt x="130529" y="4967286"/>
                  </a:lnTo>
                  <a:lnTo>
                    <a:pt x="6462690" y="4967286"/>
                  </a:lnTo>
                  <a:lnTo>
                    <a:pt x="6462690" y="457199"/>
                  </a:lnTo>
                  <a:close/>
                  <a:moveTo>
                    <a:pt x="77235" y="0"/>
                  </a:moveTo>
                  <a:lnTo>
                    <a:pt x="6515983" y="0"/>
                  </a:lnTo>
                  <a:cubicBezTo>
                    <a:pt x="6558639" y="0"/>
                    <a:pt x="6593218" y="34579"/>
                    <a:pt x="6593218" y="77235"/>
                  </a:cubicBezTo>
                  <a:lnTo>
                    <a:pt x="6593218" y="5037690"/>
                  </a:lnTo>
                  <a:cubicBezTo>
                    <a:pt x="6593218" y="5080346"/>
                    <a:pt x="6558639" y="5114925"/>
                    <a:pt x="6515983" y="5114925"/>
                  </a:cubicBezTo>
                  <a:lnTo>
                    <a:pt x="77235" y="5114925"/>
                  </a:lnTo>
                  <a:cubicBezTo>
                    <a:pt x="34579" y="5114925"/>
                    <a:pt x="0" y="5080346"/>
                    <a:pt x="0" y="5037690"/>
                  </a:cubicBezTo>
                  <a:lnTo>
                    <a:pt x="0" y="77235"/>
                  </a:lnTo>
                  <a:cubicBezTo>
                    <a:pt x="0" y="34579"/>
                    <a:pt x="34579" y="0"/>
                    <a:pt x="77235" y="0"/>
                  </a:cubicBezTo>
                  <a:close/>
                </a:path>
              </a:pathLst>
            </a:custGeom>
            <a:solidFill>
              <a:srgbClr val="EAEAE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sz="1400"/>
                <a:t> </a:t>
              </a:r>
            </a:p>
          </p:txBody>
        </p:sp>
        <p:sp>
          <p:nvSpPr>
            <p:cNvPr id="12" name="Oval 11">
              <a:extLst>
                <a:ext uri="{FF2B5EF4-FFF2-40B4-BE49-F238E27FC236}">
                  <a16:creationId xmlns:a16="http://schemas.microsoft.com/office/drawing/2014/main" id="{7475A499-47D0-C063-332F-986EBD4A79CB}"/>
                </a:ext>
              </a:extLst>
            </p:cNvPr>
            <p:cNvSpPr/>
            <p:nvPr userDrawn="1"/>
          </p:nvSpPr>
          <p:spPr>
            <a:xfrm>
              <a:off x="5294051" y="904339"/>
              <a:ext cx="129208" cy="129208"/>
            </a:xfrm>
            <a:prstGeom prst="ellipse">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3" name="Oval 12">
              <a:extLst>
                <a:ext uri="{FF2B5EF4-FFF2-40B4-BE49-F238E27FC236}">
                  <a16:creationId xmlns:a16="http://schemas.microsoft.com/office/drawing/2014/main" id="{A3D07342-8EB7-FF41-E5CF-39DDBD220AF3}"/>
                </a:ext>
              </a:extLst>
            </p:cNvPr>
            <p:cNvSpPr/>
            <p:nvPr userDrawn="1"/>
          </p:nvSpPr>
          <p:spPr>
            <a:xfrm>
              <a:off x="5478678" y="904339"/>
              <a:ext cx="129208" cy="129208"/>
            </a:xfrm>
            <a:prstGeom prst="ellipse">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4" name="Oval 13">
              <a:extLst>
                <a:ext uri="{FF2B5EF4-FFF2-40B4-BE49-F238E27FC236}">
                  <a16:creationId xmlns:a16="http://schemas.microsoft.com/office/drawing/2014/main" id="{A460C207-1E9A-5265-B2D7-7EFAA6B8A939}"/>
                </a:ext>
              </a:extLst>
            </p:cNvPr>
            <p:cNvSpPr/>
            <p:nvPr userDrawn="1"/>
          </p:nvSpPr>
          <p:spPr>
            <a:xfrm>
              <a:off x="5653365" y="904339"/>
              <a:ext cx="129208" cy="129208"/>
            </a:xfrm>
            <a:prstGeom prst="ellips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lvl1pPr>
              <a:defRPr>
                <a:solidFill>
                  <a:schemeClr val="bg1"/>
                </a:solidFill>
              </a:defRPr>
            </a:lvl1p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lvl1pPr>
              <a:defRPr>
                <a:solidFill>
                  <a:schemeClr val="bg1"/>
                </a:solidFill>
              </a:defRPr>
            </a:lvl1pPr>
          </a:lstStyle>
          <a:p>
            <a:fld id="{71676EBD-8486-AA4B-82C3-0598DF1E43FA}" type="slidenum">
              <a:rPr lang="en-US" smtClean="0"/>
              <a:pPr/>
              <a:t>‹Nr.›</a:t>
            </a:fld>
            <a:endParaRPr lang="en-US"/>
          </a:p>
        </p:txBody>
      </p:sp>
      <p:sp>
        <p:nvSpPr>
          <p:cNvPr id="6" name="Title 11">
            <a:extLst>
              <a:ext uri="{FF2B5EF4-FFF2-40B4-BE49-F238E27FC236}">
                <a16:creationId xmlns:a16="http://schemas.microsoft.com/office/drawing/2014/main" id="{E546389F-2B14-82F6-DA6A-5C1047705085}"/>
              </a:ext>
            </a:extLst>
          </p:cNvPr>
          <p:cNvSpPr>
            <a:spLocks noGrp="1"/>
          </p:cNvSpPr>
          <p:nvPr>
            <p:ph type="title" hasCustomPrompt="1"/>
          </p:nvPr>
        </p:nvSpPr>
        <p:spPr>
          <a:xfrm>
            <a:off x="415598" y="2251549"/>
            <a:ext cx="4215711" cy="1107996"/>
          </a:xfrm>
        </p:spPr>
        <p:txBody>
          <a:bodyPr wrap="square" anchor="t" anchorCtr="0">
            <a:spAutoFit/>
          </a:bodyPr>
          <a:lstStyle>
            <a:lvl1pPr>
              <a:defRPr>
                <a:solidFill>
                  <a:schemeClr val="tx1"/>
                </a:solidFill>
              </a:defRPr>
            </a:lvl1pPr>
          </a:lstStyle>
          <a:p>
            <a:r>
              <a:rPr lang="en-US"/>
              <a:t>Click to </a:t>
            </a:r>
            <a:br>
              <a:rPr lang="en-US"/>
            </a:br>
            <a:r>
              <a:rPr lang="en-US"/>
              <a:t>Edit Title</a:t>
            </a:r>
          </a:p>
        </p:txBody>
      </p:sp>
      <p:sp>
        <p:nvSpPr>
          <p:cNvPr id="2" name="Text Placeholder 6">
            <a:extLst>
              <a:ext uri="{FF2B5EF4-FFF2-40B4-BE49-F238E27FC236}">
                <a16:creationId xmlns:a16="http://schemas.microsoft.com/office/drawing/2014/main" id="{17961B22-FE7C-C496-3E9D-BAD665140124}"/>
              </a:ext>
            </a:extLst>
          </p:cNvPr>
          <p:cNvSpPr>
            <a:spLocks noGrp="1"/>
          </p:cNvSpPr>
          <p:nvPr>
            <p:ph type="body" sz="quarter" idx="13" hasCustomPrompt="1"/>
          </p:nvPr>
        </p:nvSpPr>
        <p:spPr>
          <a:xfrm>
            <a:off x="415926" y="1858776"/>
            <a:ext cx="4215711" cy="193899"/>
          </a:xfrm>
        </p:spPr>
        <p:txBody>
          <a:bodyPr anchor="t" anchorCtr="0">
            <a:noAutofit/>
          </a:bodyPr>
          <a:lstStyle>
            <a:lvl1pPr marL="0" indent="0">
              <a:buNone/>
              <a:defRPr sz="1400" b="1" cap="all" baseline="0">
                <a:solidFill>
                  <a:schemeClr val="tx1"/>
                </a:solidFill>
              </a:defRPr>
            </a:lvl1pPr>
            <a:lvl4pPr marL="1371566" indent="0">
              <a:buNone/>
              <a:defRPr/>
            </a:lvl4pPr>
          </a:lstStyle>
          <a:p>
            <a:pPr lvl="0"/>
            <a:r>
              <a:rPr lang="en-US"/>
              <a:t>Click to add headline strap</a:t>
            </a:r>
          </a:p>
        </p:txBody>
      </p:sp>
      <p:sp>
        <p:nvSpPr>
          <p:cNvPr id="3" name="Text Placeholder 12">
            <a:extLst>
              <a:ext uri="{FF2B5EF4-FFF2-40B4-BE49-F238E27FC236}">
                <a16:creationId xmlns:a16="http://schemas.microsoft.com/office/drawing/2014/main" id="{DF516B3F-4664-935B-BDC5-009ED2586986}"/>
              </a:ext>
            </a:extLst>
          </p:cNvPr>
          <p:cNvSpPr>
            <a:spLocks noGrp="1"/>
          </p:cNvSpPr>
          <p:nvPr>
            <p:ph type="body" sz="quarter" idx="16" hasCustomPrompt="1"/>
          </p:nvPr>
        </p:nvSpPr>
        <p:spPr>
          <a:xfrm>
            <a:off x="415597" y="4441508"/>
            <a:ext cx="3596400" cy="492443"/>
          </a:xfrm>
        </p:spPr>
        <p:txBody>
          <a:bodyPr anchor="b" anchorCtr="0">
            <a:noAutofit/>
          </a:bodyPr>
          <a:lstStyle>
            <a:lvl1pPr>
              <a:defRPr>
                <a:solidFill>
                  <a:schemeClr val="tx1"/>
                </a:solidFill>
              </a:defRPr>
            </a:lvl1pPr>
          </a:lstStyle>
          <a:p>
            <a:pPr lvl="0"/>
            <a:r>
              <a:rPr lang="en-US"/>
              <a:t>Two line text addition to the</a:t>
            </a:r>
            <a:br>
              <a:rPr lang="en-US"/>
            </a:br>
            <a:r>
              <a:rPr lang="en-US"/>
              <a:t>headline and subhead.</a:t>
            </a:r>
          </a:p>
        </p:txBody>
      </p:sp>
      <p:sp>
        <p:nvSpPr>
          <p:cNvPr id="4" name="Text Placeholder 44">
            <a:extLst>
              <a:ext uri="{FF2B5EF4-FFF2-40B4-BE49-F238E27FC236}">
                <a16:creationId xmlns:a16="http://schemas.microsoft.com/office/drawing/2014/main" id="{226355B9-FC6C-3E4E-CB34-3E45D85A0945}"/>
              </a:ext>
            </a:extLst>
          </p:cNvPr>
          <p:cNvSpPr>
            <a:spLocks noGrp="1"/>
          </p:cNvSpPr>
          <p:nvPr>
            <p:ph type="body" sz="quarter" idx="23" hasCustomPrompt="1"/>
          </p:nvPr>
        </p:nvSpPr>
        <p:spPr>
          <a:xfrm>
            <a:off x="2037522" y="6364123"/>
            <a:ext cx="3846443" cy="283368"/>
          </a:xfrm>
        </p:spPr>
        <p:txBody>
          <a:bodyPr anchor="ctr">
            <a:noAutofit/>
          </a:bodyPr>
          <a:lstStyle>
            <a:lvl1pPr>
              <a:spcAft>
                <a:spcPts val="0"/>
              </a:spcAft>
              <a:defRPr sz="800" b="0">
                <a:solidFill>
                  <a:srgbClr val="3D3F48"/>
                </a:solidFill>
              </a:defRPr>
            </a:lvl1pPr>
            <a:lvl2pPr marL="0" indent="0">
              <a:buNone/>
              <a:defRPr/>
            </a:lvl2pPr>
          </a:lstStyle>
          <a:p>
            <a:pPr lvl="0"/>
            <a:r>
              <a:rPr lang="en-US"/>
              <a:t>Add footnotes here if needed</a:t>
            </a:r>
          </a:p>
        </p:txBody>
      </p:sp>
      <p:sp>
        <p:nvSpPr>
          <p:cNvPr id="16" name="Picture Placeholder 9">
            <a:extLst>
              <a:ext uri="{FF2B5EF4-FFF2-40B4-BE49-F238E27FC236}">
                <a16:creationId xmlns:a16="http://schemas.microsoft.com/office/drawing/2014/main" id="{C89E1593-95F4-DFB2-5B46-6949422A2595}"/>
              </a:ext>
            </a:extLst>
          </p:cNvPr>
          <p:cNvSpPr>
            <a:spLocks noGrp="1"/>
          </p:cNvSpPr>
          <p:nvPr>
            <p:ph type="pic" sz="quarter" idx="24" hasCustomPrompt="1"/>
          </p:nvPr>
        </p:nvSpPr>
        <p:spPr>
          <a:xfrm>
            <a:off x="5232069" y="1156137"/>
            <a:ext cx="6344045" cy="4535451"/>
          </a:xfrm>
        </p:spPr>
        <p:txBody>
          <a:bodyPr anchor="ctr">
            <a:noAutofit/>
          </a:bodyPr>
          <a:lstStyle>
            <a:lvl1pPr algn="ctr">
              <a:defRPr>
                <a:solidFill>
                  <a:schemeClr val="bg1"/>
                </a:solidFill>
              </a:defRPr>
            </a:lvl1pPr>
          </a:lstStyle>
          <a:p>
            <a:r>
              <a:rPr lang="en-US"/>
              <a:t>Click to place image</a:t>
            </a:r>
          </a:p>
        </p:txBody>
      </p:sp>
    </p:spTree>
    <p:extLst>
      <p:ext uri="{BB962C8B-B14F-4D97-AF65-F5344CB8AC3E}">
        <p14:creationId xmlns:p14="http://schemas.microsoft.com/office/powerpoint/2010/main" val="13016532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roduc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7E0B07C-5363-0DFD-6C46-5FF23028831B}"/>
              </a:ext>
            </a:extLst>
          </p:cNvPr>
          <p:cNvSpPr>
            <a:spLocks/>
          </p:cNvSpPr>
          <p:nvPr userDrawn="1"/>
        </p:nvSpPr>
        <p:spPr>
          <a:xfrm>
            <a:off x="0" y="0"/>
            <a:ext cx="5053013" cy="6858000"/>
          </a:xfrm>
          <a:prstGeom prst="rect">
            <a:avLst/>
          </a:prstGeom>
          <a:solidFill>
            <a:srgbClr val="0002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lvl1pPr>
              <a:defRPr>
                <a:solidFill>
                  <a:schemeClr val="bg2"/>
                </a:solidFill>
              </a:defRPr>
            </a:lvl1p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lvl1pPr>
              <a:defRPr>
                <a:solidFill>
                  <a:schemeClr val="bg2"/>
                </a:solidFill>
              </a:defRPr>
            </a:lvl1pPr>
          </a:lstStyle>
          <a:p>
            <a:fld id="{71676EBD-8486-AA4B-82C3-0598DF1E43FA}" type="slidenum">
              <a:rPr lang="en-US" smtClean="0"/>
              <a:pPr/>
              <a:t>‹Nr.›</a:t>
            </a:fld>
            <a:endParaRPr lang="en-US"/>
          </a:p>
        </p:txBody>
      </p:sp>
      <p:sp>
        <p:nvSpPr>
          <p:cNvPr id="6" name="Title 11">
            <a:extLst>
              <a:ext uri="{FF2B5EF4-FFF2-40B4-BE49-F238E27FC236}">
                <a16:creationId xmlns:a16="http://schemas.microsoft.com/office/drawing/2014/main" id="{E546389F-2B14-82F6-DA6A-5C1047705085}"/>
              </a:ext>
            </a:extLst>
          </p:cNvPr>
          <p:cNvSpPr>
            <a:spLocks noGrp="1"/>
          </p:cNvSpPr>
          <p:nvPr>
            <p:ph type="title" hasCustomPrompt="1"/>
          </p:nvPr>
        </p:nvSpPr>
        <p:spPr>
          <a:xfrm>
            <a:off x="418651" y="1900609"/>
            <a:ext cx="4215711" cy="1107996"/>
          </a:xfrm>
        </p:spPr>
        <p:txBody>
          <a:bodyPr wrap="square" anchor="t" anchorCtr="0">
            <a:spAutoFit/>
          </a:bodyPr>
          <a:lstStyle>
            <a:lvl1pPr>
              <a:defRPr>
                <a:solidFill>
                  <a:schemeClr val="bg1"/>
                </a:solidFill>
              </a:defRPr>
            </a:lvl1pPr>
          </a:lstStyle>
          <a:p>
            <a:r>
              <a:rPr lang="en-US"/>
              <a:t>Click to </a:t>
            </a:r>
            <a:br>
              <a:rPr lang="en-US"/>
            </a:br>
            <a:r>
              <a:rPr lang="en-US"/>
              <a:t>Edit Title</a:t>
            </a:r>
          </a:p>
        </p:txBody>
      </p:sp>
      <p:pic>
        <p:nvPicPr>
          <p:cNvPr id="7" name="Graphic 6">
            <a:extLst>
              <a:ext uri="{FF2B5EF4-FFF2-40B4-BE49-F238E27FC236}">
                <a16:creationId xmlns:a16="http://schemas.microsoft.com/office/drawing/2014/main" id="{60EB6DDA-2D64-9211-BF24-538403F84D8F}"/>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15596" y="6364123"/>
            <a:ext cx="1484309" cy="283368"/>
          </a:xfrm>
          <a:prstGeom prst="rect">
            <a:avLst/>
          </a:prstGeom>
        </p:spPr>
      </p:pic>
      <p:sp>
        <p:nvSpPr>
          <p:cNvPr id="9" name="Text Placeholder 11">
            <a:extLst>
              <a:ext uri="{FF2B5EF4-FFF2-40B4-BE49-F238E27FC236}">
                <a16:creationId xmlns:a16="http://schemas.microsoft.com/office/drawing/2014/main" id="{FC4A9CA8-22C7-9CCC-1631-2FC9668CD5D5}"/>
              </a:ext>
            </a:extLst>
          </p:cNvPr>
          <p:cNvSpPr>
            <a:spLocks noGrp="1"/>
          </p:cNvSpPr>
          <p:nvPr>
            <p:ph type="body" sz="quarter" idx="16" hasCustomPrompt="1"/>
          </p:nvPr>
        </p:nvSpPr>
        <p:spPr>
          <a:xfrm>
            <a:off x="5479607" y="2628632"/>
            <a:ext cx="6295328" cy="193899"/>
          </a:xfrm>
        </p:spPr>
        <p:txBody>
          <a:bodyPr wrap="square" anchor="t">
            <a:noAutofit/>
          </a:bodyPr>
          <a:lstStyle>
            <a:lvl1pPr>
              <a:defRPr kumimoji="0" lang="en-US" sz="1400" b="1" i="0" u="none" strike="noStrike" kern="0" cap="all" spc="0" normalizeH="0" baseline="0" dirty="0">
                <a:ln>
                  <a:noFill/>
                </a:ln>
                <a:solidFill>
                  <a:schemeClr val="tx1"/>
                </a:solidFill>
                <a:effectLst/>
                <a:uLnTx/>
                <a:uFillTx/>
                <a:latin typeface="+mn-lt"/>
                <a:ea typeface="Arial"/>
                <a:cs typeface="Arial"/>
                <a:sym typeface="Arial"/>
              </a:defRPr>
            </a:lvl1pPr>
            <a:lvl5pPr marL="538149" indent="0">
              <a:buNone/>
              <a:defRPr/>
            </a:lvl5pPr>
          </a:lstStyle>
          <a:p>
            <a:pPr lvl="0"/>
            <a:r>
              <a:rPr lang="en-US"/>
              <a:t>CLICK TO INSERT SUB HEADLINE</a:t>
            </a:r>
          </a:p>
        </p:txBody>
      </p:sp>
      <p:sp>
        <p:nvSpPr>
          <p:cNvPr id="12" name="Picture Placeholder 33">
            <a:extLst>
              <a:ext uri="{FF2B5EF4-FFF2-40B4-BE49-F238E27FC236}">
                <a16:creationId xmlns:a16="http://schemas.microsoft.com/office/drawing/2014/main" id="{B3D36011-7295-3F2F-60C3-84D66EAAC3AC}"/>
              </a:ext>
            </a:extLst>
          </p:cNvPr>
          <p:cNvSpPr>
            <a:spLocks noGrp="1"/>
          </p:cNvSpPr>
          <p:nvPr>
            <p:ph type="pic" sz="quarter" idx="21" hasCustomPrompt="1"/>
          </p:nvPr>
        </p:nvSpPr>
        <p:spPr>
          <a:xfrm>
            <a:off x="5479608" y="3421315"/>
            <a:ext cx="756445" cy="720000"/>
          </a:xfrm>
        </p:spPr>
        <p:txBody>
          <a:bodyPr anchor="ctr">
            <a:noAutofit/>
          </a:bodyPr>
          <a:lstStyle>
            <a:lvl1pPr algn="ctr">
              <a:defRPr sz="1100">
                <a:solidFill>
                  <a:schemeClr val="bg2"/>
                </a:solidFill>
              </a:defRPr>
            </a:lvl1pPr>
          </a:lstStyle>
          <a:p>
            <a:r>
              <a:rPr lang="en-US"/>
              <a:t>Click to insert</a:t>
            </a:r>
            <a:br>
              <a:rPr lang="en-US"/>
            </a:br>
            <a:r>
              <a:rPr lang="en-US"/>
              <a:t>picture or icon</a:t>
            </a:r>
          </a:p>
        </p:txBody>
      </p:sp>
      <p:sp>
        <p:nvSpPr>
          <p:cNvPr id="13" name="Picture Placeholder 33">
            <a:extLst>
              <a:ext uri="{FF2B5EF4-FFF2-40B4-BE49-F238E27FC236}">
                <a16:creationId xmlns:a16="http://schemas.microsoft.com/office/drawing/2014/main" id="{B410555D-41C0-9D84-95A0-B60B5D4BA8D5}"/>
              </a:ext>
            </a:extLst>
          </p:cNvPr>
          <p:cNvSpPr>
            <a:spLocks noGrp="1"/>
          </p:cNvSpPr>
          <p:nvPr>
            <p:ph type="pic" sz="quarter" idx="22" hasCustomPrompt="1"/>
          </p:nvPr>
        </p:nvSpPr>
        <p:spPr>
          <a:xfrm>
            <a:off x="7374287" y="3421315"/>
            <a:ext cx="756445" cy="720000"/>
          </a:xfrm>
        </p:spPr>
        <p:txBody>
          <a:bodyPr anchor="ctr">
            <a:noAutofit/>
          </a:bodyPr>
          <a:lstStyle>
            <a:lvl1pPr algn="ctr">
              <a:defRPr sz="1100">
                <a:solidFill>
                  <a:schemeClr val="bg2"/>
                </a:solidFill>
              </a:defRPr>
            </a:lvl1pPr>
          </a:lstStyle>
          <a:p>
            <a:r>
              <a:rPr lang="en-US"/>
              <a:t>Click to insert</a:t>
            </a:r>
            <a:br>
              <a:rPr lang="en-US"/>
            </a:br>
            <a:r>
              <a:rPr lang="en-US"/>
              <a:t>picture or icon</a:t>
            </a:r>
          </a:p>
        </p:txBody>
      </p:sp>
      <p:sp>
        <p:nvSpPr>
          <p:cNvPr id="15" name="Picture Placeholder 33">
            <a:extLst>
              <a:ext uri="{FF2B5EF4-FFF2-40B4-BE49-F238E27FC236}">
                <a16:creationId xmlns:a16="http://schemas.microsoft.com/office/drawing/2014/main" id="{68FB54DD-6E40-1A38-06CB-6530DFA20632}"/>
              </a:ext>
            </a:extLst>
          </p:cNvPr>
          <p:cNvSpPr>
            <a:spLocks noGrp="1"/>
          </p:cNvSpPr>
          <p:nvPr>
            <p:ph type="pic" sz="quarter" idx="23" hasCustomPrompt="1"/>
          </p:nvPr>
        </p:nvSpPr>
        <p:spPr>
          <a:xfrm>
            <a:off x="9267382" y="3421315"/>
            <a:ext cx="756445" cy="720000"/>
          </a:xfrm>
        </p:spPr>
        <p:txBody>
          <a:bodyPr anchor="ctr">
            <a:noAutofit/>
          </a:bodyPr>
          <a:lstStyle>
            <a:lvl1pPr algn="ctr">
              <a:defRPr sz="1100">
                <a:solidFill>
                  <a:schemeClr val="bg2"/>
                </a:solidFill>
              </a:defRPr>
            </a:lvl1pPr>
          </a:lstStyle>
          <a:p>
            <a:r>
              <a:rPr lang="en-US"/>
              <a:t>Click to insert</a:t>
            </a:r>
            <a:br>
              <a:rPr lang="en-US"/>
            </a:br>
            <a:r>
              <a:rPr lang="en-US"/>
              <a:t>picture or icon</a:t>
            </a:r>
          </a:p>
        </p:txBody>
      </p:sp>
      <p:sp>
        <p:nvSpPr>
          <p:cNvPr id="16" name="Text Placeholder 5">
            <a:extLst>
              <a:ext uri="{FF2B5EF4-FFF2-40B4-BE49-F238E27FC236}">
                <a16:creationId xmlns:a16="http://schemas.microsoft.com/office/drawing/2014/main" id="{C7D4AE6A-D300-CCAB-39B8-3902641B0E2C}"/>
              </a:ext>
            </a:extLst>
          </p:cNvPr>
          <p:cNvSpPr>
            <a:spLocks noGrp="1"/>
          </p:cNvSpPr>
          <p:nvPr>
            <p:ph type="body" sz="quarter" idx="24" hasCustomPrompt="1"/>
          </p:nvPr>
        </p:nvSpPr>
        <p:spPr>
          <a:xfrm>
            <a:off x="5479607" y="4339895"/>
            <a:ext cx="1703388" cy="1819351"/>
          </a:xfrm>
        </p:spPr>
        <p:txBody>
          <a:bodyPr>
            <a:noAutofit/>
          </a:bodyPr>
          <a:lstStyle>
            <a:lvl1pPr>
              <a:defRPr>
                <a:solidFill>
                  <a:schemeClr val="tx1"/>
                </a:solidFill>
              </a:defRPr>
            </a:lvl1pPr>
          </a:lstStyle>
          <a:p>
            <a:pPr lvl="0"/>
            <a:r>
              <a:rPr lang="en-US"/>
              <a:t>Click to add text</a:t>
            </a:r>
          </a:p>
        </p:txBody>
      </p:sp>
      <p:sp>
        <p:nvSpPr>
          <p:cNvPr id="17" name="Text Placeholder 5">
            <a:extLst>
              <a:ext uri="{FF2B5EF4-FFF2-40B4-BE49-F238E27FC236}">
                <a16:creationId xmlns:a16="http://schemas.microsoft.com/office/drawing/2014/main" id="{EB8A3245-7F93-9917-414A-C68FF26CB99C}"/>
              </a:ext>
            </a:extLst>
          </p:cNvPr>
          <p:cNvSpPr>
            <a:spLocks noGrp="1"/>
          </p:cNvSpPr>
          <p:nvPr>
            <p:ph type="body" sz="quarter" idx="25" hasCustomPrompt="1"/>
          </p:nvPr>
        </p:nvSpPr>
        <p:spPr>
          <a:xfrm>
            <a:off x="7373495" y="4339895"/>
            <a:ext cx="1703388" cy="1819351"/>
          </a:xfrm>
        </p:spPr>
        <p:txBody>
          <a:bodyPr>
            <a:noAutofit/>
          </a:bodyPr>
          <a:lstStyle>
            <a:lvl1pPr>
              <a:defRPr>
                <a:solidFill>
                  <a:schemeClr val="tx1"/>
                </a:solidFill>
              </a:defRPr>
            </a:lvl1pPr>
          </a:lstStyle>
          <a:p>
            <a:pPr lvl="0"/>
            <a:r>
              <a:rPr lang="en-US"/>
              <a:t>Click to add text</a:t>
            </a:r>
          </a:p>
        </p:txBody>
      </p:sp>
      <p:sp>
        <p:nvSpPr>
          <p:cNvPr id="18" name="Text Placeholder 5">
            <a:extLst>
              <a:ext uri="{FF2B5EF4-FFF2-40B4-BE49-F238E27FC236}">
                <a16:creationId xmlns:a16="http://schemas.microsoft.com/office/drawing/2014/main" id="{E17CA74A-6F73-12B7-93BA-D582FD4D07DE}"/>
              </a:ext>
            </a:extLst>
          </p:cNvPr>
          <p:cNvSpPr>
            <a:spLocks noGrp="1"/>
          </p:cNvSpPr>
          <p:nvPr>
            <p:ph type="body" sz="quarter" idx="26" hasCustomPrompt="1"/>
          </p:nvPr>
        </p:nvSpPr>
        <p:spPr>
          <a:xfrm>
            <a:off x="9267382" y="4339895"/>
            <a:ext cx="1703388" cy="1819351"/>
          </a:xfrm>
        </p:spPr>
        <p:txBody>
          <a:bodyPr>
            <a:noAutofit/>
          </a:bodyPr>
          <a:lstStyle>
            <a:lvl1pPr>
              <a:defRPr>
                <a:solidFill>
                  <a:schemeClr val="tx1"/>
                </a:solidFill>
              </a:defRPr>
            </a:lvl1pPr>
          </a:lstStyle>
          <a:p>
            <a:pPr lvl="0"/>
            <a:r>
              <a:rPr lang="en-US"/>
              <a:t>Click to add text</a:t>
            </a:r>
          </a:p>
        </p:txBody>
      </p:sp>
      <p:sp>
        <p:nvSpPr>
          <p:cNvPr id="19" name="Text Placeholder 5">
            <a:extLst>
              <a:ext uri="{FF2B5EF4-FFF2-40B4-BE49-F238E27FC236}">
                <a16:creationId xmlns:a16="http://schemas.microsoft.com/office/drawing/2014/main" id="{65DA0633-B1D7-B147-6D59-B389F3F56D0E}"/>
              </a:ext>
            </a:extLst>
          </p:cNvPr>
          <p:cNvSpPr>
            <a:spLocks noGrp="1"/>
          </p:cNvSpPr>
          <p:nvPr>
            <p:ph type="body" sz="quarter" idx="27" hasCustomPrompt="1"/>
          </p:nvPr>
        </p:nvSpPr>
        <p:spPr>
          <a:xfrm>
            <a:off x="5478021" y="1845209"/>
            <a:ext cx="6295328" cy="553997"/>
          </a:xfrm>
        </p:spPr>
        <p:txBody>
          <a:bodyPr wrap="square" anchor="b" anchorCtr="0">
            <a:spAutoFit/>
          </a:bodyPr>
          <a:lstStyle>
            <a:lvl1pPr>
              <a:spcAft>
                <a:spcPts val="0"/>
              </a:spcAft>
              <a:defRPr sz="3600" b="0">
                <a:solidFill>
                  <a:schemeClr val="tx1"/>
                </a:solidFill>
                <a:latin typeface="+mj-lt"/>
              </a:defRPr>
            </a:lvl1pPr>
          </a:lstStyle>
          <a:p>
            <a:pPr lvl="0"/>
            <a:r>
              <a:rPr lang="en-US"/>
              <a:t>Click to Add Text</a:t>
            </a:r>
          </a:p>
        </p:txBody>
      </p:sp>
      <p:sp>
        <p:nvSpPr>
          <p:cNvPr id="20" name="Text Placeholder 44">
            <a:extLst>
              <a:ext uri="{FF2B5EF4-FFF2-40B4-BE49-F238E27FC236}">
                <a16:creationId xmlns:a16="http://schemas.microsoft.com/office/drawing/2014/main" id="{8AB0C89D-CEAE-DD38-67BC-B32A93C858D6}"/>
              </a:ext>
            </a:extLst>
          </p:cNvPr>
          <p:cNvSpPr>
            <a:spLocks noGrp="1"/>
          </p:cNvSpPr>
          <p:nvPr>
            <p:ph type="body" sz="quarter" idx="28" hasCustomPrompt="1"/>
          </p:nvPr>
        </p:nvSpPr>
        <p:spPr>
          <a:xfrm>
            <a:off x="5468608" y="6364123"/>
            <a:ext cx="4597565" cy="283368"/>
          </a:xfrm>
        </p:spPr>
        <p:txBody>
          <a:bodyPr anchor="ctr">
            <a:noAutofit/>
          </a:bodyPr>
          <a:lstStyle>
            <a:lvl1pPr>
              <a:spcAft>
                <a:spcPts val="0"/>
              </a:spcAft>
              <a:defRPr sz="800" b="0">
                <a:solidFill>
                  <a:srgbClr val="3D3F48"/>
                </a:solidFill>
              </a:defRPr>
            </a:lvl1pPr>
            <a:lvl2pPr marL="0" indent="0">
              <a:buNone/>
              <a:defRPr/>
            </a:lvl2pPr>
          </a:lstStyle>
          <a:p>
            <a:pPr lvl="0"/>
            <a:r>
              <a:rPr lang="en-US"/>
              <a:t>Add footnotes here if needed</a:t>
            </a:r>
          </a:p>
        </p:txBody>
      </p:sp>
    </p:spTree>
    <p:extLst>
      <p:ext uri="{BB962C8B-B14F-4D97-AF65-F5344CB8AC3E}">
        <p14:creationId xmlns:p14="http://schemas.microsoft.com/office/powerpoint/2010/main" val="33990364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arge Image with Callout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3F5AB24-9B9A-7C50-6668-454AEBD93A08}"/>
              </a:ext>
            </a:extLst>
          </p:cNvPr>
          <p:cNvSpPr>
            <a:spLocks/>
          </p:cNvSpPr>
          <p:nvPr userDrawn="1"/>
        </p:nvSpPr>
        <p:spPr>
          <a:xfrm>
            <a:off x="7488000" y="0"/>
            <a:ext cx="4704000" cy="685800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lvl1pPr>
              <a:defRPr>
                <a:solidFill>
                  <a:schemeClr val="bg1"/>
                </a:solidFill>
              </a:defRPr>
            </a:lvl1p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lvl1pPr>
              <a:defRPr>
                <a:solidFill>
                  <a:schemeClr val="bg1"/>
                </a:solidFill>
              </a:defRPr>
            </a:lvl1pPr>
          </a:lstStyle>
          <a:p>
            <a:fld id="{71676EBD-8486-AA4B-82C3-0598DF1E43FA}" type="slidenum">
              <a:rPr lang="en-US" smtClean="0"/>
              <a:pPr/>
              <a:t>‹Nr.›</a:t>
            </a:fld>
            <a:endParaRPr lang="en-US"/>
          </a:p>
        </p:txBody>
      </p:sp>
      <p:sp>
        <p:nvSpPr>
          <p:cNvPr id="19" name="Text Placeholder 5">
            <a:extLst>
              <a:ext uri="{FF2B5EF4-FFF2-40B4-BE49-F238E27FC236}">
                <a16:creationId xmlns:a16="http://schemas.microsoft.com/office/drawing/2014/main" id="{65DA0633-B1D7-B147-6D59-B389F3F56D0E}"/>
              </a:ext>
            </a:extLst>
          </p:cNvPr>
          <p:cNvSpPr>
            <a:spLocks noGrp="1"/>
          </p:cNvSpPr>
          <p:nvPr>
            <p:ph type="body" sz="quarter" idx="27" hasCustomPrompt="1"/>
          </p:nvPr>
        </p:nvSpPr>
        <p:spPr>
          <a:xfrm>
            <a:off x="7877961" y="421229"/>
            <a:ext cx="3898443" cy="1107996"/>
          </a:xfrm>
        </p:spPr>
        <p:txBody>
          <a:bodyPr anchor="t" anchorCtr="0">
            <a:spAutoFit/>
          </a:bodyPr>
          <a:lstStyle>
            <a:lvl1pPr>
              <a:spcAft>
                <a:spcPts val="0"/>
              </a:spcAft>
              <a:defRPr sz="3600" b="0">
                <a:solidFill>
                  <a:schemeClr val="tx1"/>
                </a:solidFill>
                <a:latin typeface="+mj-lt"/>
              </a:defRPr>
            </a:lvl1pPr>
          </a:lstStyle>
          <a:p>
            <a:pPr lvl="0"/>
            <a:r>
              <a:rPr lang="en-US"/>
              <a:t>Click to </a:t>
            </a:r>
            <a:br>
              <a:rPr lang="en-US"/>
            </a:br>
            <a:r>
              <a:rPr lang="en-US"/>
              <a:t>Edit Title</a:t>
            </a:r>
          </a:p>
        </p:txBody>
      </p:sp>
      <p:sp>
        <p:nvSpPr>
          <p:cNvPr id="5" name="Picture Placeholder 7">
            <a:extLst>
              <a:ext uri="{FF2B5EF4-FFF2-40B4-BE49-F238E27FC236}">
                <a16:creationId xmlns:a16="http://schemas.microsoft.com/office/drawing/2014/main" id="{EBD7116A-7AC0-6BBC-10C6-0121B54AC1B8}"/>
              </a:ext>
            </a:extLst>
          </p:cNvPr>
          <p:cNvSpPr>
            <a:spLocks noGrp="1"/>
          </p:cNvSpPr>
          <p:nvPr>
            <p:ph type="pic" sz="quarter" idx="46" hasCustomPrompt="1"/>
          </p:nvPr>
        </p:nvSpPr>
        <p:spPr>
          <a:xfrm>
            <a:off x="415597" y="421229"/>
            <a:ext cx="6656807" cy="5735732"/>
          </a:xfrm>
        </p:spPr>
        <p:txBody>
          <a:bodyPr anchor="ctr"/>
          <a:lstStyle>
            <a:lvl1pPr algn="ctr">
              <a:defRPr>
                <a:solidFill>
                  <a:schemeClr val="bg2"/>
                </a:solidFill>
              </a:defRPr>
            </a:lvl1pPr>
          </a:lstStyle>
          <a:p>
            <a:r>
              <a:rPr lang="en-US"/>
              <a:t>Click to Place Image</a:t>
            </a:r>
          </a:p>
        </p:txBody>
      </p:sp>
      <p:sp>
        <p:nvSpPr>
          <p:cNvPr id="8" name="Text Placeholder 44">
            <a:extLst>
              <a:ext uri="{FF2B5EF4-FFF2-40B4-BE49-F238E27FC236}">
                <a16:creationId xmlns:a16="http://schemas.microsoft.com/office/drawing/2014/main" id="{50D579A8-D877-19A9-2465-2CA4B5AE85AF}"/>
              </a:ext>
            </a:extLst>
          </p:cNvPr>
          <p:cNvSpPr>
            <a:spLocks noGrp="1"/>
          </p:cNvSpPr>
          <p:nvPr>
            <p:ph type="body" sz="quarter" idx="23" hasCustomPrompt="1"/>
          </p:nvPr>
        </p:nvSpPr>
        <p:spPr>
          <a:xfrm>
            <a:off x="2037521" y="6364123"/>
            <a:ext cx="5034880" cy="283368"/>
          </a:xfrm>
        </p:spPr>
        <p:txBody>
          <a:bodyPr anchor="ctr">
            <a:noAutofit/>
          </a:bodyPr>
          <a:lstStyle>
            <a:lvl1pPr>
              <a:spcAft>
                <a:spcPts val="0"/>
              </a:spcAft>
              <a:defRPr sz="800" b="0">
                <a:solidFill>
                  <a:srgbClr val="3D3F48"/>
                </a:solidFill>
              </a:defRPr>
            </a:lvl1pPr>
            <a:lvl2pPr marL="0" indent="0">
              <a:buNone/>
              <a:defRPr/>
            </a:lvl2pPr>
          </a:lstStyle>
          <a:p>
            <a:pPr lvl="0"/>
            <a:r>
              <a:rPr lang="en-US"/>
              <a:t>Add footnotes here if needed</a:t>
            </a:r>
          </a:p>
        </p:txBody>
      </p:sp>
    </p:spTree>
    <p:extLst>
      <p:ext uri="{BB962C8B-B14F-4D97-AF65-F5344CB8AC3E}">
        <p14:creationId xmlns:p14="http://schemas.microsoft.com/office/powerpoint/2010/main" val="11297476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 Caption, and Content">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lvl1pPr>
              <a:defRPr>
                <a:solidFill>
                  <a:schemeClr val="bg2"/>
                </a:solidFill>
              </a:defRPr>
            </a:lvl1p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lvl1pPr>
              <a:defRPr>
                <a:solidFill>
                  <a:schemeClr val="bg2"/>
                </a:solidFill>
              </a:defRPr>
            </a:lvl1pPr>
          </a:lstStyle>
          <a:p>
            <a:fld id="{71676EBD-8486-AA4B-82C3-0598DF1E43FA}" type="slidenum">
              <a:rPr lang="en-US" smtClean="0"/>
              <a:pPr/>
              <a:t>‹Nr.›</a:t>
            </a:fld>
            <a:endParaRPr lang="en-US"/>
          </a:p>
        </p:txBody>
      </p:sp>
      <p:sp>
        <p:nvSpPr>
          <p:cNvPr id="3" name="Rectangle 2">
            <a:extLst>
              <a:ext uri="{FF2B5EF4-FFF2-40B4-BE49-F238E27FC236}">
                <a16:creationId xmlns:a16="http://schemas.microsoft.com/office/drawing/2014/main" id="{CE1F5C73-F3B8-424D-0113-ABC8B09DACAE}"/>
              </a:ext>
            </a:extLst>
          </p:cNvPr>
          <p:cNvSpPr/>
          <p:nvPr userDrawn="1"/>
        </p:nvSpPr>
        <p:spPr>
          <a:xfrm>
            <a:off x="0" y="0"/>
            <a:ext cx="12192000" cy="377348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a:solidFill>
                <a:schemeClr val="tx2"/>
              </a:solidFill>
            </a:endParaRPr>
          </a:p>
        </p:txBody>
      </p:sp>
      <p:sp>
        <p:nvSpPr>
          <p:cNvPr id="4" name="Title 1">
            <a:extLst>
              <a:ext uri="{FF2B5EF4-FFF2-40B4-BE49-F238E27FC236}">
                <a16:creationId xmlns:a16="http://schemas.microsoft.com/office/drawing/2014/main" id="{09716840-9C71-1467-6F53-BF2415BAC323}"/>
              </a:ext>
            </a:extLst>
          </p:cNvPr>
          <p:cNvSpPr>
            <a:spLocks noGrp="1"/>
          </p:cNvSpPr>
          <p:nvPr>
            <p:ph type="title" hasCustomPrompt="1"/>
          </p:nvPr>
        </p:nvSpPr>
        <p:spPr>
          <a:xfrm>
            <a:off x="388885" y="950471"/>
            <a:ext cx="3716393" cy="2011864"/>
          </a:xfrm>
        </p:spPr>
        <p:txBody>
          <a:bodyPr vert="horz" lIns="0" tIns="0" rIns="0" bIns="0" anchor="b" anchorCtr="0">
            <a:noAutofit/>
          </a:bodyPr>
          <a:lstStyle>
            <a:lvl1pPr>
              <a:lnSpc>
                <a:spcPct val="100000"/>
              </a:lnSpc>
              <a:defRPr sz="3600" b="0">
                <a:solidFill>
                  <a:schemeClr val="tx1"/>
                </a:solidFill>
              </a:defRPr>
            </a:lvl1pPr>
          </a:lstStyle>
          <a:p>
            <a:r>
              <a:rPr lang="en-US"/>
              <a:t>Click to Edit Title</a:t>
            </a:r>
          </a:p>
        </p:txBody>
      </p:sp>
      <p:sp>
        <p:nvSpPr>
          <p:cNvPr id="6" name="Picture Placeholder 9">
            <a:extLst>
              <a:ext uri="{FF2B5EF4-FFF2-40B4-BE49-F238E27FC236}">
                <a16:creationId xmlns:a16="http://schemas.microsoft.com/office/drawing/2014/main" id="{95BA2D34-6020-1470-996B-3AEE9852BADA}"/>
              </a:ext>
            </a:extLst>
          </p:cNvPr>
          <p:cNvSpPr>
            <a:spLocks noGrp="1"/>
          </p:cNvSpPr>
          <p:nvPr>
            <p:ph type="pic" sz="quarter" idx="13" hasCustomPrompt="1"/>
          </p:nvPr>
        </p:nvSpPr>
        <p:spPr>
          <a:xfrm>
            <a:off x="5243513" y="1"/>
            <a:ext cx="6945312" cy="3773487"/>
          </a:xfrm>
        </p:spPr>
        <p:txBody>
          <a:bodyPr bIns="864000" anchor="ctr" anchorCtr="0">
            <a:noAutofit/>
          </a:bodyPr>
          <a:lstStyle>
            <a:lvl1pPr algn="ctr">
              <a:defRPr>
                <a:solidFill>
                  <a:schemeClr val="bg2"/>
                </a:solidFill>
              </a:defRPr>
            </a:lvl1pPr>
          </a:lstStyle>
          <a:p>
            <a:r>
              <a:rPr lang="en-US"/>
              <a:t>Click to place image</a:t>
            </a:r>
          </a:p>
        </p:txBody>
      </p:sp>
      <p:sp>
        <p:nvSpPr>
          <p:cNvPr id="8" name="Text Placeholder 11">
            <a:extLst>
              <a:ext uri="{FF2B5EF4-FFF2-40B4-BE49-F238E27FC236}">
                <a16:creationId xmlns:a16="http://schemas.microsoft.com/office/drawing/2014/main" id="{9E49AA79-C7F8-6DF7-4112-D0DEE92F6F7D}"/>
              </a:ext>
            </a:extLst>
          </p:cNvPr>
          <p:cNvSpPr>
            <a:spLocks noGrp="1"/>
          </p:cNvSpPr>
          <p:nvPr>
            <p:ph type="body" sz="quarter" idx="16"/>
          </p:nvPr>
        </p:nvSpPr>
        <p:spPr>
          <a:xfrm>
            <a:off x="388885" y="4163044"/>
            <a:ext cx="3716393" cy="2037035"/>
          </a:xfrm>
        </p:spPr>
        <p:txBody>
          <a:bodyPr lIns="0" tIns="0" rIns="0" bIns="0">
            <a:noAutofit/>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44">
            <a:extLst>
              <a:ext uri="{FF2B5EF4-FFF2-40B4-BE49-F238E27FC236}">
                <a16:creationId xmlns:a16="http://schemas.microsoft.com/office/drawing/2014/main" id="{96E10D47-078D-9F2F-3257-36387C61BAFF}"/>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chemeClr val="bg2"/>
                </a:solidFill>
              </a:defRPr>
            </a:lvl1pPr>
            <a:lvl2pPr marL="0" indent="0">
              <a:buNone/>
              <a:defRPr/>
            </a:lvl2pPr>
          </a:lstStyle>
          <a:p>
            <a:pPr lvl="0"/>
            <a:r>
              <a:rPr lang="en-US"/>
              <a:t>Add footnotes here if needed</a:t>
            </a:r>
          </a:p>
        </p:txBody>
      </p:sp>
      <p:sp>
        <p:nvSpPr>
          <p:cNvPr id="2" name="Text Placeholder 11">
            <a:extLst>
              <a:ext uri="{FF2B5EF4-FFF2-40B4-BE49-F238E27FC236}">
                <a16:creationId xmlns:a16="http://schemas.microsoft.com/office/drawing/2014/main" id="{F975515E-3C9D-8FB0-8C50-C5C57236CB94}"/>
              </a:ext>
            </a:extLst>
          </p:cNvPr>
          <p:cNvSpPr>
            <a:spLocks noGrp="1"/>
          </p:cNvSpPr>
          <p:nvPr>
            <p:ph type="body" sz="quarter" idx="24"/>
          </p:nvPr>
        </p:nvSpPr>
        <p:spPr>
          <a:xfrm>
            <a:off x="4237805" y="4163044"/>
            <a:ext cx="3716393" cy="2037035"/>
          </a:xfrm>
        </p:spPr>
        <p:txBody>
          <a:bodyPr lIns="0" tIns="0" rIns="0" bIns="0">
            <a:noAutofit/>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1">
            <a:extLst>
              <a:ext uri="{FF2B5EF4-FFF2-40B4-BE49-F238E27FC236}">
                <a16:creationId xmlns:a16="http://schemas.microsoft.com/office/drawing/2014/main" id="{AD29B732-EF56-6DCA-E2C0-CC482FB70CE9}"/>
              </a:ext>
            </a:extLst>
          </p:cNvPr>
          <p:cNvSpPr>
            <a:spLocks noGrp="1"/>
          </p:cNvSpPr>
          <p:nvPr>
            <p:ph type="body" sz="quarter" idx="25"/>
          </p:nvPr>
        </p:nvSpPr>
        <p:spPr>
          <a:xfrm>
            <a:off x="8086725" y="4163044"/>
            <a:ext cx="3716393" cy="2037035"/>
          </a:xfrm>
        </p:spPr>
        <p:txBody>
          <a:bodyPr lIns="0" tIns="0" rIns="0" bIns="0">
            <a:noAutofit/>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273438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DO NOT USE - INSTRUCTIONAL 5">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3F3F73B-5A7E-8BBE-68A8-9BD49B10A6BC}"/>
              </a:ext>
            </a:extLst>
          </p:cNvPr>
          <p:cNvSpPr>
            <a:spLocks noGrp="1"/>
          </p:cNvSpPr>
          <p:nvPr>
            <p:ph type="ftr" sz="quarter" idx="11"/>
          </p:nvPr>
        </p:nvSpPr>
        <p:spPr>
          <a:xfrm>
            <a:off x="10447173" y="6356351"/>
            <a:ext cx="956004" cy="365125"/>
          </a:xfrm>
          <a:prstGeom prst="rect">
            <a:avLst/>
          </a:prstGeom>
        </p:spPr>
        <p:txBody>
          <a:bodyPr/>
          <a:lstStyle/>
          <a:p>
            <a:r>
              <a:rPr lang="en-US"/>
              <a:t>© Commvault 2024</a:t>
            </a:r>
          </a:p>
        </p:txBody>
      </p:sp>
      <p:sp>
        <p:nvSpPr>
          <p:cNvPr id="4" name="Slide Number Placeholder 3">
            <a:extLst>
              <a:ext uri="{FF2B5EF4-FFF2-40B4-BE49-F238E27FC236}">
                <a16:creationId xmlns:a16="http://schemas.microsoft.com/office/drawing/2014/main" id="{D481AB5E-0FD8-E0D0-B848-CE488AFA1733}"/>
              </a:ext>
            </a:extLst>
          </p:cNvPr>
          <p:cNvSpPr>
            <a:spLocks noGrp="1"/>
          </p:cNvSpPr>
          <p:nvPr>
            <p:ph type="sldNum" sz="quarter" idx="12"/>
          </p:nvPr>
        </p:nvSpPr>
        <p:spPr/>
        <p:txBody>
          <a:bodyPr/>
          <a:lstStyle/>
          <a:p>
            <a:fld id="{71676EBD-8486-AA4B-82C3-0598DF1E43FA}" type="slidenum">
              <a:rPr lang="en-US" smtClean="0"/>
              <a:t>‹Nr.›</a:t>
            </a:fld>
            <a:endParaRPr lang="en-US"/>
          </a:p>
        </p:txBody>
      </p:sp>
      <p:sp>
        <p:nvSpPr>
          <p:cNvPr id="5" name="Rectangle 4">
            <a:extLst>
              <a:ext uri="{FF2B5EF4-FFF2-40B4-BE49-F238E27FC236}">
                <a16:creationId xmlns:a16="http://schemas.microsoft.com/office/drawing/2014/main" id="{CB32733C-E917-A5A6-1594-5B360FC1919B}"/>
              </a:ext>
            </a:extLst>
          </p:cNvPr>
          <p:cNvSpPr/>
          <p:nvPr userDrawn="1"/>
        </p:nvSpPr>
        <p:spPr>
          <a:xfrm>
            <a:off x="0" y="0"/>
            <a:ext cx="12192000"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 name="TextBox 5">
            <a:extLst>
              <a:ext uri="{FF2B5EF4-FFF2-40B4-BE49-F238E27FC236}">
                <a16:creationId xmlns:a16="http://schemas.microsoft.com/office/drawing/2014/main" id="{6803F741-5B4D-49EC-3B06-5F25CE645285}"/>
              </a:ext>
            </a:extLst>
          </p:cNvPr>
          <p:cNvSpPr txBox="1"/>
          <p:nvPr userDrawn="1"/>
        </p:nvSpPr>
        <p:spPr>
          <a:xfrm>
            <a:off x="415597" y="476250"/>
            <a:ext cx="9315449" cy="1200329"/>
          </a:xfrm>
          <a:prstGeom prst="rect">
            <a:avLst/>
          </a:prstGeom>
          <a:noFill/>
        </p:spPr>
        <p:txBody>
          <a:bodyPr wrap="square" rtlCol="0">
            <a:spAutoFit/>
          </a:bodyPr>
          <a:lstStyle/>
          <a:p>
            <a:r>
              <a:rPr lang="en-US" sz="3200">
                <a:solidFill>
                  <a:schemeClr val="bg1"/>
                </a:solidFill>
              </a:rPr>
              <a:t>THIS IS AN INSTRUCTIONAL SLIDE </a:t>
            </a:r>
          </a:p>
          <a:p>
            <a:r>
              <a:rPr lang="en-US" sz="4000" b="1">
                <a:solidFill>
                  <a:schemeClr val="bg1"/>
                </a:solidFill>
              </a:rPr>
              <a:t>DO NOT USE</a:t>
            </a:r>
            <a:endParaRPr lang="en-US" sz="3200" b="1">
              <a:solidFill>
                <a:schemeClr val="bg1"/>
              </a:solidFill>
            </a:endParaRPr>
          </a:p>
        </p:txBody>
      </p:sp>
      <p:sp>
        <p:nvSpPr>
          <p:cNvPr id="7" name="TextBox 6">
            <a:extLst>
              <a:ext uri="{FF2B5EF4-FFF2-40B4-BE49-F238E27FC236}">
                <a16:creationId xmlns:a16="http://schemas.microsoft.com/office/drawing/2014/main" id="{6BFEBCAE-B9C3-7526-64F5-463C81DE63A2}"/>
              </a:ext>
            </a:extLst>
          </p:cNvPr>
          <p:cNvSpPr txBox="1"/>
          <p:nvPr userDrawn="1"/>
        </p:nvSpPr>
        <p:spPr>
          <a:xfrm>
            <a:off x="329871" y="2451409"/>
            <a:ext cx="10595304" cy="3631763"/>
          </a:xfrm>
          <a:prstGeom prst="rect">
            <a:avLst/>
          </a:prstGeom>
          <a:noFill/>
        </p:spPr>
        <p:txBody>
          <a:bodyPr wrap="square" rtlCol="0">
            <a:spAutoFit/>
          </a:bodyPr>
          <a:lstStyle/>
          <a:p>
            <a:r>
              <a:rPr lang="en-US" sz="11500">
                <a:solidFill>
                  <a:schemeClr val="bg1"/>
                </a:solidFill>
              </a:rPr>
              <a:t>Quote Slide</a:t>
            </a:r>
          </a:p>
          <a:p>
            <a:r>
              <a:rPr lang="en-US" sz="11500">
                <a:solidFill>
                  <a:schemeClr val="bg1"/>
                </a:solidFill>
              </a:rPr>
              <a:t>Options</a:t>
            </a:r>
            <a:endParaRPr lang="en-US" sz="11500" b="1">
              <a:solidFill>
                <a:schemeClr val="bg1"/>
              </a:solidFill>
            </a:endParaRPr>
          </a:p>
        </p:txBody>
      </p:sp>
    </p:spTree>
    <p:extLst>
      <p:ext uri="{BB962C8B-B14F-4D97-AF65-F5344CB8AC3E}">
        <p14:creationId xmlns:p14="http://schemas.microsoft.com/office/powerpoint/2010/main" val="39962122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2" name="Picture Placeholder 23">
            <a:extLst>
              <a:ext uri="{FF2B5EF4-FFF2-40B4-BE49-F238E27FC236}">
                <a16:creationId xmlns:a16="http://schemas.microsoft.com/office/drawing/2014/main" id="{48092917-607D-F366-39BD-E7217C795094}"/>
              </a:ext>
            </a:extLst>
          </p:cNvPr>
          <p:cNvSpPr>
            <a:spLocks noGrp="1"/>
          </p:cNvSpPr>
          <p:nvPr>
            <p:ph type="pic" sz="quarter" idx="21" hasCustomPrompt="1"/>
          </p:nvPr>
        </p:nvSpPr>
        <p:spPr>
          <a:xfrm>
            <a:off x="7137400" y="3175"/>
            <a:ext cx="5054600" cy="6854825"/>
          </a:xfrm>
          <a:prstGeom prst="rect">
            <a:avLst/>
          </a:prstGeom>
        </p:spPr>
        <p:txBody>
          <a:bodyPr wrap="square" anchor="ctr">
            <a:noAutofit/>
          </a:bodyPr>
          <a:lstStyle>
            <a:lvl1pPr algn="ctr">
              <a:defRPr>
                <a:solidFill>
                  <a:schemeClr val="bg2"/>
                </a:solidFill>
              </a:defRPr>
            </a:lvl1pPr>
          </a:lstStyle>
          <a:p>
            <a:r>
              <a:rPr lang="en-US"/>
              <a:t>Click to place image</a:t>
            </a:r>
          </a:p>
        </p:txBody>
      </p:sp>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lvl1pPr>
              <a:defRPr>
                <a:solidFill>
                  <a:schemeClr val="bg2"/>
                </a:solidFill>
              </a:defRPr>
            </a:lvl1p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lvl1pPr>
              <a:defRPr>
                <a:solidFill>
                  <a:schemeClr val="bg2"/>
                </a:solidFill>
              </a:defRPr>
            </a:lvl1pPr>
          </a:lstStyle>
          <a:p>
            <a:fld id="{71676EBD-8486-AA4B-82C3-0598DF1E43FA}" type="slidenum">
              <a:rPr lang="en-US" smtClean="0"/>
              <a:pPr/>
              <a:t>‹Nr.›</a:t>
            </a:fld>
            <a:endParaRPr lang="en-US"/>
          </a:p>
        </p:txBody>
      </p:sp>
      <p:sp>
        <p:nvSpPr>
          <p:cNvPr id="5" name="Title 1">
            <a:extLst>
              <a:ext uri="{FF2B5EF4-FFF2-40B4-BE49-F238E27FC236}">
                <a16:creationId xmlns:a16="http://schemas.microsoft.com/office/drawing/2014/main" id="{1A9D027F-7CC7-523E-9DE4-4CFEC4C17A3E}"/>
              </a:ext>
            </a:extLst>
          </p:cNvPr>
          <p:cNvSpPr>
            <a:spLocks noGrp="1"/>
          </p:cNvSpPr>
          <p:nvPr>
            <p:ph type="title" hasCustomPrompt="1"/>
          </p:nvPr>
        </p:nvSpPr>
        <p:spPr>
          <a:xfrm>
            <a:off x="415596" y="2473879"/>
            <a:ext cx="6275584" cy="2312927"/>
          </a:xfrm>
        </p:spPr>
        <p:txBody>
          <a:bodyPr vert="horz" wrap="square" anchor="t" anchorCtr="0">
            <a:noAutofit/>
          </a:bodyPr>
          <a:lstStyle>
            <a:lvl1pPr>
              <a:defRPr sz="2400" b="0" i="1">
                <a:solidFill>
                  <a:schemeClr val="tx1"/>
                </a:solidFill>
              </a:defRPr>
            </a:lvl1pPr>
          </a:lstStyle>
          <a:p>
            <a:r>
              <a:rPr lang="en-US"/>
              <a:t>Insert quote here</a:t>
            </a:r>
            <a:br>
              <a:rPr lang="en-US"/>
            </a:br>
            <a:r>
              <a:rPr lang="en-US"/>
              <a:t>six lines maximum</a:t>
            </a:r>
          </a:p>
        </p:txBody>
      </p:sp>
      <p:sp>
        <p:nvSpPr>
          <p:cNvPr id="13" name="Text Placeholder 39">
            <a:extLst>
              <a:ext uri="{FF2B5EF4-FFF2-40B4-BE49-F238E27FC236}">
                <a16:creationId xmlns:a16="http://schemas.microsoft.com/office/drawing/2014/main" id="{2CD119B4-FF76-AC9F-C6CD-78333DBCB2AA}"/>
              </a:ext>
            </a:extLst>
          </p:cNvPr>
          <p:cNvSpPr>
            <a:spLocks noGrp="1"/>
          </p:cNvSpPr>
          <p:nvPr>
            <p:ph type="body" sz="quarter" idx="22" hasCustomPrompt="1"/>
          </p:nvPr>
        </p:nvSpPr>
        <p:spPr>
          <a:xfrm>
            <a:off x="415596" y="5701662"/>
            <a:ext cx="6275584" cy="251775"/>
          </a:xfrm>
        </p:spPr>
        <p:txBody>
          <a:bodyPr wrap="square">
            <a:noAutofit/>
          </a:bodyPr>
          <a:lstStyle>
            <a:lvl1pPr>
              <a:defRPr>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ompany and or Title // Location</a:t>
            </a:r>
          </a:p>
        </p:txBody>
      </p:sp>
      <p:sp>
        <p:nvSpPr>
          <p:cNvPr id="14" name="Text Placeholder 42">
            <a:extLst>
              <a:ext uri="{FF2B5EF4-FFF2-40B4-BE49-F238E27FC236}">
                <a16:creationId xmlns:a16="http://schemas.microsoft.com/office/drawing/2014/main" id="{1E2CFA02-8BC7-468D-84C9-3CB95E3A1558}"/>
              </a:ext>
            </a:extLst>
          </p:cNvPr>
          <p:cNvSpPr>
            <a:spLocks noGrp="1"/>
          </p:cNvSpPr>
          <p:nvPr>
            <p:ph type="body" sz="quarter" idx="16" hasCustomPrompt="1"/>
          </p:nvPr>
        </p:nvSpPr>
        <p:spPr>
          <a:xfrm>
            <a:off x="415596" y="5379210"/>
            <a:ext cx="6275584" cy="251775"/>
          </a:xfrm>
        </p:spPr>
        <p:txBody>
          <a:bodyPr wrap="square">
            <a:noAutofit/>
          </a:bodyPr>
          <a:lstStyle>
            <a:lvl1pPr>
              <a:defRPr b="1">
                <a:solidFill>
                  <a:schemeClr val="tx1"/>
                </a:solidFill>
              </a:defRPr>
            </a:lvl1pPr>
            <a:lvl2pPr marL="0" indent="0">
              <a:buNone/>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Quote Attribution</a:t>
            </a:r>
          </a:p>
        </p:txBody>
      </p:sp>
      <p:sp>
        <p:nvSpPr>
          <p:cNvPr id="15" name="Graphic 5">
            <a:extLst>
              <a:ext uri="{FF2B5EF4-FFF2-40B4-BE49-F238E27FC236}">
                <a16:creationId xmlns:a16="http://schemas.microsoft.com/office/drawing/2014/main" id="{7FD7C699-0CA3-8E17-D110-56615E7BE592}"/>
              </a:ext>
            </a:extLst>
          </p:cNvPr>
          <p:cNvSpPr>
            <a:spLocks/>
          </p:cNvSpPr>
          <p:nvPr userDrawn="1"/>
        </p:nvSpPr>
        <p:spPr>
          <a:xfrm>
            <a:off x="415597" y="1483535"/>
            <a:ext cx="677001" cy="472648"/>
          </a:xfrm>
          <a:custGeom>
            <a:avLst/>
            <a:gdLst>
              <a:gd name="connsiteX0" fmla="*/ 659197 w 705007"/>
              <a:gd name="connsiteY0" fmla="*/ 457367 h 490139"/>
              <a:gd name="connsiteX1" fmla="*/ 659197 w 705007"/>
              <a:gd name="connsiteY1" fmla="*/ 457367 h 490139"/>
              <a:gd name="connsiteX2" fmla="*/ 553755 w 705007"/>
              <a:gd name="connsiteY2" fmla="*/ 489752 h 490139"/>
              <a:gd name="connsiteX3" fmla="*/ 413737 w 705007"/>
              <a:gd name="connsiteY3" fmla="*/ 428030 h 490139"/>
              <a:gd name="connsiteX4" fmla="*/ 362016 w 705007"/>
              <a:gd name="connsiteY4" fmla="*/ 281345 h 490139"/>
              <a:gd name="connsiteX5" fmla="*/ 388401 w 705007"/>
              <a:gd name="connsiteY5" fmla="*/ 165045 h 490139"/>
              <a:gd name="connsiteX6" fmla="*/ 457362 w 705007"/>
              <a:gd name="connsiteY6" fmla="*/ 75034 h 490139"/>
              <a:gd name="connsiteX7" fmla="*/ 557755 w 705007"/>
              <a:gd name="connsiteY7" fmla="*/ 17884 h 490139"/>
              <a:gd name="connsiteX8" fmla="*/ 678532 w 705007"/>
              <a:gd name="connsiteY8" fmla="*/ -309 h 490139"/>
              <a:gd name="connsiteX9" fmla="*/ 678532 w 705007"/>
              <a:gd name="connsiteY9" fmla="*/ 24932 h 490139"/>
              <a:gd name="connsiteX10" fmla="*/ 541563 w 705007"/>
              <a:gd name="connsiteY10" fmla="*/ 83606 h 490139"/>
              <a:gd name="connsiteX11" fmla="*/ 494890 w 705007"/>
              <a:gd name="connsiteY11" fmla="*/ 208098 h 490139"/>
              <a:gd name="connsiteX12" fmla="*/ 510130 w 705007"/>
              <a:gd name="connsiteY12" fmla="*/ 282869 h 490139"/>
              <a:gd name="connsiteX13" fmla="*/ 555755 w 705007"/>
              <a:gd name="connsiteY13" fmla="*/ 258676 h 490139"/>
              <a:gd name="connsiteX14" fmla="*/ 598332 w 705007"/>
              <a:gd name="connsiteY14" fmla="*/ 251532 h 490139"/>
              <a:gd name="connsiteX15" fmla="*/ 677485 w 705007"/>
              <a:gd name="connsiteY15" fmla="*/ 286965 h 490139"/>
              <a:gd name="connsiteX16" fmla="*/ 704916 w 705007"/>
              <a:gd name="connsiteY16" fmla="*/ 359831 h 490139"/>
              <a:gd name="connsiteX17" fmla="*/ 659197 w 705007"/>
              <a:gd name="connsiteY17" fmla="*/ 456891 h 490139"/>
              <a:gd name="connsiteX18" fmla="*/ 290960 w 705007"/>
              <a:gd name="connsiteY18" fmla="*/ 457367 h 490139"/>
              <a:gd name="connsiteX19" fmla="*/ 290960 w 705007"/>
              <a:gd name="connsiteY19" fmla="*/ 457367 h 490139"/>
              <a:gd name="connsiteX20" fmla="*/ 185423 w 705007"/>
              <a:gd name="connsiteY20" fmla="*/ 489752 h 490139"/>
              <a:gd name="connsiteX21" fmla="*/ 48453 w 705007"/>
              <a:gd name="connsiteY21" fmla="*/ 428030 h 490139"/>
              <a:gd name="connsiteX22" fmla="*/ -29 w 705007"/>
              <a:gd name="connsiteY22" fmla="*/ 281345 h 490139"/>
              <a:gd name="connsiteX23" fmla="*/ 22260 w 705007"/>
              <a:gd name="connsiteY23" fmla="*/ 165045 h 490139"/>
              <a:gd name="connsiteX24" fmla="*/ 88935 w 705007"/>
              <a:gd name="connsiteY24" fmla="*/ 75034 h 490139"/>
              <a:gd name="connsiteX25" fmla="*/ 189423 w 705007"/>
              <a:gd name="connsiteY25" fmla="*/ 17884 h 490139"/>
              <a:gd name="connsiteX26" fmla="*/ 310105 w 705007"/>
              <a:gd name="connsiteY26" fmla="*/ -309 h 490139"/>
              <a:gd name="connsiteX27" fmla="*/ 310105 w 705007"/>
              <a:gd name="connsiteY27" fmla="*/ 24932 h 490139"/>
              <a:gd name="connsiteX28" fmla="*/ 173136 w 705007"/>
              <a:gd name="connsiteY28" fmla="*/ 83606 h 490139"/>
              <a:gd name="connsiteX29" fmla="*/ 126463 w 705007"/>
              <a:gd name="connsiteY29" fmla="*/ 208098 h 490139"/>
              <a:gd name="connsiteX30" fmla="*/ 141703 w 705007"/>
              <a:gd name="connsiteY30" fmla="*/ 282869 h 490139"/>
              <a:gd name="connsiteX31" fmla="*/ 187423 w 705007"/>
              <a:gd name="connsiteY31" fmla="*/ 258676 h 490139"/>
              <a:gd name="connsiteX32" fmla="*/ 230000 w 705007"/>
              <a:gd name="connsiteY32" fmla="*/ 251532 h 490139"/>
              <a:gd name="connsiteX33" fmla="*/ 309153 w 705007"/>
              <a:gd name="connsiteY33" fmla="*/ 286965 h 490139"/>
              <a:gd name="connsiteX34" fmla="*/ 336489 w 705007"/>
              <a:gd name="connsiteY34" fmla="*/ 359831 h 490139"/>
              <a:gd name="connsiteX35" fmla="*/ 290865 w 705007"/>
              <a:gd name="connsiteY35" fmla="*/ 456891 h 49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05007" h="490139">
                <a:moveTo>
                  <a:pt x="659197" y="457367"/>
                </a:moveTo>
                <a:lnTo>
                  <a:pt x="659197" y="457367"/>
                </a:lnTo>
                <a:cubicBezTo>
                  <a:pt x="628574" y="479484"/>
                  <a:pt x="591512" y="490867"/>
                  <a:pt x="553755" y="489752"/>
                </a:cubicBezTo>
                <a:cubicBezTo>
                  <a:pt x="494890" y="489752"/>
                  <a:pt x="448218" y="469560"/>
                  <a:pt x="413737" y="428030"/>
                </a:cubicBezTo>
                <a:cubicBezTo>
                  <a:pt x="379333" y="386997"/>
                  <a:pt x="360959" y="334885"/>
                  <a:pt x="362016" y="281345"/>
                </a:cubicBezTo>
                <a:cubicBezTo>
                  <a:pt x="361455" y="241036"/>
                  <a:pt x="370503" y="201174"/>
                  <a:pt x="388401" y="165045"/>
                </a:cubicBezTo>
                <a:cubicBezTo>
                  <a:pt x="404831" y="130546"/>
                  <a:pt x="428330" y="99875"/>
                  <a:pt x="457362" y="75034"/>
                </a:cubicBezTo>
                <a:cubicBezTo>
                  <a:pt x="486880" y="49755"/>
                  <a:pt x="520951" y="30362"/>
                  <a:pt x="557755" y="17884"/>
                </a:cubicBezTo>
                <a:cubicBezTo>
                  <a:pt x="596865" y="5749"/>
                  <a:pt x="637584" y="-385"/>
                  <a:pt x="678532" y="-309"/>
                </a:cubicBezTo>
                <a:lnTo>
                  <a:pt x="678532" y="24932"/>
                </a:lnTo>
                <a:cubicBezTo>
                  <a:pt x="617668" y="37124"/>
                  <a:pt x="571948" y="56270"/>
                  <a:pt x="541563" y="83606"/>
                </a:cubicBezTo>
                <a:cubicBezTo>
                  <a:pt x="511178" y="110943"/>
                  <a:pt x="494890" y="151424"/>
                  <a:pt x="494890" y="208098"/>
                </a:cubicBezTo>
                <a:cubicBezTo>
                  <a:pt x="494890" y="242483"/>
                  <a:pt x="499939" y="267725"/>
                  <a:pt x="510130" y="282869"/>
                </a:cubicBezTo>
                <a:cubicBezTo>
                  <a:pt x="523484" y="271706"/>
                  <a:pt x="539020" y="263467"/>
                  <a:pt x="555755" y="258676"/>
                </a:cubicBezTo>
                <a:cubicBezTo>
                  <a:pt x="569547" y="254313"/>
                  <a:pt x="583873" y="251913"/>
                  <a:pt x="598332" y="251532"/>
                </a:cubicBezTo>
                <a:cubicBezTo>
                  <a:pt x="628878" y="249951"/>
                  <a:pt x="658320" y="263133"/>
                  <a:pt x="677485" y="286965"/>
                </a:cubicBezTo>
                <a:cubicBezTo>
                  <a:pt x="695030" y="307206"/>
                  <a:pt x="704755" y="333047"/>
                  <a:pt x="704916" y="359831"/>
                </a:cubicBezTo>
                <a:cubicBezTo>
                  <a:pt x="704916" y="402313"/>
                  <a:pt x="689677" y="434669"/>
                  <a:pt x="659197" y="456891"/>
                </a:cubicBezTo>
                <a:close/>
                <a:moveTo>
                  <a:pt x="290960" y="457367"/>
                </a:moveTo>
                <a:lnTo>
                  <a:pt x="290960" y="457367"/>
                </a:lnTo>
                <a:cubicBezTo>
                  <a:pt x="260318" y="479503"/>
                  <a:pt x="223209" y="490886"/>
                  <a:pt x="185423" y="489752"/>
                </a:cubicBezTo>
                <a:cubicBezTo>
                  <a:pt x="127606" y="489752"/>
                  <a:pt x="80648" y="469560"/>
                  <a:pt x="48453" y="428030"/>
                </a:cubicBezTo>
                <a:cubicBezTo>
                  <a:pt x="15866" y="386187"/>
                  <a:pt x="-1261" y="334371"/>
                  <a:pt x="-29" y="281345"/>
                </a:cubicBezTo>
                <a:cubicBezTo>
                  <a:pt x="-833" y="241445"/>
                  <a:pt x="6761" y="201821"/>
                  <a:pt x="22260" y="165045"/>
                </a:cubicBezTo>
                <a:cubicBezTo>
                  <a:pt x="37914" y="130688"/>
                  <a:pt x="60633" y="100018"/>
                  <a:pt x="88935" y="75034"/>
                </a:cubicBezTo>
                <a:cubicBezTo>
                  <a:pt x="118481" y="49745"/>
                  <a:pt x="152590" y="30352"/>
                  <a:pt x="189423" y="17884"/>
                </a:cubicBezTo>
                <a:cubicBezTo>
                  <a:pt x="228495" y="5749"/>
                  <a:pt x="269186" y="-385"/>
                  <a:pt x="310105" y="-309"/>
                </a:cubicBezTo>
                <a:lnTo>
                  <a:pt x="310105" y="24932"/>
                </a:lnTo>
                <a:cubicBezTo>
                  <a:pt x="249240" y="37124"/>
                  <a:pt x="203616" y="56270"/>
                  <a:pt x="173136" y="83606"/>
                </a:cubicBezTo>
                <a:cubicBezTo>
                  <a:pt x="142656" y="110943"/>
                  <a:pt x="126463" y="151424"/>
                  <a:pt x="126463" y="208098"/>
                </a:cubicBezTo>
                <a:cubicBezTo>
                  <a:pt x="125368" y="233892"/>
                  <a:pt x="130607" y="259562"/>
                  <a:pt x="141703" y="282869"/>
                </a:cubicBezTo>
                <a:cubicBezTo>
                  <a:pt x="155095" y="271725"/>
                  <a:pt x="170669" y="263486"/>
                  <a:pt x="187423" y="258676"/>
                </a:cubicBezTo>
                <a:cubicBezTo>
                  <a:pt x="201215" y="254313"/>
                  <a:pt x="215541" y="251913"/>
                  <a:pt x="230000" y="251532"/>
                </a:cubicBezTo>
                <a:cubicBezTo>
                  <a:pt x="260547" y="249951"/>
                  <a:pt x="289988" y="263133"/>
                  <a:pt x="309153" y="286965"/>
                </a:cubicBezTo>
                <a:cubicBezTo>
                  <a:pt x="326631" y="307234"/>
                  <a:pt x="336318" y="333066"/>
                  <a:pt x="336489" y="359831"/>
                </a:cubicBezTo>
                <a:cubicBezTo>
                  <a:pt x="336489" y="402313"/>
                  <a:pt x="321278" y="434669"/>
                  <a:pt x="290865" y="456891"/>
                </a:cubicBezTo>
                <a:close/>
              </a:path>
            </a:pathLst>
          </a:custGeom>
          <a:solidFill>
            <a:schemeClr val="accent2"/>
          </a:solidFill>
          <a:ln w="9525" cap="flat">
            <a:noFill/>
            <a:prstDash val="solid"/>
            <a:miter/>
          </a:ln>
        </p:spPr>
        <p:txBody>
          <a:bodyPr rtlCol="0" anchor="ctr">
            <a:noAutofit/>
          </a:bodyPr>
          <a:lstStyle/>
          <a:p>
            <a:endParaRPr lang="en-US" sz="1400">
              <a:solidFill>
                <a:schemeClr val="accent5"/>
              </a:solidFill>
            </a:endParaRPr>
          </a:p>
        </p:txBody>
      </p:sp>
      <p:sp>
        <p:nvSpPr>
          <p:cNvPr id="16" name="Picture Placeholder 2">
            <a:extLst>
              <a:ext uri="{FF2B5EF4-FFF2-40B4-BE49-F238E27FC236}">
                <a16:creationId xmlns:a16="http://schemas.microsoft.com/office/drawing/2014/main" id="{87A71DEF-B5B5-FB0E-3516-EECB9EACE5FF}"/>
              </a:ext>
            </a:extLst>
          </p:cNvPr>
          <p:cNvSpPr>
            <a:spLocks noGrp="1"/>
          </p:cNvSpPr>
          <p:nvPr>
            <p:ph type="pic" sz="quarter" idx="46" hasCustomPrompt="1"/>
          </p:nvPr>
        </p:nvSpPr>
        <p:spPr>
          <a:xfrm>
            <a:off x="4549452" y="260520"/>
            <a:ext cx="2141728" cy="552451"/>
          </a:xfrm>
        </p:spPr>
        <p:txBody>
          <a:bodyPr anchor="ctr"/>
          <a:lstStyle>
            <a:lvl1pPr algn="ctr">
              <a:defRPr sz="1200"/>
            </a:lvl1pPr>
          </a:lstStyle>
          <a:p>
            <a:r>
              <a:rPr lang="en-US"/>
              <a:t>Place Logo Here</a:t>
            </a:r>
          </a:p>
        </p:txBody>
      </p:sp>
      <p:sp>
        <p:nvSpPr>
          <p:cNvPr id="19" name="Text Placeholder 44">
            <a:extLst>
              <a:ext uri="{FF2B5EF4-FFF2-40B4-BE49-F238E27FC236}">
                <a16:creationId xmlns:a16="http://schemas.microsoft.com/office/drawing/2014/main" id="{966672F2-429E-BCC0-397B-97694EFFE262}"/>
              </a:ext>
            </a:extLst>
          </p:cNvPr>
          <p:cNvSpPr>
            <a:spLocks noGrp="1"/>
          </p:cNvSpPr>
          <p:nvPr>
            <p:ph type="body" sz="quarter" idx="23" hasCustomPrompt="1"/>
          </p:nvPr>
        </p:nvSpPr>
        <p:spPr>
          <a:xfrm>
            <a:off x="2037521" y="6364123"/>
            <a:ext cx="4653659" cy="283368"/>
          </a:xfrm>
        </p:spPr>
        <p:txBody>
          <a:bodyPr anchor="ctr">
            <a:noAutofit/>
          </a:bodyPr>
          <a:lstStyle>
            <a:lvl1pPr>
              <a:spcAft>
                <a:spcPts val="0"/>
              </a:spcAft>
              <a:defRPr sz="800" b="0">
                <a:solidFill>
                  <a:schemeClr val="bg2"/>
                </a:solidFill>
              </a:defRPr>
            </a:lvl1pPr>
            <a:lvl2pPr marL="0" indent="0">
              <a:buNone/>
              <a:defRPr/>
            </a:lvl2pPr>
          </a:lstStyle>
          <a:p>
            <a:pPr lvl="0"/>
            <a:r>
              <a:rPr lang="en-US"/>
              <a:t>Add footnotes here if needed</a:t>
            </a:r>
          </a:p>
        </p:txBody>
      </p:sp>
    </p:spTree>
    <p:extLst>
      <p:ext uri="{BB962C8B-B14F-4D97-AF65-F5344CB8AC3E}">
        <p14:creationId xmlns:p14="http://schemas.microsoft.com/office/powerpoint/2010/main" val="28114221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Slide - Dark">
    <p:bg>
      <p:bgPr>
        <a:solidFill>
          <a:srgbClr val="000218"/>
        </a:solidFill>
        <a:effectLst/>
      </p:bgPr>
    </p:bg>
    <p:spTree>
      <p:nvGrpSpPr>
        <p:cNvPr id="1" name=""/>
        <p:cNvGrpSpPr/>
        <p:nvPr/>
      </p:nvGrpSpPr>
      <p:grpSpPr>
        <a:xfrm>
          <a:off x="0" y="0"/>
          <a:ext cx="0" cy="0"/>
          <a:chOff x="0" y="0"/>
          <a:chExt cx="0" cy="0"/>
        </a:xfrm>
      </p:grpSpPr>
      <p:sp>
        <p:nvSpPr>
          <p:cNvPr id="2" name="Picture Placeholder 23">
            <a:extLst>
              <a:ext uri="{FF2B5EF4-FFF2-40B4-BE49-F238E27FC236}">
                <a16:creationId xmlns:a16="http://schemas.microsoft.com/office/drawing/2014/main" id="{48092917-607D-F366-39BD-E7217C795094}"/>
              </a:ext>
            </a:extLst>
          </p:cNvPr>
          <p:cNvSpPr>
            <a:spLocks noGrp="1"/>
          </p:cNvSpPr>
          <p:nvPr>
            <p:ph type="pic" sz="quarter" idx="21" hasCustomPrompt="1"/>
          </p:nvPr>
        </p:nvSpPr>
        <p:spPr>
          <a:xfrm>
            <a:off x="7137400" y="3175"/>
            <a:ext cx="5054600" cy="6854825"/>
          </a:xfrm>
          <a:prstGeom prst="rect">
            <a:avLst/>
          </a:prstGeom>
        </p:spPr>
        <p:txBody>
          <a:bodyPr wrap="square" anchor="ctr">
            <a:noAutofit/>
          </a:bodyPr>
          <a:lstStyle>
            <a:lvl1pPr algn="ctr">
              <a:defRPr>
                <a:solidFill>
                  <a:schemeClr val="bg1"/>
                </a:solidFill>
              </a:defRPr>
            </a:lvl1pPr>
          </a:lstStyle>
          <a:p>
            <a:r>
              <a:rPr lang="en-US"/>
              <a:t>Click to place image</a:t>
            </a:r>
          </a:p>
        </p:txBody>
      </p:sp>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lvl1pPr>
              <a:defRPr>
                <a:solidFill>
                  <a:schemeClr val="bg1"/>
                </a:solidFill>
              </a:defRPr>
            </a:lvl1p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lvl1pPr>
              <a:defRPr>
                <a:solidFill>
                  <a:schemeClr val="bg1"/>
                </a:solidFill>
              </a:defRPr>
            </a:lvl1pPr>
          </a:lstStyle>
          <a:p>
            <a:fld id="{71676EBD-8486-AA4B-82C3-0598DF1E43FA}" type="slidenum">
              <a:rPr lang="en-US" smtClean="0"/>
              <a:pPr/>
              <a:t>‹Nr.›</a:t>
            </a:fld>
            <a:endParaRPr lang="en-US"/>
          </a:p>
        </p:txBody>
      </p:sp>
      <p:sp>
        <p:nvSpPr>
          <p:cNvPr id="5" name="Title 1">
            <a:extLst>
              <a:ext uri="{FF2B5EF4-FFF2-40B4-BE49-F238E27FC236}">
                <a16:creationId xmlns:a16="http://schemas.microsoft.com/office/drawing/2014/main" id="{1A9D027F-7CC7-523E-9DE4-4CFEC4C17A3E}"/>
              </a:ext>
            </a:extLst>
          </p:cNvPr>
          <p:cNvSpPr>
            <a:spLocks noGrp="1"/>
          </p:cNvSpPr>
          <p:nvPr>
            <p:ph type="title" hasCustomPrompt="1"/>
          </p:nvPr>
        </p:nvSpPr>
        <p:spPr>
          <a:xfrm>
            <a:off x="415596" y="2473879"/>
            <a:ext cx="6275584" cy="2312927"/>
          </a:xfrm>
        </p:spPr>
        <p:txBody>
          <a:bodyPr vert="horz" wrap="square" anchor="t" anchorCtr="0">
            <a:noAutofit/>
          </a:bodyPr>
          <a:lstStyle>
            <a:lvl1pPr>
              <a:defRPr sz="2400" b="0" i="1">
                <a:solidFill>
                  <a:schemeClr val="bg1"/>
                </a:solidFill>
              </a:defRPr>
            </a:lvl1pPr>
          </a:lstStyle>
          <a:p>
            <a:r>
              <a:rPr lang="en-US"/>
              <a:t>Insert quote here</a:t>
            </a:r>
            <a:br>
              <a:rPr lang="en-US"/>
            </a:br>
            <a:r>
              <a:rPr lang="en-US"/>
              <a:t>six lines maximum</a:t>
            </a:r>
          </a:p>
        </p:txBody>
      </p:sp>
      <p:sp>
        <p:nvSpPr>
          <p:cNvPr id="13" name="Text Placeholder 39">
            <a:extLst>
              <a:ext uri="{FF2B5EF4-FFF2-40B4-BE49-F238E27FC236}">
                <a16:creationId xmlns:a16="http://schemas.microsoft.com/office/drawing/2014/main" id="{2CD119B4-FF76-AC9F-C6CD-78333DBCB2AA}"/>
              </a:ext>
            </a:extLst>
          </p:cNvPr>
          <p:cNvSpPr>
            <a:spLocks noGrp="1"/>
          </p:cNvSpPr>
          <p:nvPr>
            <p:ph type="body" sz="quarter" idx="22" hasCustomPrompt="1"/>
          </p:nvPr>
        </p:nvSpPr>
        <p:spPr>
          <a:xfrm>
            <a:off x="415596" y="5701662"/>
            <a:ext cx="6275584" cy="251775"/>
          </a:xfrm>
        </p:spPr>
        <p:txBody>
          <a:bodyPr wrap="square">
            <a:noAutofit/>
          </a:bodyPr>
          <a:lstStyle>
            <a:lvl1pPr>
              <a:defRPr>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ompany and or Title // Location</a:t>
            </a:r>
          </a:p>
        </p:txBody>
      </p:sp>
      <p:sp>
        <p:nvSpPr>
          <p:cNvPr id="14" name="Text Placeholder 42">
            <a:extLst>
              <a:ext uri="{FF2B5EF4-FFF2-40B4-BE49-F238E27FC236}">
                <a16:creationId xmlns:a16="http://schemas.microsoft.com/office/drawing/2014/main" id="{1E2CFA02-8BC7-468D-84C9-3CB95E3A1558}"/>
              </a:ext>
            </a:extLst>
          </p:cNvPr>
          <p:cNvSpPr>
            <a:spLocks noGrp="1"/>
          </p:cNvSpPr>
          <p:nvPr>
            <p:ph type="body" sz="quarter" idx="16" hasCustomPrompt="1"/>
          </p:nvPr>
        </p:nvSpPr>
        <p:spPr>
          <a:xfrm>
            <a:off x="415596" y="5379210"/>
            <a:ext cx="6275584" cy="251775"/>
          </a:xfrm>
        </p:spPr>
        <p:txBody>
          <a:bodyPr wrap="square">
            <a:noAutofit/>
          </a:bodyPr>
          <a:lstStyle>
            <a:lvl1pPr>
              <a:defRPr b="1">
                <a:solidFill>
                  <a:schemeClr val="bg1"/>
                </a:solidFill>
              </a:defRPr>
            </a:lvl1pPr>
            <a:lvl2pPr marL="0" indent="0">
              <a:buNone/>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Quote Attribution</a:t>
            </a:r>
          </a:p>
        </p:txBody>
      </p:sp>
      <p:sp>
        <p:nvSpPr>
          <p:cNvPr id="15" name="Graphic 5">
            <a:extLst>
              <a:ext uri="{FF2B5EF4-FFF2-40B4-BE49-F238E27FC236}">
                <a16:creationId xmlns:a16="http://schemas.microsoft.com/office/drawing/2014/main" id="{7FD7C699-0CA3-8E17-D110-56615E7BE592}"/>
              </a:ext>
            </a:extLst>
          </p:cNvPr>
          <p:cNvSpPr>
            <a:spLocks/>
          </p:cNvSpPr>
          <p:nvPr userDrawn="1"/>
        </p:nvSpPr>
        <p:spPr>
          <a:xfrm>
            <a:off x="415597" y="1483535"/>
            <a:ext cx="677001" cy="472648"/>
          </a:xfrm>
          <a:custGeom>
            <a:avLst/>
            <a:gdLst>
              <a:gd name="connsiteX0" fmla="*/ 659197 w 705007"/>
              <a:gd name="connsiteY0" fmla="*/ 457367 h 490139"/>
              <a:gd name="connsiteX1" fmla="*/ 659197 w 705007"/>
              <a:gd name="connsiteY1" fmla="*/ 457367 h 490139"/>
              <a:gd name="connsiteX2" fmla="*/ 553755 w 705007"/>
              <a:gd name="connsiteY2" fmla="*/ 489752 h 490139"/>
              <a:gd name="connsiteX3" fmla="*/ 413737 w 705007"/>
              <a:gd name="connsiteY3" fmla="*/ 428030 h 490139"/>
              <a:gd name="connsiteX4" fmla="*/ 362016 w 705007"/>
              <a:gd name="connsiteY4" fmla="*/ 281345 h 490139"/>
              <a:gd name="connsiteX5" fmla="*/ 388401 w 705007"/>
              <a:gd name="connsiteY5" fmla="*/ 165045 h 490139"/>
              <a:gd name="connsiteX6" fmla="*/ 457362 w 705007"/>
              <a:gd name="connsiteY6" fmla="*/ 75034 h 490139"/>
              <a:gd name="connsiteX7" fmla="*/ 557755 w 705007"/>
              <a:gd name="connsiteY7" fmla="*/ 17884 h 490139"/>
              <a:gd name="connsiteX8" fmla="*/ 678532 w 705007"/>
              <a:gd name="connsiteY8" fmla="*/ -309 h 490139"/>
              <a:gd name="connsiteX9" fmla="*/ 678532 w 705007"/>
              <a:gd name="connsiteY9" fmla="*/ 24932 h 490139"/>
              <a:gd name="connsiteX10" fmla="*/ 541563 w 705007"/>
              <a:gd name="connsiteY10" fmla="*/ 83606 h 490139"/>
              <a:gd name="connsiteX11" fmla="*/ 494890 w 705007"/>
              <a:gd name="connsiteY11" fmla="*/ 208098 h 490139"/>
              <a:gd name="connsiteX12" fmla="*/ 510130 w 705007"/>
              <a:gd name="connsiteY12" fmla="*/ 282869 h 490139"/>
              <a:gd name="connsiteX13" fmla="*/ 555755 w 705007"/>
              <a:gd name="connsiteY13" fmla="*/ 258676 h 490139"/>
              <a:gd name="connsiteX14" fmla="*/ 598332 w 705007"/>
              <a:gd name="connsiteY14" fmla="*/ 251532 h 490139"/>
              <a:gd name="connsiteX15" fmla="*/ 677485 w 705007"/>
              <a:gd name="connsiteY15" fmla="*/ 286965 h 490139"/>
              <a:gd name="connsiteX16" fmla="*/ 704916 w 705007"/>
              <a:gd name="connsiteY16" fmla="*/ 359831 h 490139"/>
              <a:gd name="connsiteX17" fmla="*/ 659197 w 705007"/>
              <a:gd name="connsiteY17" fmla="*/ 456891 h 490139"/>
              <a:gd name="connsiteX18" fmla="*/ 290960 w 705007"/>
              <a:gd name="connsiteY18" fmla="*/ 457367 h 490139"/>
              <a:gd name="connsiteX19" fmla="*/ 290960 w 705007"/>
              <a:gd name="connsiteY19" fmla="*/ 457367 h 490139"/>
              <a:gd name="connsiteX20" fmla="*/ 185423 w 705007"/>
              <a:gd name="connsiteY20" fmla="*/ 489752 h 490139"/>
              <a:gd name="connsiteX21" fmla="*/ 48453 w 705007"/>
              <a:gd name="connsiteY21" fmla="*/ 428030 h 490139"/>
              <a:gd name="connsiteX22" fmla="*/ -29 w 705007"/>
              <a:gd name="connsiteY22" fmla="*/ 281345 h 490139"/>
              <a:gd name="connsiteX23" fmla="*/ 22260 w 705007"/>
              <a:gd name="connsiteY23" fmla="*/ 165045 h 490139"/>
              <a:gd name="connsiteX24" fmla="*/ 88935 w 705007"/>
              <a:gd name="connsiteY24" fmla="*/ 75034 h 490139"/>
              <a:gd name="connsiteX25" fmla="*/ 189423 w 705007"/>
              <a:gd name="connsiteY25" fmla="*/ 17884 h 490139"/>
              <a:gd name="connsiteX26" fmla="*/ 310105 w 705007"/>
              <a:gd name="connsiteY26" fmla="*/ -309 h 490139"/>
              <a:gd name="connsiteX27" fmla="*/ 310105 w 705007"/>
              <a:gd name="connsiteY27" fmla="*/ 24932 h 490139"/>
              <a:gd name="connsiteX28" fmla="*/ 173136 w 705007"/>
              <a:gd name="connsiteY28" fmla="*/ 83606 h 490139"/>
              <a:gd name="connsiteX29" fmla="*/ 126463 w 705007"/>
              <a:gd name="connsiteY29" fmla="*/ 208098 h 490139"/>
              <a:gd name="connsiteX30" fmla="*/ 141703 w 705007"/>
              <a:gd name="connsiteY30" fmla="*/ 282869 h 490139"/>
              <a:gd name="connsiteX31" fmla="*/ 187423 w 705007"/>
              <a:gd name="connsiteY31" fmla="*/ 258676 h 490139"/>
              <a:gd name="connsiteX32" fmla="*/ 230000 w 705007"/>
              <a:gd name="connsiteY32" fmla="*/ 251532 h 490139"/>
              <a:gd name="connsiteX33" fmla="*/ 309153 w 705007"/>
              <a:gd name="connsiteY33" fmla="*/ 286965 h 490139"/>
              <a:gd name="connsiteX34" fmla="*/ 336489 w 705007"/>
              <a:gd name="connsiteY34" fmla="*/ 359831 h 490139"/>
              <a:gd name="connsiteX35" fmla="*/ 290865 w 705007"/>
              <a:gd name="connsiteY35" fmla="*/ 456891 h 49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05007" h="490139">
                <a:moveTo>
                  <a:pt x="659197" y="457367"/>
                </a:moveTo>
                <a:lnTo>
                  <a:pt x="659197" y="457367"/>
                </a:lnTo>
                <a:cubicBezTo>
                  <a:pt x="628574" y="479484"/>
                  <a:pt x="591512" y="490867"/>
                  <a:pt x="553755" y="489752"/>
                </a:cubicBezTo>
                <a:cubicBezTo>
                  <a:pt x="494890" y="489752"/>
                  <a:pt x="448218" y="469560"/>
                  <a:pt x="413737" y="428030"/>
                </a:cubicBezTo>
                <a:cubicBezTo>
                  <a:pt x="379333" y="386997"/>
                  <a:pt x="360959" y="334885"/>
                  <a:pt x="362016" y="281345"/>
                </a:cubicBezTo>
                <a:cubicBezTo>
                  <a:pt x="361455" y="241036"/>
                  <a:pt x="370503" y="201174"/>
                  <a:pt x="388401" y="165045"/>
                </a:cubicBezTo>
                <a:cubicBezTo>
                  <a:pt x="404831" y="130546"/>
                  <a:pt x="428330" y="99875"/>
                  <a:pt x="457362" y="75034"/>
                </a:cubicBezTo>
                <a:cubicBezTo>
                  <a:pt x="486880" y="49755"/>
                  <a:pt x="520951" y="30362"/>
                  <a:pt x="557755" y="17884"/>
                </a:cubicBezTo>
                <a:cubicBezTo>
                  <a:pt x="596865" y="5749"/>
                  <a:pt x="637584" y="-385"/>
                  <a:pt x="678532" y="-309"/>
                </a:cubicBezTo>
                <a:lnTo>
                  <a:pt x="678532" y="24932"/>
                </a:lnTo>
                <a:cubicBezTo>
                  <a:pt x="617668" y="37124"/>
                  <a:pt x="571948" y="56270"/>
                  <a:pt x="541563" y="83606"/>
                </a:cubicBezTo>
                <a:cubicBezTo>
                  <a:pt x="511178" y="110943"/>
                  <a:pt x="494890" y="151424"/>
                  <a:pt x="494890" y="208098"/>
                </a:cubicBezTo>
                <a:cubicBezTo>
                  <a:pt x="494890" y="242483"/>
                  <a:pt x="499939" y="267725"/>
                  <a:pt x="510130" y="282869"/>
                </a:cubicBezTo>
                <a:cubicBezTo>
                  <a:pt x="523484" y="271706"/>
                  <a:pt x="539020" y="263467"/>
                  <a:pt x="555755" y="258676"/>
                </a:cubicBezTo>
                <a:cubicBezTo>
                  <a:pt x="569547" y="254313"/>
                  <a:pt x="583873" y="251913"/>
                  <a:pt x="598332" y="251532"/>
                </a:cubicBezTo>
                <a:cubicBezTo>
                  <a:pt x="628878" y="249951"/>
                  <a:pt x="658320" y="263133"/>
                  <a:pt x="677485" y="286965"/>
                </a:cubicBezTo>
                <a:cubicBezTo>
                  <a:pt x="695030" y="307206"/>
                  <a:pt x="704755" y="333047"/>
                  <a:pt x="704916" y="359831"/>
                </a:cubicBezTo>
                <a:cubicBezTo>
                  <a:pt x="704916" y="402313"/>
                  <a:pt x="689677" y="434669"/>
                  <a:pt x="659197" y="456891"/>
                </a:cubicBezTo>
                <a:close/>
                <a:moveTo>
                  <a:pt x="290960" y="457367"/>
                </a:moveTo>
                <a:lnTo>
                  <a:pt x="290960" y="457367"/>
                </a:lnTo>
                <a:cubicBezTo>
                  <a:pt x="260318" y="479503"/>
                  <a:pt x="223209" y="490886"/>
                  <a:pt x="185423" y="489752"/>
                </a:cubicBezTo>
                <a:cubicBezTo>
                  <a:pt x="127606" y="489752"/>
                  <a:pt x="80648" y="469560"/>
                  <a:pt x="48453" y="428030"/>
                </a:cubicBezTo>
                <a:cubicBezTo>
                  <a:pt x="15866" y="386187"/>
                  <a:pt x="-1261" y="334371"/>
                  <a:pt x="-29" y="281345"/>
                </a:cubicBezTo>
                <a:cubicBezTo>
                  <a:pt x="-833" y="241445"/>
                  <a:pt x="6761" y="201821"/>
                  <a:pt x="22260" y="165045"/>
                </a:cubicBezTo>
                <a:cubicBezTo>
                  <a:pt x="37914" y="130688"/>
                  <a:pt x="60633" y="100018"/>
                  <a:pt x="88935" y="75034"/>
                </a:cubicBezTo>
                <a:cubicBezTo>
                  <a:pt x="118481" y="49745"/>
                  <a:pt x="152590" y="30352"/>
                  <a:pt x="189423" y="17884"/>
                </a:cubicBezTo>
                <a:cubicBezTo>
                  <a:pt x="228495" y="5749"/>
                  <a:pt x="269186" y="-385"/>
                  <a:pt x="310105" y="-309"/>
                </a:cubicBezTo>
                <a:lnTo>
                  <a:pt x="310105" y="24932"/>
                </a:lnTo>
                <a:cubicBezTo>
                  <a:pt x="249240" y="37124"/>
                  <a:pt x="203616" y="56270"/>
                  <a:pt x="173136" y="83606"/>
                </a:cubicBezTo>
                <a:cubicBezTo>
                  <a:pt x="142656" y="110943"/>
                  <a:pt x="126463" y="151424"/>
                  <a:pt x="126463" y="208098"/>
                </a:cubicBezTo>
                <a:cubicBezTo>
                  <a:pt x="125368" y="233892"/>
                  <a:pt x="130607" y="259562"/>
                  <a:pt x="141703" y="282869"/>
                </a:cubicBezTo>
                <a:cubicBezTo>
                  <a:pt x="155095" y="271725"/>
                  <a:pt x="170669" y="263486"/>
                  <a:pt x="187423" y="258676"/>
                </a:cubicBezTo>
                <a:cubicBezTo>
                  <a:pt x="201215" y="254313"/>
                  <a:pt x="215541" y="251913"/>
                  <a:pt x="230000" y="251532"/>
                </a:cubicBezTo>
                <a:cubicBezTo>
                  <a:pt x="260547" y="249951"/>
                  <a:pt x="289988" y="263133"/>
                  <a:pt x="309153" y="286965"/>
                </a:cubicBezTo>
                <a:cubicBezTo>
                  <a:pt x="326631" y="307234"/>
                  <a:pt x="336318" y="333066"/>
                  <a:pt x="336489" y="359831"/>
                </a:cubicBezTo>
                <a:cubicBezTo>
                  <a:pt x="336489" y="402313"/>
                  <a:pt x="321278" y="434669"/>
                  <a:pt x="290865" y="456891"/>
                </a:cubicBezTo>
                <a:close/>
              </a:path>
            </a:pathLst>
          </a:custGeom>
          <a:solidFill>
            <a:schemeClr val="accent2"/>
          </a:solidFill>
          <a:ln w="9525" cap="flat">
            <a:noFill/>
            <a:prstDash val="solid"/>
            <a:miter/>
          </a:ln>
        </p:spPr>
        <p:txBody>
          <a:bodyPr rtlCol="0" anchor="ctr">
            <a:noAutofit/>
          </a:bodyPr>
          <a:lstStyle/>
          <a:p>
            <a:endParaRPr lang="en-US" sz="1400">
              <a:solidFill>
                <a:schemeClr val="accent5"/>
              </a:solidFill>
            </a:endParaRPr>
          </a:p>
        </p:txBody>
      </p:sp>
      <p:sp>
        <p:nvSpPr>
          <p:cNvPr id="16" name="Picture Placeholder 2">
            <a:extLst>
              <a:ext uri="{FF2B5EF4-FFF2-40B4-BE49-F238E27FC236}">
                <a16:creationId xmlns:a16="http://schemas.microsoft.com/office/drawing/2014/main" id="{87A71DEF-B5B5-FB0E-3516-EECB9EACE5FF}"/>
              </a:ext>
            </a:extLst>
          </p:cNvPr>
          <p:cNvSpPr>
            <a:spLocks noGrp="1"/>
          </p:cNvSpPr>
          <p:nvPr>
            <p:ph type="pic" sz="quarter" idx="46" hasCustomPrompt="1"/>
          </p:nvPr>
        </p:nvSpPr>
        <p:spPr>
          <a:xfrm>
            <a:off x="4549452" y="260520"/>
            <a:ext cx="2141728" cy="552451"/>
          </a:xfrm>
        </p:spPr>
        <p:txBody>
          <a:bodyPr anchor="ctr"/>
          <a:lstStyle>
            <a:lvl1pPr algn="ctr">
              <a:defRPr sz="1200">
                <a:solidFill>
                  <a:schemeClr val="bg1"/>
                </a:solidFill>
              </a:defRPr>
            </a:lvl1pPr>
          </a:lstStyle>
          <a:p>
            <a:r>
              <a:rPr lang="en-US"/>
              <a:t>Place Logo Here</a:t>
            </a:r>
          </a:p>
        </p:txBody>
      </p:sp>
      <p:sp>
        <p:nvSpPr>
          <p:cNvPr id="3" name="Text Placeholder 44">
            <a:extLst>
              <a:ext uri="{FF2B5EF4-FFF2-40B4-BE49-F238E27FC236}">
                <a16:creationId xmlns:a16="http://schemas.microsoft.com/office/drawing/2014/main" id="{4635D0E6-F508-09B4-B04E-88D4169C0EC8}"/>
              </a:ext>
            </a:extLst>
          </p:cNvPr>
          <p:cNvSpPr>
            <a:spLocks noGrp="1"/>
          </p:cNvSpPr>
          <p:nvPr>
            <p:ph type="body" sz="quarter" idx="23" hasCustomPrompt="1"/>
          </p:nvPr>
        </p:nvSpPr>
        <p:spPr>
          <a:xfrm>
            <a:off x="2037521" y="6364123"/>
            <a:ext cx="4653659" cy="283368"/>
          </a:xfrm>
        </p:spPr>
        <p:txBody>
          <a:bodyPr anchor="ctr">
            <a:noAutofit/>
          </a:bodyPr>
          <a:lstStyle>
            <a:lvl1pPr>
              <a:spcAft>
                <a:spcPts val="0"/>
              </a:spcAft>
              <a:defRPr sz="800" b="0">
                <a:solidFill>
                  <a:schemeClr val="bg1"/>
                </a:solidFill>
              </a:defRPr>
            </a:lvl1pPr>
            <a:lvl2pPr marL="0" indent="0">
              <a:buNone/>
              <a:defRPr/>
            </a:lvl2pPr>
          </a:lstStyle>
          <a:p>
            <a:pPr lvl="0"/>
            <a:r>
              <a:rPr lang="en-US"/>
              <a:t>Add footnotes here if needed</a:t>
            </a:r>
          </a:p>
        </p:txBody>
      </p:sp>
    </p:spTree>
    <p:extLst>
      <p:ext uri="{BB962C8B-B14F-4D97-AF65-F5344CB8AC3E}">
        <p14:creationId xmlns:p14="http://schemas.microsoft.com/office/powerpoint/2010/main" val="4379052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DO NOT USE - INSTRUCTIONAL 6">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3F3F73B-5A7E-8BBE-68A8-9BD49B10A6BC}"/>
              </a:ext>
            </a:extLst>
          </p:cNvPr>
          <p:cNvSpPr>
            <a:spLocks noGrp="1"/>
          </p:cNvSpPr>
          <p:nvPr>
            <p:ph type="ftr" sz="quarter" idx="11"/>
          </p:nvPr>
        </p:nvSpPr>
        <p:spPr>
          <a:xfrm>
            <a:off x="10447173" y="6356351"/>
            <a:ext cx="956004" cy="365125"/>
          </a:xfrm>
          <a:prstGeom prst="rect">
            <a:avLst/>
          </a:prstGeom>
        </p:spPr>
        <p:txBody>
          <a:bodyPr/>
          <a:lstStyle/>
          <a:p>
            <a:r>
              <a:rPr lang="en-US"/>
              <a:t>© Commvault 2024</a:t>
            </a:r>
          </a:p>
        </p:txBody>
      </p:sp>
      <p:sp>
        <p:nvSpPr>
          <p:cNvPr id="4" name="Slide Number Placeholder 3">
            <a:extLst>
              <a:ext uri="{FF2B5EF4-FFF2-40B4-BE49-F238E27FC236}">
                <a16:creationId xmlns:a16="http://schemas.microsoft.com/office/drawing/2014/main" id="{D481AB5E-0FD8-E0D0-B848-CE488AFA1733}"/>
              </a:ext>
            </a:extLst>
          </p:cNvPr>
          <p:cNvSpPr>
            <a:spLocks noGrp="1"/>
          </p:cNvSpPr>
          <p:nvPr>
            <p:ph type="sldNum" sz="quarter" idx="12"/>
          </p:nvPr>
        </p:nvSpPr>
        <p:spPr/>
        <p:txBody>
          <a:bodyPr/>
          <a:lstStyle/>
          <a:p>
            <a:fld id="{71676EBD-8486-AA4B-82C3-0598DF1E43FA}" type="slidenum">
              <a:rPr lang="en-US" smtClean="0"/>
              <a:t>‹Nr.›</a:t>
            </a:fld>
            <a:endParaRPr lang="en-US"/>
          </a:p>
        </p:txBody>
      </p:sp>
      <p:sp>
        <p:nvSpPr>
          <p:cNvPr id="5" name="Rectangle 4">
            <a:extLst>
              <a:ext uri="{FF2B5EF4-FFF2-40B4-BE49-F238E27FC236}">
                <a16:creationId xmlns:a16="http://schemas.microsoft.com/office/drawing/2014/main" id="{CB32733C-E917-A5A6-1594-5B360FC1919B}"/>
              </a:ext>
            </a:extLst>
          </p:cNvPr>
          <p:cNvSpPr/>
          <p:nvPr userDrawn="1"/>
        </p:nvSpPr>
        <p:spPr>
          <a:xfrm>
            <a:off x="0" y="0"/>
            <a:ext cx="12192000"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 name="TextBox 5">
            <a:extLst>
              <a:ext uri="{FF2B5EF4-FFF2-40B4-BE49-F238E27FC236}">
                <a16:creationId xmlns:a16="http://schemas.microsoft.com/office/drawing/2014/main" id="{6803F741-5B4D-49EC-3B06-5F25CE645285}"/>
              </a:ext>
            </a:extLst>
          </p:cNvPr>
          <p:cNvSpPr txBox="1"/>
          <p:nvPr userDrawn="1"/>
        </p:nvSpPr>
        <p:spPr>
          <a:xfrm>
            <a:off x="415597" y="476250"/>
            <a:ext cx="9315449" cy="1200329"/>
          </a:xfrm>
          <a:prstGeom prst="rect">
            <a:avLst/>
          </a:prstGeom>
          <a:noFill/>
        </p:spPr>
        <p:txBody>
          <a:bodyPr wrap="square" rtlCol="0">
            <a:spAutoFit/>
          </a:bodyPr>
          <a:lstStyle/>
          <a:p>
            <a:r>
              <a:rPr lang="en-US" sz="3200">
                <a:solidFill>
                  <a:schemeClr val="bg1"/>
                </a:solidFill>
              </a:rPr>
              <a:t>THIS IS AN INSTRUCTIONAL SLIDE </a:t>
            </a:r>
          </a:p>
          <a:p>
            <a:r>
              <a:rPr lang="en-US" sz="4000" b="1">
                <a:solidFill>
                  <a:schemeClr val="bg1"/>
                </a:solidFill>
              </a:rPr>
              <a:t>DO NOT USE</a:t>
            </a:r>
            <a:endParaRPr lang="en-US" sz="3200" b="1">
              <a:solidFill>
                <a:schemeClr val="bg1"/>
              </a:solidFill>
            </a:endParaRPr>
          </a:p>
        </p:txBody>
      </p:sp>
      <p:sp>
        <p:nvSpPr>
          <p:cNvPr id="7" name="TextBox 6">
            <a:extLst>
              <a:ext uri="{FF2B5EF4-FFF2-40B4-BE49-F238E27FC236}">
                <a16:creationId xmlns:a16="http://schemas.microsoft.com/office/drawing/2014/main" id="{6BFEBCAE-B9C3-7526-64F5-463C81DE63A2}"/>
              </a:ext>
            </a:extLst>
          </p:cNvPr>
          <p:cNvSpPr txBox="1"/>
          <p:nvPr userDrawn="1"/>
        </p:nvSpPr>
        <p:spPr>
          <a:xfrm>
            <a:off x="329871" y="2451409"/>
            <a:ext cx="10595304" cy="3631763"/>
          </a:xfrm>
          <a:prstGeom prst="rect">
            <a:avLst/>
          </a:prstGeom>
          <a:noFill/>
        </p:spPr>
        <p:txBody>
          <a:bodyPr wrap="square" rtlCol="0">
            <a:spAutoFit/>
          </a:bodyPr>
          <a:lstStyle/>
          <a:p>
            <a:r>
              <a:rPr lang="en-US" sz="11500">
                <a:solidFill>
                  <a:schemeClr val="bg1"/>
                </a:solidFill>
              </a:rPr>
              <a:t>People Slide</a:t>
            </a:r>
          </a:p>
          <a:p>
            <a:r>
              <a:rPr lang="en-US" sz="11500">
                <a:solidFill>
                  <a:schemeClr val="bg1"/>
                </a:solidFill>
              </a:rPr>
              <a:t>Options</a:t>
            </a:r>
            <a:endParaRPr lang="en-US" sz="11500" b="1">
              <a:solidFill>
                <a:schemeClr val="bg1"/>
              </a:solidFill>
            </a:endParaRPr>
          </a:p>
        </p:txBody>
      </p:sp>
    </p:spTree>
    <p:extLst>
      <p:ext uri="{BB962C8B-B14F-4D97-AF65-F5344CB8AC3E}">
        <p14:creationId xmlns:p14="http://schemas.microsoft.com/office/powerpoint/2010/main" val="7070372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ingle Presenter/Bio">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lvl1pPr>
              <a:defRPr>
                <a:solidFill>
                  <a:schemeClr val="bg2"/>
                </a:solidFill>
              </a:defRPr>
            </a:lvl1p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lvl1pPr>
              <a:defRPr>
                <a:solidFill>
                  <a:schemeClr val="bg2"/>
                </a:solidFill>
              </a:defRPr>
            </a:lvl1pPr>
          </a:lstStyle>
          <a:p>
            <a:fld id="{71676EBD-8486-AA4B-82C3-0598DF1E43FA}" type="slidenum">
              <a:rPr lang="en-US" smtClean="0"/>
              <a:pPr/>
              <a:t>‹Nr.›</a:t>
            </a:fld>
            <a:endParaRPr lang="en-US"/>
          </a:p>
        </p:txBody>
      </p:sp>
      <p:sp>
        <p:nvSpPr>
          <p:cNvPr id="3" name="Title 1">
            <a:extLst>
              <a:ext uri="{FF2B5EF4-FFF2-40B4-BE49-F238E27FC236}">
                <a16:creationId xmlns:a16="http://schemas.microsoft.com/office/drawing/2014/main" id="{689BC46D-5385-5DE6-DA61-C10BC9FAF1DE}"/>
              </a:ext>
            </a:extLst>
          </p:cNvPr>
          <p:cNvSpPr>
            <a:spLocks noGrp="1"/>
          </p:cNvSpPr>
          <p:nvPr>
            <p:ph type="title" hasCustomPrompt="1"/>
          </p:nvPr>
        </p:nvSpPr>
        <p:spPr>
          <a:xfrm>
            <a:off x="5120630" y="1886030"/>
            <a:ext cx="6655773" cy="1107996"/>
          </a:xfrm>
        </p:spPr>
        <p:txBody>
          <a:bodyPr vert="horz" anchor="b">
            <a:noAutofit/>
          </a:bodyPr>
          <a:lstStyle>
            <a:lvl1pPr>
              <a:defRPr sz="3600" b="0">
                <a:solidFill>
                  <a:schemeClr val="tx1"/>
                </a:solidFill>
              </a:defRPr>
            </a:lvl1pPr>
          </a:lstStyle>
          <a:p>
            <a:r>
              <a:rPr lang="en-US"/>
              <a:t>Name Surname</a:t>
            </a:r>
          </a:p>
        </p:txBody>
      </p:sp>
      <p:sp>
        <p:nvSpPr>
          <p:cNvPr id="4" name="Text Placeholder 18">
            <a:extLst>
              <a:ext uri="{FF2B5EF4-FFF2-40B4-BE49-F238E27FC236}">
                <a16:creationId xmlns:a16="http://schemas.microsoft.com/office/drawing/2014/main" id="{115F2DDB-D60A-EA50-E444-748DF4339ED6}"/>
              </a:ext>
            </a:extLst>
          </p:cNvPr>
          <p:cNvSpPr>
            <a:spLocks noGrp="1"/>
          </p:cNvSpPr>
          <p:nvPr>
            <p:ph type="body" sz="quarter" idx="16" hasCustomPrompt="1"/>
          </p:nvPr>
        </p:nvSpPr>
        <p:spPr>
          <a:xfrm>
            <a:off x="5120630" y="3189001"/>
            <a:ext cx="6655773" cy="193899"/>
          </a:xfrm>
        </p:spPr>
        <p:txBody>
          <a:bodyPr>
            <a:noAutofit/>
          </a:bodyPr>
          <a:lstStyle>
            <a:lvl1pPr>
              <a:defRPr sz="1400" b="1" cap="all" baseline="0">
                <a:solidFill>
                  <a:schemeClr val="tx1"/>
                </a:solidFill>
              </a:defRPr>
            </a:lvl1pPr>
          </a:lstStyle>
          <a:p>
            <a:pPr lvl="0"/>
            <a:r>
              <a:rPr lang="en-US"/>
              <a:t>CLICK TO EDIT MASTER TEXT STYLES</a:t>
            </a:r>
          </a:p>
        </p:txBody>
      </p:sp>
      <p:sp>
        <p:nvSpPr>
          <p:cNvPr id="6" name="Text Placeholder 18">
            <a:extLst>
              <a:ext uri="{FF2B5EF4-FFF2-40B4-BE49-F238E27FC236}">
                <a16:creationId xmlns:a16="http://schemas.microsoft.com/office/drawing/2014/main" id="{E1D0A204-2560-CBD9-B777-06D1A5654A40}"/>
              </a:ext>
            </a:extLst>
          </p:cNvPr>
          <p:cNvSpPr>
            <a:spLocks noGrp="1"/>
          </p:cNvSpPr>
          <p:nvPr>
            <p:ph type="body" sz="quarter" idx="17" hasCustomPrompt="1"/>
          </p:nvPr>
        </p:nvSpPr>
        <p:spPr>
          <a:xfrm>
            <a:off x="5120631" y="4154489"/>
            <a:ext cx="6655772" cy="1160463"/>
          </a:xfrm>
        </p:spPr>
        <p:txBody>
          <a:bodyPr>
            <a:noAutofit/>
          </a:bodyPr>
          <a:lstStyle>
            <a:lvl1pPr marL="285744" indent="-285744">
              <a:buFont typeface="Arial" panose="020B0604020202020204" pitchFamily="34" charset="0"/>
              <a:buChar char="•"/>
              <a:defRPr>
                <a:solidFill>
                  <a:schemeClr val="tx1"/>
                </a:solidFill>
              </a:defRPr>
            </a:lvl1pPr>
            <a:lvl2pPr>
              <a:defRPr b="0">
                <a:solidFill>
                  <a:schemeClr val="accent1"/>
                </a:solidFill>
              </a:defRPr>
            </a:lvl2pPr>
          </a:lstStyle>
          <a:p>
            <a:pPr lvl="0"/>
            <a:r>
              <a:rPr lang="en-US"/>
              <a:t>Goal</a:t>
            </a:r>
          </a:p>
          <a:p>
            <a:pPr lvl="0"/>
            <a:r>
              <a:rPr lang="en-US"/>
              <a:t>Occupation</a:t>
            </a:r>
          </a:p>
          <a:p>
            <a:pPr lvl="0"/>
            <a:r>
              <a:rPr lang="en-US"/>
              <a:t>Experience</a:t>
            </a:r>
          </a:p>
        </p:txBody>
      </p:sp>
      <p:sp>
        <p:nvSpPr>
          <p:cNvPr id="8" name="Picture Placeholder 23">
            <a:extLst>
              <a:ext uri="{FF2B5EF4-FFF2-40B4-BE49-F238E27FC236}">
                <a16:creationId xmlns:a16="http://schemas.microsoft.com/office/drawing/2014/main" id="{6B1ED381-5BDA-D584-239D-283A32C8FB9B}"/>
              </a:ext>
            </a:extLst>
          </p:cNvPr>
          <p:cNvSpPr>
            <a:spLocks noGrp="1"/>
          </p:cNvSpPr>
          <p:nvPr>
            <p:ph type="pic" sz="quarter" idx="24" hasCustomPrompt="1"/>
          </p:nvPr>
        </p:nvSpPr>
        <p:spPr>
          <a:xfrm>
            <a:off x="415596" y="1281599"/>
            <a:ext cx="3887693" cy="4368801"/>
          </a:xfrm>
          <a:prstGeom prst="rect">
            <a:avLst/>
          </a:prstGeom>
        </p:spPr>
        <p:txBody>
          <a:bodyPr wrap="square" anchor="ctr">
            <a:noAutofit/>
          </a:bodyPr>
          <a:lstStyle>
            <a:lvl1pPr algn="ctr">
              <a:defRPr>
                <a:solidFill>
                  <a:schemeClr val="bg2"/>
                </a:solidFill>
              </a:defRPr>
            </a:lvl1pPr>
          </a:lstStyle>
          <a:p>
            <a:r>
              <a:rPr lang="en-US"/>
              <a:t>Click to place image</a:t>
            </a:r>
          </a:p>
        </p:txBody>
      </p:sp>
      <p:sp>
        <p:nvSpPr>
          <p:cNvPr id="12" name="Text Placeholder 44">
            <a:extLst>
              <a:ext uri="{FF2B5EF4-FFF2-40B4-BE49-F238E27FC236}">
                <a16:creationId xmlns:a16="http://schemas.microsoft.com/office/drawing/2014/main" id="{091CECE5-46AC-D149-1CBE-DB93CE600901}"/>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chemeClr val="bg2"/>
                </a:solidFill>
              </a:defRPr>
            </a:lvl1pPr>
            <a:lvl2pPr marL="0" indent="0">
              <a:buNone/>
              <a:defRPr/>
            </a:lvl2pPr>
          </a:lstStyle>
          <a:p>
            <a:pPr lvl="0"/>
            <a:r>
              <a:rPr lang="en-US"/>
              <a:t>Add footnotes here if needed</a:t>
            </a:r>
          </a:p>
        </p:txBody>
      </p:sp>
      <p:pic>
        <p:nvPicPr>
          <p:cNvPr id="5" name="Google Shape;959;g28b48f0dcfc_0_664" descr="A blurry image of a colorful background&#10;&#10;Description automatically generated">
            <a:extLst>
              <a:ext uri="{FF2B5EF4-FFF2-40B4-BE49-F238E27FC236}">
                <a16:creationId xmlns:a16="http://schemas.microsoft.com/office/drawing/2014/main" id="{5C921B8A-35DA-00C2-AEC2-4A5C00075C0A}"/>
              </a:ext>
            </a:extLst>
          </p:cNvPr>
          <p:cNvPicPr preferRelativeResize="0"/>
          <p:nvPr userDrawn="1"/>
        </p:nvPicPr>
        <p:blipFill rotWithShape="1">
          <a:blip r:embed="rId2">
            <a:alphaModFix/>
          </a:blip>
          <a:srcRect b="97900"/>
          <a:stretch/>
        </p:blipFill>
        <p:spPr>
          <a:xfrm>
            <a:off x="2" y="-19341"/>
            <a:ext cx="12191999" cy="144015"/>
          </a:xfrm>
          <a:prstGeom prst="rect">
            <a:avLst/>
          </a:prstGeom>
          <a:noFill/>
          <a:ln>
            <a:noFill/>
          </a:ln>
        </p:spPr>
      </p:pic>
    </p:spTree>
    <p:extLst>
      <p:ext uri="{BB962C8B-B14F-4D97-AF65-F5344CB8AC3E}">
        <p14:creationId xmlns:p14="http://schemas.microsoft.com/office/powerpoint/2010/main" val="41615847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Presenter/Bio">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p>
            <a:fld id="{71676EBD-8486-AA4B-82C3-0598DF1E43FA}" type="slidenum">
              <a:rPr lang="en-US" smtClean="0"/>
              <a:pPr/>
              <a:t>‹Nr.›</a:t>
            </a:fld>
            <a:endParaRPr lang="en-US"/>
          </a:p>
        </p:txBody>
      </p:sp>
      <p:sp>
        <p:nvSpPr>
          <p:cNvPr id="2" name="Title 11">
            <a:extLst>
              <a:ext uri="{FF2B5EF4-FFF2-40B4-BE49-F238E27FC236}">
                <a16:creationId xmlns:a16="http://schemas.microsoft.com/office/drawing/2014/main" id="{F9279B66-229A-DE36-7A52-2E85D8B91B1F}"/>
              </a:ext>
            </a:extLst>
          </p:cNvPr>
          <p:cNvSpPr>
            <a:spLocks noGrp="1"/>
          </p:cNvSpPr>
          <p:nvPr>
            <p:ph type="title" hasCustomPrompt="1"/>
          </p:nvPr>
        </p:nvSpPr>
        <p:spPr>
          <a:xfrm>
            <a:off x="415596" y="462506"/>
            <a:ext cx="11360808" cy="553997"/>
          </a:xfrm>
        </p:spPr>
        <p:txBody>
          <a:bodyPr anchor="t" anchorCtr="0">
            <a:spAutoFit/>
          </a:bodyPr>
          <a:lstStyle/>
          <a:p>
            <a:r>
              <a:rPr lang="en-US"/>
              <a:t>Click to Insert Headline</a:t>
            </a:r>
          </a:p>
        </p:txBody>
      </p:sp>
      <p:sp>
        <p:nvSpPr>
          <p:cNvPr id="5" name="Text Placeholder 7">
            <a:extLst>
              <a:ext uri="{FF2B5EF4-FFF2-40B4-BE49-F238E27FC236}">
                <a16:creationId xmlns:a16="http://schemas.microsoft.com/office/drawing/2014/main" id="{E21B345B-4401-A8FA-B148-1E4314767EED}"/>
              </a:ext>
            </a:extLst>
          </p:cNvPr>
          <p:cNvSpPr>
            <a:spLocks noGrp="1"/>
          </p:cNvSpPr>
          <p:nvPr>
            <p:ph type="body" sz="quarter" idx="21" hasCustomPrompt="1"/>
          </p:nvPr>
        </p:nvSpPr>
        <p:spPr>
          <a:xfrm>
            <a:off x="2401888" y="5350193"/>
            <a:ext cx="2651125" cy="492443"/>
          </a:xfrm>
        </p:spPr>
        <p:txBody>
          <a:bodyPr anchor="t">
            <a:noAutofit/>
          </a:bodyPr>
          <a:lstStyle>
            <a:lvl1pPr>
              <a:spcAft>
                <a:spcPts val="0"/>
              </a:spcAft>
              <a:defRPr sz="1200">
                <a:solidFill>
                  <a:schemeClr val="tx1"/>
                </a:solidFill>
              </a:defRPr>
            </a:lvl1pPr>
          </a:lstStyle>
          <a:p>
            <a:pPr lvl="0"/>
            <a:r>
              <a:rPr lang="en-US"/>
              <a:t>Click to edit title and company</a:t>
            </a:r>
          </a:p>
        </p:txBody>
      </p:sp>
      <p:sp>
        <p:nvSpPr>
          <p:cNvPr id="12" name="Text Placeholder 7">
            <a:extLst>
              <a:ext uri="{FF2B5EF4-FFF2-40B4-BE49-F238E27FC236}">
                <a16:creationId xmlns:a16="http://schemas.microsoft.com/office/drawing/2014/main" id="{31209D22-BF97-877A-1DFA-8B5A72243768}"/>
              </a:ext>
            </a:extLst>
          </p:cNvPr>
          <p:cNvSpPr>
            <a:spLocks noGrp="1"/>
          </p:cNvSpPr>
          <p:nvPr>
            <p:ph type="body" sz="quarter" idx="22" hasCustomPrompt="1"/>
          </p:nvPr>
        </p:nvSpPr>
        <p:spPr>
          <a:xfrm>
            <a:off x="2401888" y="4667252"/>
            <a:ext cx="2651125" cy="492443"/>
          </a:xfrm>
        </p:spPr>
        <p:txBody>
          <a:bodyPr anchor="b">
            <a:noAutofit/>
          </a:bodyPr>
          <a:lstStyle>
            <a:lvl1pPr>
              <a:spcAft>
                <a:spcPts val="0"/>
              </a:spcAft>
              <a:defRPr sz="1600" b="1">
                <a:solidFill>
                  <a:schemeClr val="tx1"/>
                </a:solidFill>
              </a:defRPr>
            </a:lvl1pPr>
          </a:lstStyle>
          <a:p>
            <a:pPr lvl="0"/>
            <a:r>
              <a:rPr lang="en-US"/>
              <a:t>Name</a:t>
            </a:r>
            <a:br>
              <a:rPr lang="en-US"/>
            </a:br>
            <a:r>
              <a:rPr lang="en-US"/>
              <a:t>Surname</a:t>
            </a:r>
          </a:p>
        </p:txBody>
      </p:sp>
      <p:sp>
        <p:nvSpPr>
          <p:cNvPr id="13" name="Text Placeholder 7">
            <a:extLst>
              <a:ext uri="{FF2B5EF4-FFF2-40B4-BE49-F238E27FC236}">
                <a16:creationId xmlns:a16="http://schemas.microsoft.com/office/drawing/2014/main" id="{079D88FC-5E83-6B95-2125-593E37FB565D}"/>
              </a:ext>
            </a:extLst>
          </p:cNvPr>
          <p:cNvSpPr>
            <a:spLocks noGrp="1"/>
          </p:cNvSpPr>
          <p:nvPr>
            <p:ph type="body" sz="quarter" idx="46" hasCustomPrompt="1"/>
          </p:nvPr>
        </p:nvSpPr>
        <p:spPr>
          <a:xfrm>
            <a:off x="7132595" y="5348923"/>
            <a:ext cx="2651125" cy="492443"/>
          </a:xfrm>
        </p:spPr>
        <p:txBody>
          <a:bodyPr anchor="t">
            <a:noAutofit/>
          </a:bodyPr>
          <a:lstStyle>
            <a:lvl1pPr>
              <a:spcAft>
                <a:spcPts val="0"/>
              </a:spcAft>
              <a:defRPr sz="1200">
                <a:solidFill>
                  <a:schemeClr val="tx1"/>
                </a:solidFill>
              </a:defRPr>
            </a:lvl1pPr>
          </a:lstStyle>
          <a:p>
            <a:pPr lvl="0"/>
            <a:r>
              <a:rPr lang="en-US"/>
              <a:t>Click to edit title and company</a:t>
            </a:r>
          </a:p>
        </p:txBody>
      </p:sp>
      <p:sp>
        <p:nvSpPr>
          <p:cNvPr id="14" name="Text Placeholder 7">
            <a:extLst>
              <a:ext uri="{FF2B5EF4-FFF2-40B4-BE49-F238E27FC236}">
                <a16:creationId xmlns:a16="http://schemas.microsoft.com/office/drawing/2014/main" id="{B1453A9C-3EC0-C787-B432-29F4A36FF4D2}"/>
              </a:ext>
            </a:extLst>
          </p:cNvPr>
          <p:cNvSpPr>
            <a:spLocks noGrp="1"/>
          </p:cNvSpPr>
          <p:nvPr>
            <p:ph type="body" sz="quarter" idx="47" hasCustomPrompt="1"/>
          </p:nvPr>
        </p:nvSpPr>
        <p:spPr>
          <a:xfrm>
            <a:off x="7132595" y="4665981"/>
            <a:ext cx="2651125" cy="492443"/>
          </a:xfrm>
        </p:spPr>
        <p:txBody>
          <a:bodyPr anchor="b">
            <a:noAutofit/>
          </a:bodyPr>
          <a:lstStyle>
            <a:lvl1pPr>
              <a:spcAft>
                <a:spcPts val="0"/>
              </a:spcAft>
              <a:defRPr sz="1600" b="1">
                <a:solidFill>
                  <a:schemeClr val="tx1"/>
                </a:solidFill>
              </a:defRPr>
            </a:lvl1pPr>
          </a:lstStyle>
          <a:p>
            <a:pPr lvl="0"/>
            <a:r>
              <a:rPr lang="en-US"/>
              <a:t>Name</a:t>
            </a:r>
            <a:br>
              <a:rPr lang="en-US"/>
            </a:br>
            <a:r>
              <a:rPr lang="en-US"/>
              <a:t>Surname</a:t>
            </a:r>
          </a:p>
        </p:txBody>
      </p:sp>
      <p:sp>
        <p:nvSpPr>
          <p:cNvPr id="15" name="Picture Placeholder 70">
            <a:extLst>
              <a:ext uri="{FF2B5EF4-FFF2-40B4-BE49-F238E27FC236}">
                <a16:creationId xmlns:a16="http://schemas.microsoft.com/office/drawing/2014/main" id="{8367018C-C5CF-CCBA-DAF7-C7B674DAC69D}"/>
              </a:ext>
            </a:extLst>
          </p:cNvPr>
          <p:cNvSpPr>
            <a:spLocks noGrp="1"/>
          </p:cNvSpPr>
          <p:nvPr>
            <p:ph type="pic" sz="quarter" idx="34" hasCustomPrompt="1"/>
          </p:nvPr>
        </p:nvSpPr>
        <p:spPr>
          <a:xfrm>
            <a:off x="2401888" y="1758700"/>
            <a:ext cx="2246384" cy="2543000"/>
          </a:xfrm>
          <a:prstGeom prst="rect">
            <a:avLst/>
          </a:prstGeom>
        </p:spPr>
        <p:txBody>
          <a:bodyPr wrap="square" anchor="ctr">
            <a:noAutofit/>
          </a:bodyPr>
          <a:lstStyle>
            <a:lvl1pPr algn="ctr">
              <a:defRPr>
                <a:solidFill>
                  <a:schemeClr val="bg2"/>
                </a:solidFill>
              </a:defRPr>
            </a:lvl1pPr>
          </a:lstStyle>
          <a:p>
            <a:r>
              <a:rPr lang="en-US"/>
              <a:t>Click to place image</a:t>
            </a:r>
          </a:p>
        </p:txBody>
      </p:sp>
      <p:sp>
        <p:nvSpPr>
          <p:cNvPr id="16" name="Picture Placeholder 78">
            <a:extLst>
              <a:ext uri="{FF2B5EF4-FFF2-40B4-BE49-F238E27FC236}">
                <a16:creationId xmlns:a16="http://schemas.microsoft.com/office/drawing/2014/main" id="{4B067573-8509-EB20-F52A-3E7B5F4025A3}"/>
              </a:ext>
            </a:extLst>
          </p:cNvPr>
          <p:cNvSpPr>
            <a:spLocks noGrp="1"/>
          </p:cNvSpPr>
          <p:nvPr>
            <p:ph type="pic" sz="quarter" idx="48" hasCustomPrompt="1"/>
          </p:nvPr>
        </p:nvSpPr>
        <p:spPr>
          <a:xfrm>
            <a:off x="7132595" y="1758700"/>
            <a:ext cx="2246384" cy="2543000"/>
          </a:xfrm>
          <a:prstGeom prst="rect">
            <a:avLst/>
          </a:prstGeom>
        </p:spPr>
        <p:txBody>
          <a:bodyPr wrap="square" anchor="ctr">
            <a:noAutofit/>
          </a:bodyPr>
          <a:lstStyle>
            <a:lvl1pPr algn="ctr">
              <a:defRPr>
                <a:solidFill>
                  <a:schemeClr val="bg2"/>
                </a:solidFill>
              </a:defRPr>
            </a:lvl1pPr>
          </a:lstStyle>
          <a:p>
            <a:r>
              <a:rPr lang="en-US"/>
              <a:t>Click to place image</a:t>
            </a:r>
          </a:p>
        </p:txBody>
      </p:sp>
      <p:sp>
        <p:nvSpPr>
          <p:cNvPr id="17" name="Text Placeholder 44">
            <a:extLst>
              <a:ext uri="{FF2B5EF4-FFF2-40B4-BE49-F238E27FC236}">
                <a16:creationId xmlns:a16="http://schemas.microsoft.com/office/drawing/2014/main" id="{2F32933E-4863-F3EF-2E0B-DB6FAD02C7C8}"/>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chemeClr val="bg2"/>
                </a:solidFill>
              </a:defRPr>
            </a:lvl1pPr>
            <a:lvl2pPr marL="0" indent="0">
              <a:buNone/>
              <a:defRPr/>
            </a:lvl2pPr>
          </a:lstStyle>
          <a:p>
            <a:pPr lvl="0"/>
            <a:r>
              <a:rPr lang="en-US"/>
              <a:t>Add footnotes here if needed</a:t>
            </a:r>
          </a:p>
        </p:txBody>
      </p:sp>
      <p:pic>
        <p:nvPicPr>
          <p:cNvPr id="4" name="Google Shape;959;g28b48f0dcfc_0_664" descr="A blurry image of a colorful background&#10;&#10;Description automatically generated">
            <a:extLst>
              <a:ext uri="{FF2B5EF4-FFF2-40B4-BE49-F238E27FC236}">
                <a16:creationId xmlns:a16="http://schemas.microsoft.com/office/drawing/2014/main" id="{E3C94DEE-5662-28FA-C2AE-B2195447D7D4}"/>
              </a:ext>
            </a:extLst>
          </p:cNvPr>
          <p:cNvPicPr preferRelativeResize="0"/>
          <p:nvPr userDrawn="1"/>
        </p:nvPicPr>
        <p:blipFill rotWithShape="1">
          <a:blip r:embed="rId2">
            <a:alphaModFix/>
          </a:blip>
          <a:srcRect b="97900"/>
          <a:stretch/>
        </p:blipFill>
        <p:spPr>
          <a:xfrm>
            <a:off x="2" y="-19341"/>
            <a:ext cx="12191999" cy="144015"/>
          </a:xfrm>
          <a:prstGeom prst="rect">
            <a:avLst/>
          </a:prstGeom>
          <a:noFill/>
          <a:ln>
            <a:noFill/>
          </a:ln>
        </p:spPr>
      </p:pic>
    </p:spTree>
    <p:extLst>
      <p:ext uri="{BB962C8B-B14F-4D97-AF65-F5344CB8AC3E}">
        <p14:creationId xmlns:p14="http://schemas.microsoft.com/office/powerpoint/2010/main" val="12288159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00A6AAD-F201-F632-BCA3-291C20F124E5}"/>
              </a:ext>
            </a:extLst>
          </p:cNvPr>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740CA0D9-F2B2-DF47-A878-6E8814F699E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60318292-30DB-4DA7-F168-1660EFC13498}"/>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a:extLst>
              <a:ext uri="{FF2B5EF4-FFF2-40B4-BE49-F238E27FC236}">
                <a16:creationId xmlns:a16="http://schemas.microsoft.com/office/drawing/2014/main" id="{F511F773-8680-72CC-D7F1-D8E3174437B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141B06B6-EB5E-56D3-7C9B-D41407A55C62}"/>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a:extLst>
              <a:ext uri="{FF2B5EF4-FFF2-40B4-BE49-F238E27FC236}">
                <a16:creationId xmlns:a16="http://schemas.microsoft.com/office/drawing/2014/main" id="{7715C1F7-F520-E74F-3E7A-013B75B9DA43}"/>
              </a:ext>
            </a:extLst>
          </p:cNvPr>
          <p:cNvSpPr>
            <a:spLocks noGrp="1"/>
          </p:cNvSpPr>
          <p:nvPr>
            <p:ph type="dt" sz="half" idx="10"/>
          </p:nvPr>
        </p:nvSpPr>
        <p:spPr/>
        <p:txBody>
          <a:bodyPr/>
          <a:lstStyle/>
          <a:p>
            <a:fld id="{D0A8EAAB-0451-F345-AAE8-903E658FFCB4}" type="datetimeFigureOut">
              <a:rPr lang="es-ES" smtClean="0"/>
              <a:t>26/04/2026</a:t>
            </a:fld>
            <a:endParaRPr lang="es-ES"/>
          </a:p>
        </p:txBody>
      </p:sp>
      <p:sp>
        <p:nvSpPr>
          <p:cNvPr id="8" name="Marcador de pie de página 7">
            <a:extLst>
              <a:ext uri="{FF2B5EF4-FFF2-40B4-BE49-F238E27FC236}">
                <a16:creationId xmlns:a16="http://schemas.microsoft.com/office/drawing/2014/main" id="{3BC66C2D-5B49-872E-4DB5-46B4D55C840D}"/>
              </a:ext>
            </a:extLst>
          </p:cNvPr>
          <p:cNvSpPr>
            <a:spLocks noGrp="1"/>
          </p:cNvSpPr>
          <p:nvPr>
            <p:ph type="ftr" sz="quarter" idx="11"/>
          </p:nvPr>
        </p:nvSpPr>
        <p:spPr/>
        <p:txBody>
          <a:bodyPr/>
          <a:lstStyle/>
          <a:p>
            <a:endParaRPr lang="es-ES"/>
          </a:p>
        </p:txBody>
      </p:sp>
      <p:sp>
        <p:nvSpPr>
          <p:cNvPr id="9" name="Marcador de número de diapositiva 8">
            <a:extLst>
              <a:ext uri="{FF2B5EF4-FFF2-40B4-BE49-F238E27FC236}">
                <a16:creationId xmlns:a16="http://schemas.microsoft.com/office/drawing/2014/main" id="{D8291B02-2587-4FDE-192B-B540EACD94AF}"/>
              </a:ext>
            </a:extLst>
          </p:cNvPr>
          <p:cNvSpPr>
            <a:spLocks noGrp="1"/>
          </p:cNvSpPr>
          <p:nvPr>
            <p:ph type="sldNum" sz="quarter" idx="12"/>
          </p:nvPr>
        </p:nvSpPr>
        <p:spPr/>
        <p:txBody>
          <a:bodyPr/>
          <a:lstStyle/>
          <a:p>
            <a:fld id="{C5C9C0E2-798D-424A-9802-04B7FA7A38FE}" type="slidenum">
              <a:rPr lang="es-ES" smtClean="0"/>
              <a:t>‹Nr.›</a:t>
            </a:fld>
            <a:endParaRPr lang="es-ES"/>
          </a:p>
        </p:txBody>
      </p:sp>
    </p:spTree>
    <p:extLst>
      <p:ext uri="{BB962C8B-B14F-4D97-AF65-F5344CB8AC3E}">
        <p14:creationId xmlns:p14="http://schemas.microsoft.com/office/powerpoint/2010/main" val="42627069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Presenter/Bio">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lvl1pPr>
              <a:defRPr>
                <a:solidFill>
                  <a:schemeClr val="bg2"/>
                </a:solidFill>
              </a:defRPr>
            </a:lvl1p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lvl1pPr>
              <a:defRPr>
                <a:solidFill>
                  <a:schemeClr val="bg2"/>
                </a:solidFill>
              </a:defRPr>
            </a:lvl1pPr>
          </a:lstStyle>
          <a:p>
            <a:fld id="{71676EBD-8486-AA4B-82C3-0598DF1E43FA}" type="slidenum">
              <a:rPr lang="en-US" smtClean="0"/>
              <a:pPr/>
              <a:t>‹Nr.›</a:t>
            </a:fld>
            <a:endParaRPr lang="en-US"/>
          </a:p>
        </p:txBody>
      </p:sp>
      <p:sp>
        <p:nvSpPr>
          <p:cNvPr id="2" name="Title 11">
            <a:extLst>
              <a:ext uri="{FF2B5EF4-FFF2-40B4-BE49-F238E27FC236}">
                <a16:creationId xmlns:a16="http://schemas.microsoft.com/office/drawing/2014/main" id="{F9279B66-229A-DE36-7A52-2E85D8B91B1F}"/>
              </a:ext>
            </a:extLst>
          </p:cNvPr>
          <p:cNvSpPr>
            <a:spLocks noGrp="1"/>
          </p:cNvSpPr>
          <p:nvPr>
            <p:ph type="title" hasCustomPrompt="1"/>
          </p:nvPr>
        </p:nvSpPr>
        <p:spPr>
          <a:xfrm>
            <a:off x="415596" y="462506"/>
            <a:ext cx="11360808" cy="553997"/>
          </a:xfrm>
        </p:spPr>
        <p:txBody>
          <a:bodyPr anchor="t" anchorCtr="0">
            <a:spAutoFit/>
          </a:bodyPr>
          <a:lstStyle/>
          <a:p>
            <a:r>
              <a:rPr lang="en-US"/>
              <a:t>Click to Insert Headline</a:t>
            </a:r>
          </a:p>
        </p:txBody>
      </p:sp>
      <p:sp>
        <p:nvSpPr>
          <p:cNvPr id="3" name="Text Placeholder 7">
            <a:extLst>
              <a:ext uri="{FF2B5EF4-FFF2-40B4-BE49-F238E27FC236}">
                <a16:creationId xmlns:a16="http://schemas.microsoft.com/office/drawing/2014/main" id="{D39CA82B-4FF2-4AE2-028E-9628DA7E1DB1}"/>
              </a:ext>
            </a:extLst>
          </p:cNvPr>
          <p:cNvSpPr>
            <a:spLocks noGrp="1"/>
          </p:cNvSpPr>
          <p:nvPr>
            <p:ph type="body" sz="quarter" idx="21" hasCustomPrompt="1"/>
          </p:nvPr>
        </p:nvSpPr>
        <p:spPr>
          <a:xfrm>
            <a:off x="1454151" y="5312093"/>
            <a:ext cx="2651125" cy="479107"/>
          </a:xfrm>
        </p:spPr>
        <p:txBody>
          <a:bodyPr anchor="t">
            <a:noAutofit/>
          </a:bodyPr>
          <a:lstStyle>
            <a:lvl1pPr>
              <a:spcAft>
                <a:spcPts val="0"/>
              </a:spcAft>
              <a:defRPr sz="1200">
                <a:solidFill>
                  <a:schemeClr val="tx1"/>
                </a:solidFill>
              </a:defRPr>
            </a:lvl1pPr>
          </a:lstStyle>
          <a:p>
            <a:pPr lvl="0"/>
            <a:r>
              <a:rPr lang="en-US"/>
              <a:t>Click to edit title and company</a:t>
            </a:r>
          </a:p>
        </p:txBody>
      </p:sp>
      <p:sp>
        <p:nvSpPr>
          <p:cNvPr id="4" name="Text Placeholder 7">
            <a:extLst>
              <a:ext uri="{FF2B5EF4-FFF2-40B4-BE49-F238E27FC236}">
                <a16:creationId xmlns:a16="http://schemas.microsoft.com/office/drawing/2014/main" id="{584C2A83-D564-22A5-F85C-5092760B6C81}"/>
              </a:ext>
            </a:extLst>
          </p:cNvPr>
          <p:cNvSpPr>
            <a:spLocks noGrp="1"/>
          </p:cNvSpPr>
          <p:nvPr>
            <p:ph type="body" sz="quarter" idx="22" hasCustomPrompt="1"/>
          </p:nvPr>
        </p:nvSpPr>
        <p:spPr>
          <a:xfrm>
            <a:off x="1454151" y="4629151"/>
            <a:ext cx="2651125" cy="492443"/>
          </a:xfrm>
        </p:spPr>
        <p:txBody>
          <a:bodyPr anchor="b">
            <a:noAutofit/>
          </a:bodyPr>
          <a:lstStyle>
            <a:lvl1pPr>
              <a:spcAft>
                <a:spcPts val="0"/>
              </a:spcAft>
              <a:defRPr sz="1600" b="1">
                <a:solidFill>
                  <a:schemeClr val="tx1"/>
                </a:solidFill>
              </a:defRPr>
            </a:lvl1pPr>
          </a:lstStyle>
          <a:p>
            <a:pPr lvl="0"/>
            <a:r>
              <a:rPr lang="en-US"/>
              <a:t>Name</a:t>
            </a:r>
            <a:br>
              <a:rPr lang="en-US"/>
            </a:br>
            <a:r>
              <a:rPr lang="en-US"/>
              <a:t>Surname</a:t>
            </a:r>
          </a:p>
        </p:txBody>
      </p:sp>
      <p:sp>
        <p:nvSpPr>
          <p:cNvPr id="6" name="Text Placeholder 7">
            <a:extLst>
              <a:ext uri="{FF2B5EF4-FFF2-40B4-BE49-F238E27FC236}">
                <a16:creationId xmlns:a16="http://schemas.microsoft.com/office/drawing/2014/main" id="{6A02BD32-10E3-7138-2F0E-D36866D4C89C}"/>
              </a:ext>
            </a:extLst>
          </p:cNvPr>
          <p:cNvSpPr>
            <a:spLocks noGrp="1"/>
          </p:cNvSpPr>
          <p:nvPr>
            <p:ph type="body" sz="quarter" idx="25" hasCustomPrompt="1"/>
          </p:nvPr>
        </p:nvSpPr>
        <p:spPr>
          <a:xfrm>
            <a:off x="4769644" y="5312093"/>
            <a:ext cx="2651125" cy="479107"/>
          </a:xfrm>
        </p:spPr>
        <p:txBody>
          <a:bodyPr anchor="t">
            <a:noAutofit/>
          </a:bodyPr>
          <a:lstStyle>
            <a:lvl1pPr>
              <a:spcAft>
                <a:spcPts val="0"/>
              </a:spcAft>
              <a:defRPr sz="1200">
                <a:solidFill>
                  <a:schemeClr val="tx1"/>
                </a:solidFill>
              </a:defRPr>
            </a:lvl1pPr>
          </a:lstStyle>
          <a:p>
            <a:pPr lvl="0"/>
            <a:r>
              <a:rPr lang="en-US"/>
              <a:t>Click to edit title and company</a:t>
            </a:r>
          </a:p>
        </p:txBody>
      </p:sp>
      <p:sp>
        <p:nvSpPr>
          <p:cNvPr id="8" name="Text Placeholder 7">
            <a:extLst>
              <a:ext uri="{FF2B5EF4-FFF2-40B4-BE49-F238E27FC236}">
                <a16:creationId xmlns:a16="http://schemas.microsoft.com/office/drawing/2014/main" id="{7406926A-E69A-62F5-9F6F-C74237083B79}"/>
              </a:ext>
            </a:extLst>
          </p:cNvPr>
          <p:cNvSpPr>
            <a:spLocks noGrp="1"/>
          </p:cNvSpPr>
          <p:nvPr>
            <p:ph type="body" sz="quarter" idx="26" hasCustomPrompt="1"/>
          </p:nvPr>
        </p:nvSpPr>
        <p:spPr>
          <a:xfrm>
            <a:off x="4769644" y="4629151"/>
            <a:ext cx="2651125" cy="492443"/>
          </a:xfrm>
        </p:spPr>
        <p:txBody>
          <a:bodyPr anchor="b">
            <a:noAutofit/>
          </a:bodyPr>
          <a:lstStyle>
            <a:lvl1pPr>
              <a:spcAft>
                <a:spcPts val="0"/>
              </a:spcAft>
              <a:defRPr sz="1600" b="1">
                <a:solidFill>
                  <a:schemeClr val="tx1"/>
                </a:solidFill>
              </a:defRPr>
            </a:lvl1pPr>
          </a:lstStyle>
          <a:p>
            <a:pPr lvl="0"/>
            <a:r>
              <a:rPr lang="en-US"/>
              <a:t>Name</a:t>
            </a:r>
            <a:br>
              <a:rPr lang="en-US"/>
            </a:br>
            <a:r>
              <a:rPr lang="en-US"/>
              <a:t>Surname</a:t>
            </a:r>
          </a:p>
        </p:txBody>
      </p:sp>
      <p:sp>
        <p:nvSpPr>
          <p:cNvPr id="17" name="Text Placeholder 7">
            <a:extLst>
              <a:ext uri="{FF2B5EF4-FFF2-40B4-BE49-F238E27FC236}">
                <a16:creationId xmlns:a16="http://schemas.microsoft.com/office/drawing/2014/main" id="{B014C27F-1B4C-2710-54F1-B0EAF529FDA6}"/>
              </a:ext>
            </a:extLst>
          </p:cNvPr>
          <p:cNvSpPr>
            <a:spLocks noGrp="1"/>
          </p:cNvSpPr>
          <p:nvPr>
            <p:ph type="body" sz="quarter" idx="27" hasCustomPrompt="1"/>
          </p:nvPr>
        </p:nvSpPr>
        <p:spPr>
          <a:xfrm>
            <a:off x="8085139" y="5312094"/>
            <a:ext cx="2651125" cy="479105"/>
          </a:xfrm>
        </p:spPr>
        <p:txBody>
          <a:bodyPr anchor="t">
            <a:noAutofit/>
          </a:bodyPr>
          <a:lstStyle>
            <a:lvl1pPr>
              <a:spcAft>
                <a:spcPts val="0"/>
              </a:spcAft>
              <a:defRPr sz="1200">
                <a:solidFill>
                  <a:schemeClr val="tx1"/>
                </a:solidFill>
              </a:defRPr>
            </a:lvl1pPr>
          </a:lstStyle>
          <a:p>
            <a:pPr lvl="0"/>
            <a:r>
              <a:rPr lang="en-US"/>
              <a:t>Click to edit title and company</a:t>
            </a:r>
          </a:p>
        </p:txBody>
      </p:sp>
      <p:sp>
        <p:nvSpPr>
          <p:cNvPr id="18" name="Text Placeholder 7">
            <a:extLst>
              <a:ext uri="{FF2B5EF4-FFF2-40B4-BE49-F238E27FC236}">
                <a16:creationId xmlns:a16="http://schemas.microsoft.com/office/drawing/2014/main" id="{1D7B212A-F0EC-EF8F-D9E6-1F8A2AA6119A}"/>
              </a:ext>
            </a:extLst>
          </p:cNvPr>
          <p:cNvSpPr>
            <a:spLocks noGrp="1"/>
          </p:cNvSpPr>
          <p:nvPr>
            <p:ph type="body" sz="quarter" idx="28" hasCustomPrompt="1"/>
          </p:nvPr>
        </p:nvSpPr>
        <p:spPr>
          <a:xfrm>
            <a:off x="8085139" y="4629151"/>
            <a:ext cx="2651125" cy="492443"/>
          </a:xfrm>
        </p:spPr>
        <p:txBody>
          <a:bodyPr anchor="b">
            <a:noAutofit/>
          </a:bodyPr>
          <a:lstStyle>
            <a:lvl1pPr>
              <a:spcAft>
                <a:spcPts val="0"/>
              </a:spcAft>
              <a:defRPr sz="1600" b="1">
                <a:solidFill>
                  <a:schemeClr val="tx1"/>
                </a:solidFill>
              </a:defRPr>
            </a:lvl1pPr>
          </a:lstStyle>
          <a:p>
            <a:pPr lvl="0"/>
            <a:r>
              <a:rPr lang="en-US"/>
              <a:t>Name</a:t>
            </a:r>
            <a:br>
              <a:rPr lang="en-US"/>
            </a:br>
            <a:r>
              <a:rPr lang="en-US"/>
              <a:t>Surname</a:t>
            </a:r>
          </a:p>
        </p:txBody>
      </p:sp>
      <p:sp>
        <p:nvSpPr>
          <p:cNvPr id="19" name="Picture Placeholder 90">
            <a:extLst>
              <a:ext uri="{FF2B5EF4-FFF2-40B4-BE49-F238E27FC236}">
                <a16:creationId xmlns:a16="http://schemas.microsoft.com/office/drawing/2014/main" id="{5102062A-990D-6A4E-CC4F-D564E47F5CCA}"/>
              </a:ext>
            </a:extLst>
          </p:cNvPr>
          <p:cNvSpPr>
            <a:spLocks noGrp="1"/>
          </p:cNvSpPr>
          <p:nvPr>
            <p:ph type="pic" sz="quarter" idx="46" hasCustomPrompt="1"/>
          </p:nvPr>
        </p:nvSpPr>
        <p:spPr>
          <a:xfrm>
            <a:off x="1454151" y="1720600"/>
            <a:ext cx="2246384" cy="2543000"/>
          </a:xfrm>
          <a:prstGeom prst="rect">
            <a:avLst/>
          </a:prstGeom>
        </p:spPr>
        <p:txBody>
          <a:bodyPr wrap="square" anchor="ctr">
            <a:noAutofit/>
          </a:bodyPr>
          <a:lstStyle>
            <a:lvl1pPr algn="ctr">
              <a:defRPr>
                <a:solidFill>
                  <a:srgbClr val="3D3F48"/>
                </a:solidFill>
              </a:defRPr>
            </a:lvl1pPr>
          </a:lstStyle>
          <a:p>
            <a:r>
              <a:rPr lang="en-US"/>
              <a:t>Click to place image</a:t>
            </a:r>
          </a:p>
        </p:txBody>
      </p:sp>
      <p:sp>
        <p:nvSpPr>
          <p:cNvPr id="20" name="Picture Placeholder 100">
            <a:extLst>
              <a:ext uri="{FF2B5EF4-FFF2-40B4-BE49-F238E27FC236}">
                <a16:creationId xmlns:a16="http://schemas.microsoft.com/office/drawing/2014/main" id="{46E7EAEC-830F-0538-1F06-B09AB3CF6F13}"/>
              </a:ext>
            </a:extLst>
          </p:cNvPr>
          <p:cNvSpPr>
            <a:spLocks noGrp="1"/>
          </p:cNvSpPr>
          <p:nvPr>
            <p:ph type="pic" sz="quarter" idx="47" hasCustomPrompt="1"/>
          </p:nvPr>
        </p:nvSpPr>
        <p:spPr>
          <a:xfrm>
            <a:off x="4769644" y="1720600"/>
            <a:ext cx="2246384" cy="2543000"/>
          </a:xfrm>
          <a:prstGeom prst="rect">
            <a:avLst/>
          </a:prstGeom>
        </p:spPr>
        <p:txBody>
          <a:bodyPr wrap="square" anchor="ctr">
            <a:noAutofit/>
          </a:bodyPr>
          <a:lstStyle>
            <a:lvl1pPr algn="ctr">
              <a:defRPr>
                <a:solidFill>
                  <a:srgbClr val="3D3F48"/>
                </a:solidFill>
              </a:defRPr>
            </a:lvl1pPr>
          </a:lstStyle>
          <a:p>
            <a:r>
              <a:rPr lang="en-US"/>
              <a:t>Click to place image</a:t>
            </a:r>
          </a:p>
        </p:txBody>
      </p:sp>
      <p:sp>
        <p:nvSpPr>
          <p:cNvPr id="21" name="Picture Placeholder 110">
            <a:extLst>
              <a:ext uri="{FF2B5EF4-FFF2-40B4-BE49-F238E27FC236}">
                <a16:creationId xmlns:a16="http://schemas.microsoft.com/office/drawing/2014/main" id="{868B2B93-FDC6-9C36-5B8B-B8B62C8420C2}"/>
              </a:ext>
            </a:extLst>
          </p:cNvPr>
          <p:cNvSpPr>
            <a:spLocks noGrp="1"/>
          </p:cNvSpPr>
          <p:nvPr>
            <p:ph type="pic" sz="quarter" idx="48" hasCustomPrompt="1"/>
          </p:nvPr>
        </p:nvSpPr>
        <p:spPr>
          <a:xfrm>
            <a:off x="8085139" y="1720600"/>
            <a:ext cx="2246384" cy="2543000"/>
          </a:xfrm>
          <a:prstGeom prst="rect">
            <a:avLst/>
          </a:prstGeom>
        </p:spPr>
        <p:txBody>
          <a:bodyPr wrap="square" anchor="ctr">
            <a:noAutofit/>
          </a:bodyPr>
          <a:lstStyle>
            <a:lvl1pPr algn="ctr">
              <a:defRPr>
                <a:solidFill>
                  <a:srgbClr val="3D3F48"/>
                </a:solidFill>
              </a:defRPr>
            </a:lvl1pPr>
          </a:lstStyle>
          <a:p>
            <a:r>
              <a:rPr lang="en-US"/>
              <a:t>Click to place image</a:t>
            </a:r>
          </a:p>
        </p:txBody>
      </p:sp>
      <p:sp>
        <p:nvSpPr>
          <p:cNvPr id="22" name="Text Placeholder 44">
            <a:extLst>
              <a:ext uri="{FF2B5EF4-FFF2-40B4-BE49-F238E27FC236}">
                <a16:creationId xmlns:a16="http://schemas.microsoft.com/office/drawing/2014/main" id="{A18E051E-21E7-6435-E5C5-4CE91C6B57F0}"/>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chemeClr val="bg2"/>
                </a:solidFill>
              </a:defRPr>
            </a:lvl1pPr>
            <a:lvl2pPr marL="0" indent="0">
              <a:buNone/>
              <a:defRPr/>
            </a:lvl2pPr>
          </a:lstStyle>
          <a:p>
            <a:pPr lvl="0"/>
            <a:r>
              <a:rPr lang="en-US"/>
              <a:t>Add footnotes here if needed</a:t>
            </a:r>
          </a:p>
        </p:txBody>
      </p:sp>
      <p:pic>
        <p:nvPicPr>
          <p:cNvPr id="7" name="Google Shape;959;g28b48f0dcfc_0_664" descr="A blurry image of a colorful background&#10;&#10;Description automatically generated">
            <a:extLst>
              <a:ext uri="{FF2B5EF4-FFF2-40B4-BE49-F238E27FC236}">
                <a16:creationId xmlns:a16="http://schemas.microsoft.com/office/drawing/2014/main" id="{7EBCC8D8-EC4E-FA25-162B-C7D9921A3527}"/>
              </a:ext>
            </a:extLst>
          </p:cNvPr>
          <p:cNvPicPr preferRelativeResize="0"/>
          <p:nvPr userDrawn="1"/>
        </p:nvPicPr>
        <p:blipFill rotWithShape="1">
          <a:blip r:embed="rId2">
            <a:alphaModFix/>
          </a:blip>
          <a:srcRect b="97900"/>
          <a:stretch/>
        </p:blipFill>
        <p:spPr>
          <a:xfrm>
            <a:off x="2" y="-19341"/>
            <a:ext cx="12191999" cy="144015"/>
          </a:xfrm>
          <a:prstGeom prst="rect">
            <a:avLst/>
          </a:prstGeom>
          <a:noFill/>
          <a:ln>
            <a:noFill/>
          </a:ln>
        </p:spPr>
      </p:pic>
    </p:spTree>
    <p:extLst>
      <p:ext uri="{BB962C8B-B14F-4D97-AF65-F5344CB8AC3E}">
        <p14:creationId xmlns:p14="http://schemas.microsoft.com/office/powerpoint/2010/main" val="34439287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our Presenter/Bio">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lvl1pPr>
              <a:defRPr>
                <a:solidFill>
                  <a:schemeClr val="bg2"/>
                </a:solidFill>
              </a:defRPr>
            </a:lvl1p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lvl1pPr>
              <a:defRPr>
                <a:solidFill>
                  <a:schemeClr val="bg2"/>
                </a:solidFill>
              </a:defRPr>
            </a:lvl1pPr>
          </a:lstStyle>
          <a:p>
            <a:fld id="{71676EBD-8486-AA4B-82C3-0598DF1E43FA}" type="slidenum">
              <a:rPr lang="en-US" smtClean="0"/>
              <a:pPr/>
              <a:t>‹Nr.›</a:t>
            </a:fld>
            <a:endParaRPr lang="en-US"/>
          </a:p>
        </p:txBody>
      </p:sp>
      <p:sp>
        <p:nvSpPr>
          <p:cNvPr id="2" name="Title 11">
            <a:extLst>
              <a:ext uri="{FF2B5EF4-FFF2-40B4-BE49-F238E27FC236}">
                <a16:creationId xmlns:a16="http://schemas.microsoft.com/office/drawing/2014/main" id="{F9279B66-229A-DE36-7A52-2E85D8B91B1F}"/>
              </a:ext>
            </a:extLst>
          </p:cNvPr>
          <p:cNvSpPr>
            <a:spLocks noGrp="1"/>
          </p:cNvSpPr>
          <p:nvPr>
            <p:ph type="title" hasCustomPrompt="1"/>
          </p:nvPr>
        </p:nvSpPr>
        <p:spPr>
          <a:xfrm>
            <a:off x="415596" y="462506"/>
            <a:ext cx="11360808" cy="553997"/>
          </a:xfrm>
        </p:spPr>
        <p:txBody>
          <a:bodyPr anchor="t" anchorCtr="0">
            <a:spAutoFit/>
          </a:bodyPr>
          <a:lstStyle/>
          <a:p>
            <a:r>
              <a:rPr lang="en-US"/>
              <a:t>Click to Insert Headline</a:t>
            </a:r>
          </a:p>
        </p:txBody>
      </p:sp>
      <p:sp>
        <p:nvSpPr>
          <p:cNvPr id="5" name="Text Placeholder 7">
            <a:extLst>
              <a:ext uri="{FF2B5EF4-FFF2-40B4-BE49-F238E27FC236}">
                <a16:creationId xmlns:a16="http://schemas.microsoft.com/office/drawing/2014/main" id="{FA07FF69-5DE4-D2B6-287B-B2047E4B0421}"/>
              </a:ext>
            </a:extLst>
          </p:cNvPr>
          <p:cNvSpPr>
            <a:spLocks noGrp="1"/>
          </p:cNvSpPr>
          <p:nvPr>
            <p:ph type="body" sz="quarter" idx="21" hasCustomPrompt="1"/>
          </p:nvPr>
        </p:nvSpPr>
        <p:spPr>
          <a:xfrm>
            <a:off x="508000" y="5350193"/>
            <a:ext cx="2246384" cy="479107"/>
          </a:xfrm>
        </p:spPr>
        <p:txBody>
          <a:bodyPr wrap="square" anchor="t">
            <a:noAutofit/>
          </a:bodyPr>
          <a:lstStyle>
            <a:lvl1pPr>
              <a:spcAft>
                <a:spcPts val="0"/>
              </a:spcAft>
              <a:defRPr sz="1200">
                <a:solidFill>
                  <a:schemeClr val="tx1"/>
                </a:solidFill>
              </a:defRPr>
            </a:lvl1pPr>
          </a:lstStyle>
          <a:p>
            <a:pPr lvl="0"/>
            <a:r>
              <a:rPr lang="en-US"/>
              <a:t>Click to edit title and company</a:t>
            </a:r>
          </a:p>
        </p:txBody>
      </p:sp>
      <p:sp>
        <p:nvSpPr>
          <p:cNvPr id="12" name="Text Placeholder 7">
            <a:extLst>
              <a:ext uri="{FF2B5EF4-FFF2-40B4-BE49-F238E27FC236}">
                <a16:creationId xmlns:a16="http://schemas.microsoft.com/office/drawing/2014/main" id="{D49CE133-BB66-FA53-475F-72D3029AE323}"/>
              </a:ext>
            </a:extLst>
          </p:cNvPr>
          <p:cNvSpPr>
            <a:spLocks noGrp="1"/>
          </p:cNvSpPr>
          <p:nvPr>
            <p:ph type="body" sz="quarter" idx="22" hasCustomPrompt="1"/>
          </p:nvPr>
        </p:nvSpPr>
        <p:spPr>
          <a:xfrm>
            <a:off x="508000" y="4670250"/>
            <a:ext cx="2246384" cy="489445"/>
          </a:xfrm>
        </p:spPr>
        <p:txBody>
          <a:bodyPr wrap="square" anchor="b">
            <a:noAutofit/>
          </a:bodyPr>
          <a:lstStyle>
            <a:lvl1pPr>
              <a:spcAft>
                <a:spcPts val="0"/>
              </a:spcAft>
              <a:defRPr sz="1600" b="1">
                <a:solidFill>
                  <a:schemeClr val="tx1"/>
                </a:solidFill>
              </a:defRPr>
            </a:lvl1pPr>
          </a:lstStyle>
          <a:p>
            <a:pPr lvl="0"/>
            <a:r>
              <a:rPr lang="en-US"/>
              <a:t>Name</a:t>
            </a:r>
            <a:br>
              <a:rPr lang="en-US"/>
            </a:br>
            <a:r>
              <a:rPr lang="en-US"/>
              <a:t>Surname</a:t>
            </a:r>
          </a:p>
        </p:txBody>
      </p:sp>
      <p:sp>
        <p:nvSpPr>
          <p:cNvPr id="13" name="Text Placeholder 7">
            <a:extLst>
              <a:ext uri="{FF2B5EF4-FFF2-40B4-BE49-F238E27FC236}">
                <a16:creationId xmlns:a16="http://schemas.microsoft.com/office/drawing/2014/main" id="{A358A6C3-75C3-3265-DE5B-22F04BCD16DB}"/>
              </a:ext>
            </a:extLst>
          </p:cNvPr>
          <p:cNvSpPr>
            <a:spLocks noGrp="1"/>
          </p:cNvSpPr>
          <p:nvPr>
            <p:ph type="body" sz="quarter" idx="23" hasCustomPrompt="1"/>
          </p:nvPr>
        </p:nvSpPr>
        <p:spPr>
          <a:xfrm>
            <a:off x="3481471" y="5368994"/>
            <a:ext cx="2249424" cy="479105"/>
          </a:xfrm>
        </p:spPr>
        <p:txBody>
          <a:bodyPr wrap="square" anchor="t">
            <a:noAutofit/>
          </a:bodyPr>
          <a:lstStyle>
            <a:lvl1pPr>
              <a:spcAft>
                <a:spcPts val="0"/>
              </a:spcAft>
              <a:defRPr sz="1200">
                <a:solidFill>
                  <a:schemeClr val="tx1"/>
                </a:solidFill>
              </a:defRPr>
            </a:lvl1pPr>
          </a:lstStyle>
          <a:p>
            <a:pPr lvl="0"/>
            <a:r>
              <a:rPr lang="en-US"/>
              <a:t>Click to edit title and company</a:t>
            </a:r>
          </a:p>
        </p:txBody>
      </p:sp>
      <p:sp>
        <p:nvSpPr>
          <p:cNvPr id="14" name="Text Placeholder 7">
            <a:extLst>
              <a:ext uri="{FF2B5EF4-FFF2-40B4-BE49-F238E27FC236}">
                <a16:creationId xmlns:a16="http://schemas.microsoft.com/office/drawing/2014/main" id="{8BA2FB22-FEA3-F491-FA63-180D1D6FDBE5}"/>
              </a:ext>
            </a:extLst>
          </p:cNvPr>
          <p:cNvSpPr>
            <a:spLocks noGrp="1"/>
          </p:cNvSpPr>
          <p:nvPr>
            <p:ph type="body" sz="quarter" idx="24" hasCustomPrompt="1"/>
          </p:nvPr>
        </p:nvSpPr>
        <p:spPr>
          <a:xfrm>
            <a:off x="3481471" y="4686053"/>
            <a:ext cx="2249424" cy="492443"/>
          </a:xfrm>
        </p:spPr>
        <p:txBody>
          <a:bodyPr wrap="square" anchor="b">
            <a:noAutofit/>
          </a:bodyPr>
          <a:lstStyle>
            <a:lvl1pPr>
              <a:spcAft>
                <a:spcPts val="0"/>
              </a:spcAft>
              <a:defRPr sz="1600" b="1">
                <a:solidFill>
                  <a:schemeClr val="tx1"/>
                </a:solidFill>
              </a:defRPr>
            </a:lvl1pPr>
          </a:lstStyle>
          <a:p>
            <a:pPr lvl="0"/>
            <a:r>
              <a:rPr lang="en-US"/>
              <a:t>Name</a:t>
            </a:r>
            <a:br>
              <a:rPr lang="en-US"/>
            </a:br>
            <a:r>
              <a:rPr lang="en-US"/>
              <a:t>Surname</a:t>
            </a:r>
          </a:p>
        </p:txBody>
      </p:sp>
      <p:sp>
        <p:nvSpPr>
          <p:cNvPr id="15" name="Text Placeholder 7">
            <a:extLst>
              <a:ext uri="{FF2B5EF4-FFF2-40B4-BE49-F238E27FC236}">
                <a16:creationId xmlns:a16="http://schemas.microsoft.com/office/drawing/2014/main" id="{2E1073DD-ABFD-AE4C-4915-D9F94176159A}"/>
              </a:ext>
            </a:extLst>
          </p:cNvPr>
          <p:cNvSpPr>
            <a:spLocks noGrp="1"/>
          </p:cNvSpPr>
          <p:nvPr>
            <p:ph type="body" sz="quarter" idx="25" hasCustomPrompt="1"/>
          </p:nvPr>
        </p:nvSpPr>
        <p:spPr>
          <a:xfrm>
            <a:off x="6457980" y="5350195"/>
            <a:ext cx="2249424" cy="479104"/>
          </a:xfrm>
        </p:spPr>
        <p:txBody>
          <a:bodyPr anchor="t">
            <a:noAutofit/>
          </a:bodyPr>
          <a:lstStyle>
            <a:lvl1pPr>
              <a:spcAft>
                <a:spcPts val="0"/>
              </a:spcAft>
              <a:defRPr sz="1200">
                <a:solidFill>
                  <a:schemeClr val="tx1"/>
                </a:solidFill>
              </a:defRPr>
            </a:lvl1pPr>
          </a:lstStyle>
          <a:p>
            <a:pPr lvl="0"/>
            <a:r>
              <a:rPr lang="en-US"/>
              <a:t>Click to edit title and company</a:t>
            </a:r>
          </a:p>
        </p:txBody>
      </p:sp>
      <p:sp>
        <p:nvSpPr>
          <p:cNvPr id="16" name="Text Placeholder 7">
            <a:extLst>
              <a:ext uri="{FF2B5EF4-FFF2-40B4-BE49-F238E27FC236}">
                <a16:creationId xmlns:a16="http://schemas.microsoft.com/office/drawing/2014/main" id="{77E5D7DC-93BD-A899-1C85-98E1A47E7F88}"/>
              </a:ext>
            </a:extLst>
          </p:cNvPr>
          <p:cNvSpPr>
            <a:spLocks noGrp="1"/>
          </p:cNvSpPr>
          <p:nvPr>
            <p:ph type="body" sz="quarter" idx="26" hasCustomPrompt="1"/>
          </p:nvPr>
        </p:nvSpPr>
        <p:spPr>
          <a:xfrm>
            <a:off x="6457980" y="4667252"/>
            <a:ext cx="2249424" cy="492443"/>
          </a:xfrm>
        </p:spPr>
        <p:txBody>
          <a:bodyPr anchor="b">
            <a:noAutofit/>
          </a:bodyPr>
          <a:lstStyle>
            <a:lvl1pPr>
              <a:spcAft>
                <a:spcPts val="0"/>
              </a:spcAft>
              <a:defRPr sz="1600" b="1">
                <a:solidFill>
                  <a:schemeClr val="tx1"/>
                </a:solidFill>
              </a:defRPr>
            </a:lvl1pPr>
          </a:lstStyle>
          <a:p>
            <a:pPr lvl="0"/>
            <a:r>
              <a:rPr lang="en-US"/>
              <a:t>Name</a:t>
            </a:r>
            <a:br>
              <a:rPr lang="en-US"/>
            </a:br>
            <a:r>
              <a:rPr lang="en-US"/>
              <a:t>Surname</a:t>
            </a:r>
          </a:p>
        </p:txBody>
      </p:sp>
      <p:sp>
        <p:nvSpPr>
          <p:cNvPr id="22" name="Text Placeholder 7">
            <a:extLst>
              <a:ext uri="{FF2B5EF4-FFF2-40B4-BE49-F238E27FC236}">
                <a16:creationId xmlns:a16="http://schemas.microsoft.com/office/drawing/2014/main" id="{73030E54-1BFD-34E9-CC93-EC664459BE96}"/>
              </a:ext>
            </a:extLst>
          </p:cNvPr>
          <p:cNvSpPr>
            <a:spLocks noGrp="1"/>
          </p:cNvSpPr>
          <p:nvPr>
            <p:ph type="body" sz="quarter" idx="27" hasCustomPrompt="1"/>
          </p:nvPr>
        </p:nvSpPr>
        <p:spPr>
          <a:xfrm>
            <a:off x="9434491" y="5350195"/>
            <a:ext cx="2249424" cy="479104"/>
          </a:xfrm>
        </p:spPr>
        <p:txBody>
          <a:bodyPr anchor="t">
            <a:noAutofit/>
          </a:bodyPr>
          <a:lstStyle>
            <a:lvl1pPr>
              <a:spcAft>
                <a:spcPts val="0"/>
              </a:spcAft>
              <a:defRPr sz="1200">
                <a:solidFill>
                  <a:schemeClr val="tx1"/>
                </a:solidFill>
              </a:defRPr>
            </a:lvl1pPr>
          </a:lstStyle>
          <a:p>
            <a:pPr lvl="0"/>
            <a:r>
              <a:rPr lang="en-US"/>
              <a:t>Click to edit title and company</a:t>
            </a:r>
          </a:p>
        </p:txBody>
      </p:sp>
      <p:sp>
        <p:nvSpPr>
          <p:cNvPr id="23" name="Text Placeholder 7">
            <a:extLst>
              <a:ext uri="{FF2B5EF4-FFF2-40B4-BE49-F238E27FC236}">
                <a16:creationId xmlns:a16="http://schemas.microsoft.com/office/drawing/2014/main" id="{67E6005E-EE1B-976A-4B04-102E054A5FF5}"/>
              </a:ext>
            </a:extLst>
          </p:cNvPr>
          <p:cNvSpPr>
            <a:spLocks noGrp="1"/>
          </p:cNvSpPr>
          <p:nvPr>
            <p:ph type="body" sz="quarter" idx="28" hasCustomPrompt="1"/>
          </p:nvPr>
        </p:nvSpPr>
        <p:spPr>
          <a:xfrm>
            <a:off x="9434491" y="4667252"/>
            <a:ext cx="2249424" cy="492443"/>
          </a:xfrm>
        </p:spPr>
        <p:txBody>
          <a:bodyPr anchor="b">
            <a:noAutofit/>
          </a:bodyPr>
          <a:lstStyle>
            <a:lvl1pPr>
              <a:spcAft>
                <a:spcPts val="0"/>
              </a:spcAft>
              <a:defRPr sz="1600" b="1">
                <a:solidFill>
                  <a:schemeClr val="tx1"/>
                </a:solidFill>
              </a:defRPr>
            </a:lvl1pPr>
          </a:lstStyle>
          <a:p>
            <a:pPr lvl="0"/>
            <a:r>
              <a:rPr lang="en-US"/>
              <a:t>Name</a:t>
            </a:r>
            <a:br>
              <a:rPr lang="en-US"/>
            </a:br>
            <a:r>
              <a:rPr lang="en-US"/>
              <a:t>Surname</a:t>
            </a:r>
          </a:p>
        </p:txBody>
      </p:sp>
      <p:sp>
        <p:nvSpPr>
          <p:cNvPr id="24" name="Picture Placeholder 90">
            <a:extLst>
              <a:ext uri="{FF2B5EF4-FFF2-40B4-BE49-F238E27FC236}">
                <a16:creationId xmlns:a16="http://schemas.microsoft.com/office/drawing/2014/main" id="{54C9A1C3-CD39-9B72-1F0F-C4FD1C9CA172}"/>
              </a:ext>
            </a:extLst>
          </p:cNvPr>
          <p:cNvSpPr>
            <a:spLocks noGrp="1"/>
          </p:cNvSpPr>
          <p:nvPr>
            <p:ph type="pic" sz="quarter" idx="46" hasCustomPrompt="1"/>
          </p:nvPr>
        </p:nvSpPr>
        <p:spPr>
          <a:xfrm>
            <a:off x="508000" y="1758700"/>
            <a:ext cx="2246384" cy="2543000"/>
          </a:xfrm>
          <a:prstGeom prst="rect">
            <a:avLst/>
          </a:prstGeom>
        </p:spPr>
        <p:txBody>
          <a:bodyPr wrap="square" anchor="ctr">
            <a:noAutofit/>
          </a:bodyPr>
          <a:lstStyle>
            <a:lvl1pPr algn="ctr">
              <a:defRPr>
                <a:solidFill>
                  <a:srgbClr val="3D3F48"/>
                </a:solidFill>
              </a:defRPr>
            </a:lvl1pPr>
          </a:lstStyle>
          <a:p>
            <a:r>
              <a:rPr lang="en-US"/>
              <a:t>Click to place image</a:t>
            </a:r>
          </a:p>
        </p:txBody>
      </p:sp>
      <p:sp>
        <p:nvSpPr>
          <p:cNvPr id="25" name="Picture Placeholder 100">
            <a:extLst>
              <a:ext uri="{FF2B5EF4-FFF2-40B4-BE49-F238E27FC236}">
                <a16:creationId xmlns:a16="http://schemas.microsoft.com/office/drawing/2014/main" id="{038F0E09-4F2D-071A-CFB5-1FC150BFEF7E}"/>
              </a:ext>
            </a:extLst>
          </p:cNvPr>
          <p:cNvSpPr>
            <a:spLocks noGrp="1"/>
          </p:cNvSpPr>
          <p:nvPr>
            <p:ph type="pic" sz="quarter" idx="47" hasCustomPrompt="1"/>
          </p:nvPr>
        </p:nvSpPr>
        <p:spPr>
          <a:xfrm>
            <a:off x="3484539" y="1777500"/>
            <a:ext cx="2246384" cy="2543000"/>
          </a:xfrm>
          <a:prstGeom prst="rect">
            <a:avLst/>
          </a:prstGeom>
        </p:spPr>
        <p:txBody>
          <a:bodyPr wrap="square" anchor="ctr">
            <a:noAutofit/>
          </a:bodyPr>
          <a:lstStyle>
            <a:lvl1pPr algn="ctr">
              <a:defRPr>
                <a:solidFill>
                  <a:srgbClr val="3D3F48"/>
                </a:solidFill>
              </a:defRPr>
            </a:lvl1pPr>
          </a:lstStyle>
          <a:p>
            <a:r>
              <a:rPr lang="en-US"/>
              <a:t>Click to place image</a:t>
            </a:r>
          </a:p>
        </p:txBody>
      </p:sp>
      <p:sp>
        <p:nvSpPr>
          <p:cNvPr id="26" name="Picture Placeholder 110">
            <a:extLst>
              <a:ext uri="{FF2B5EF4-FFF2-40B4-BE49-F238E27FC236}">
                <a16:creationId xmlns:a16="http://schemas.microsoft.com/office/drawing/2014/main" id="{E4503E74-A42A-9B08-62A1-DEEEF45DD24B}"/>
              </a:ext>
            </a:extLst>
          </p:cNvPr>
          <p:cNvSpPr>
            <a:spLocks noGrp="1"/>
          </p:cNvSpPr>
          <p:nvPr>
            <p:ph type="pic" sz="quarter" idx="48" hasCustomPrompt="1"/>
          </p:nvPr>
        </p:nvSpPr>
        <p:spPr>
          <a:xfrm>
            <a:off x="6461079" y="1758700"/>
            <a:ext cx="2246384" cy="2543000"/>
          </a:xfrm>
          <a:prstGeom prst="rect">
            <a:avLst/>
          </a:prstGeom>
        </p:spPr>
        <p:txBody>
          <a:bodyPr wrap="square" anchor="ctr">
            <a:noAutofit/>
          </a:bodyPr>
          <a:lstStyle>
            <a:lvl1pPr algn="ctr">
              <a:defRPr>
                <a:solidFill>
                  <a:srgbClr val="3D3F48"/>
                </a:solidFill>
              </a:defRPr>
            </a:lvl1pPr>
          </a:lstStyle>
          <a:p>
            <a:r>
              <a:rPr lang="en-US"/>
              <a:t>Click to place image</a:t>
            </a:r>
          </a:p>
        </p:txBody>
      </p:sp>
      <p:sp>
        <p:nvSpPr>
          <p:cNvPr id="27" name="Picture Placeholder 110">
            <a:extLst>
              <a:ext uri="{FF2B5EF4-FFF2-40B4-BE49-F238E27FC236}">
                <a16:creationId xmlns:a16="http://schemas.microsoft.com/office/drawing/2014/main" id="{CEE57FA0-BB0F-5CEE-09B4-43B3219B8DE1}"/>
              </a:ext>
            </a:extLst>
          </p:cNvPr>
          <p:cNvSpPr>
            <a:spLocks noGrp="1"/>
          </p:cNvSpPr>
          <p:nvPr>
            <p:ph type="pic" sz="quarter" idx="49" hasCustomPrompt="1"/>
          </p:nvPr>
        </p:nvSpPr>
        <p:spPr>
          <a:xfrm>
            <a:off x="9437616" y="1758700"/>
            <a:ext cx="2246384" cy="2543000"/>
          </a:xfrm>
          <a:prstGeom prst="rect">
            <a:avLst/>
          </a:prstGeom>
        </p:spPr>
        <p:txBody>
          <a:bodyPr wrap="square" anchor="ctr">
            <a:noAutofit/>
          </a:bodyPr>
          <a:lstStyle>
            <a:lvl1pPr algn="ctr">
              <a:defRPr>
                <a:solidFill>
                  <a:srgbClr val="3D3F48"/>
                </a:solidFill>
              </a:defRPr>
            </a:lvl1pPr>
          </a:lstStyle>
          <a:p>
            <a:r>
              <a:rPr lang="en-US"/>
              <a:t>Click to place image</a:t>
            </a:r>
          </a:p>
        </p:txBody>
      </p:sp>
      <p:sp>
        <p:nvSpPr>
          <p:cNvPr id="28" name="Text Placeholder 44">
            <a:extLst>
              <a:ext uri="{FF2B5EF4-FFF2-40B4-BE49-F238E27FC236}">
                <a16:creationId xmlns:a16="http://schemas.microsoft.com/office/drawing/2014/main" id="{2A720E4B-CC4C-5882-ED33-012DB6485BF5}"/>
              </a:ext>
            </a:extLst>
          </p:cNvPr>
          <p:cNvSpPr>
            <a:spLocks noGrp="1"/>
          </p:cNvSpPr>
          <p:nvPr>
            <p:ph type="body" sz="quarter" idx="50" hasCustomPrompt="1"/>
          </p:nvPr>
        </p:nvSpPr>
        <p:spPr>
          <a:xfrm>
            <a:off x="2037523" y="6364123"/>
            <a:ext cx="8028652" cy="283368"/>
          </a:xfrm>
        </p:spPr>
        <p:txBody>
          <a:bodyPr anchor="ctr">
            <a:noAutofit/>
          </a:bodyPr>
          <a:lstStyle>
            <a:lvl1pPr>
              <a:spcAft>
                <a:spcPts val="0"/>
              </a:spcAft>
              <a:defRPr sz="800" b="0">
                <a:solidFill>
                  <a:schemeClr val="bg2"/>
                </a:solidFill>
              </a:defRPr>
            </a:lvl1pPr>
            <a:lvl2pPr marL="0" indent="0">
              <a:buNone/>
              <a:defRPr/>
            </a:lvl2pPr>
          </a:lstStyle>
          <a:p>
            <a:pPr lvl="0"/>
            <a:r>
              <a:rPr lang="en-US"/>
              <a:t>Add footnotes here if needed</a:t>
            </a:r>
          </a:p>
        </p:txBody>
      </p:sp>
      <p:pic>
        <p:nvPicPr>
          <p:cNvPr id="4" name="Google Shape;959;g28b48f0dcfc_0_664" descr="A blurry image of a colorful background&#10;&#10;Description automatically generated">
            <a:extLst>
              <a:ext uri="{FF2B5EF4-FFF2-40B4-BE49-F238E27FC236}">
                <a16:creationId xmlns:a16="http://schemas.microsoft.com/office/drawing/2014/main" id="{FB2C4E3C-C677-5522-6292-789766AC6B9F}"/>
              </a:ext>
            </a:extLst>
          </p:cNvPr>
          <p:cNvPicPr preferRelativeResize="0"/>
          <p:nvPr userDrawn="1"/>
        </p:nvPicPr>
        <p:blipFill rotWithShape="1">
          <a:blip r:embed="rId2">
            <a:alphaModFix/>
          </a:blip>
          <a:srcRect b="97900"/>
          <a:stretch/>
        </p:blipFill>
        <p:spPr>
          <a:xfrm>
            <a:off x="2" y="-19341"/>
            <a:ext cx="12191999" cy="144015"/>
          </a:xfrm>
          <a:prstGeom prst="rect">
            <a:avLst/>
          </a:prstGeom>
          <a:noFill/>
          <a:ln>
            <a:noFill/>
          </a:ln>
        </p:spPr>
      </p:pic>
    </p:spTree>
    <p:extLst>
      <p:ext uri="{BB962C8B-B14F-4D97-AF65-F5344CB8AC3E}">
        <p14:creationId xmlns:p14="http://schemas.microsoft.com/office/powerpoint/2010/main" val="4792684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x Presenter/Bio">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p>
            <a:fld id="{71676EBD-8486-AA4B-82C3-0598DF1E43FA}" type="slidenum">
              <a:rPr lang="en-US" smtClean="0"/>
              <a:pPr/>
              <a:t>‹Nr.›</a:t>
            </a:fld>
            <a:endParaRPr lang="en-US"/>
          </a:p>
        </p:txBody>
      </p:sp>
      <p:sp>
        <p:nvSpPr>
          <p:cNvPr id="2" name="Title 11">
            <a:extLst>
              <a:ext uri="{FF2B5EF4-FFF2-40B4-BE49-F238E27FC236}">
                <a16:creationId xmlns:a16="http://schemas.microsoft.com/office/drawing/2014/main" id="{F9279B66-229A-DE36-7A52-2E85D8B91B1F}"/>
              </a:ext>
            </a:extLst>
          </p:cNvPr>
          <p:cNvSpPr>
            <a:spLocks noGrp="1"/>
          </p:cNvSpPr>
          <p:nvPr>
            <p:ph type="title" hasCustomPrompt="1"/>
          </p:nvPr>
        </p:nvSpPr>
        <p:spPr>
          <a:xfrm>
            <a:off x="415596" y="462506"/>
            <a:ext cx="11360808" cy="553997"/>
          </a:xfrm>
        </p:spPr>
        <p:txBody>
          <a:bodyPr anchor="t" anchorCtr="0">
            <a:spAutoFit/>
          </a:bodyPr>
          <a:lstStyle/>
          <a:p>
            <a:r>
              <a:rPr lang="en-US"/>
              <a:t>Click to Insert Headline</a:t>
            </a:r>
          </a:p>
        </p:txBody>
      </p:sp>
      <p:sp>
        <p:nvSpPr>
          <p:cNvPr id="3" name="Text Placeholder 7">
            <a:extLst>
              <a:ext uri="{FF2B5EF4-FFF2-40B4-BE49-F238E27FC236}">
                <a16:creationId xmlns:a16="http://schemas.microsoft.com/office/drawing/2014/main" id="{594B6E4B-EC4D-8173-ECCD-0779CA9AFDE0}"/>
              </a:ext>
            </a:extLst>
          </p:cNvPr>
          <p:cNvSpPr>
            <a:spLocks noGrp="1"/>
          </p:cNvSpPr>
          <p:nvPr>
            <p:ph type="body" sz="quarter" idx="21" hasCustomPrompt="1"/>
          </p:nvPr>
        </p:nvSpPr>
        <p:spPr>
          <a:xfrm>
            <a:off x="2510837" y="2579349"/>
            <a:ext cx="1594440" cy="423171"/>
          </a:xfrm>
        </p:spPr>
        <p:txBody>
          <a:bodyPr anchor="t">
            <a:noAutofit/>
          </a:bodyPr>
          <a:lstStyle>
            <a:lvl1pPr>
              <a:spcAft>
                <a:spcPts val="0"/>
              </a:spcAft>
              <a:defRPr sz="1200">
                <a:solidFill>
                  <a:schemeClr val="tx1"/>
                </a:solidFill>
              </a:defRPr>
            </a:lvl1pPr>
          </a:lstStyle>
          <a:p>
            <a:pPr lvl="0"/>
            <a:r>
              <a:rPr lang="en-US"/>
              <a:t>Click to edit title</a:t>
            </a:r>
            <a:br>
              <a:rPr lang="en-US"/>
            </a:br>
            <a:r>
              <a:rPr lang="en-US"/>
              <a:t>and company</a:t>
            </a:r>
          </a:p>
        </p:txBody>
      </p:sp>
      <p:sp>
        <p:nvSpPr>
          <p:cNvPr id="4" name="Text Placeholder 7">
            <a:extLst>
              <a:ext uri="{FF2B5EF4-FFF2-40B4-BE49-F238E27FC236}">
                <a16:creationId xmlns:a16="http://schemas.microsoft.com/office/drawing/2014/main" id="{52AC064D-667D-CE64-EE79-24D405A5A3F9}"/>
              </a:ext>
            </a:extLst>
          </p:cNvPr>
          <p:cNvSpPr>
            <a:spLocks noGrp="1"/>
          </p:cNvSpPr>
          <p:nvPr>
            <p:ph type="body" sz="quarter" idx="22" hasCustomPrompt="1"/>
          </p:nvPr>
        </p:nvSpPr>
        <p:spPr>
          <a:xfrm>
            <a:off x="2510837" y="2007660"/>
            <a:ext cx="1594440" cy="492443"/>
          </a:xfrm>
        </p:spPr>
        <p:txBody>
          <a:bodyPr lIns="0" tIns="0" anchor="b" anchorCtr="0">
            <a:noAutofit/>
          </a:bodyPr>
          <a:lstStyle>
            <a:lvl1pPr>
              <a:spcAft>
                <a:spcPts val="0"/>
              </a:spcAft>
              <a:defRPr sz="1600" b="1">
                <a:solidFill>
                  <a:schemeClr val="tx1"/>
                </a:solidFill>
              </a:defRPr>
            </a:lvl1pPr>
          </a:lstStyle>
          <a:p>
            <a:pPr lvl="0"/>
            <a:r>
              <a:rPr lang="en-US"/>
              <a:t>Name</a:t>
            </a:r>
            <a:br>
              <a:rPr lang="en-US"/>
            </a:br>
            <a:r>
              <a:rPr lang="en-US"/>
              <a:t>Surname</a:t>
            </a:r>
          </a:p>
        </p:txBody>
      </p:sp>
      <p:sp>
        <p:nvSpPr>
          <p:cNvPr id="6" name="Picture Placeholder 48">
            <a:extLst>
              <a:ext uri="{FF2B5EF4-FFF2-40B4-BE49-F238E27FC236}">
                <a16:creationId xmlns:a16="http://schemas.microsoft.com/office/drawing/2014/main" id="{85EAAF75-208A-7533-6F01-2DAA08E1B5DC}"/>
              </a:ext>
            </a:extLst>
          </p:cNvPr>
          <p:cNvSpPr>
            <a:spLocks noGrp="1"/>
          </p:cNvSpPr>
          <p:nvPr>
            <p:ph type="pic" sz="quarter" idx="46" hasCustomPrompt="1"/>
          </p:nvPr>
        </p:nvSpPr>
        <p:spPr>
          <a:xfrm>
            <a:off x="509037" y="1454945"/>
            <a:ext cx="1850708" cy="2095079"/>
          </a:xfrm>
          <a:prstGeom prst="rect">
            <a:avLst/>
          </a:prstGeom>
        </p:spPr>
        <p:txBody>
          <a:bodyPr wrap="square" anchor="ctr">
            <a:noAutofit/>
          </a:bodyPr>
          <a:lstStyle>
            <a:lvl1pPr algn="ctr">
              <a:defRPr>
                <a:solidFill>
                  <a:srgbClr val="3D3F48"/>
                </a:solidFill>
              </a:defRPr>
            </a:lvl1pPr>
          </a:lstStyle>
          <a:p>
            <a:r>
              <a:rPr lang="en-US"/>
              <a:t>Click to place image</a:t>
            </a:r>
          </a:p>
        </p:txBody>
      </p:sp>
      <p:sp>
        <p:nvSpPr>
          <p:cNvPr id="8" name="Text Placeholder 7">
            <a:extLst>
              <a:ext uri="{FF2B5EF4-FFF2-40B4-BE49-F238E27FC236}">
                <a16:creationId xmlns:a16="http://schemas.microsoft.com/office/drawing/2014/main" id="{92300C05-4321-49C1-4058-F813EDA4797A}"/>
              </a:ext>
            </a:extLst>
          </p:cNvPr>
          <p:cNvSpPr>
            <a:spLocks noGrp="1"/>
          </p:cNvSpPr>
          <p:nvPr>
            <p:ph type="body" sz="quarter" idx="47" hasCustomPrompt="1"/>
          </p:nvPr>
        </p:nvSpPr>
        <p:spPr>
          <a:xfrm>
            <a:off x="6300199" y="2584112"/>
            <a:ext cx="1594440" cy="423171"/>
          </a:xfrm>
        </p:spPr>
        <p:txBody>
          <a:bodyPr anchor="t">
            <a:noAutofit/>
          </a:bodyPr>
          <a:lstStyle>
            <a:lvl1pPr>
              <a:spcAft>
                <a:spcPts val="0"/>
              </a:spcAft>
              <a:defRPr sz="1200">
                <a:solidFill>
                  <a:schemeClr val="tx1"/>
                </a:solidFill>
              </a:defRPr>
            </a:lvl1pPr>
          </a:lstStyle>
          <a:p>
            <a:pPr lvl="0"/>
            <a:r>
              <a:rPr lang="en-US"/>
              <a:t>Click to edit title</a:t>
            </a:r>
            <a:br>
              <a:rPr lang="en-US"/>
            </a:br>
            <a:r>
              <a:rPr lang="en-US"/>
              <a:t>and company</a:t>
            </a:r>
          </a:p>
        </p:txBody>
      </p:sp>
      <p:sp>
        <p:nvSpPr>
          <p:cNvPr id="17" name="Text Placeholder 7">
            <a:extLst>
              <a:ext uri="{FF2B5EF4-FFF2-40B4-BE49-F238E27FC236}">
                <a16:creationId xmlns:a16="http://schemas.microsoft.com/office/drawing/2014/main" id="{2E2951C4-D46F-9C9D-81EA-989D673710C2}"/>
              </a:ext>
            </a:extLst>
          </p:cNvPr>
          <p:cNvSpPr>
            <a:spLocks noGrp="1"/>
          </p:cNvSpPr>
          <p:nvPr>
            <p:ph type="body" sz="quarter" idx="48" hasCustomPrompt="1"/>
          </p:nvPr>
        </p:nvSpPr>
        <p:spPr>
          <a:xfrm>
            <a:off x="6300199" y="2012423"/>
            <a:ext cx="1594440" cy="492443"/>
          </a:xfrm>
        </p:spPr>
        <p:txBody>
          <a:bodyPr lIns="0" tIns="0" anchor="b" anchorCtr="0">
            <a:noAutofit/>
          </a:bodyPr>
          <a:lstStyle>
            <a:lvl1pPr>
              <a:spcAft>
                <a:spcPts val="0"/>
              </a:spcAft>
              <a:defRPr sz="1600" b="1">
                <a:solidFill>
                  <a:schemeClr val="tx1"/>
                </a:solidFill>
              </a:defRPr>
            </a:lvl1pPr>
          </a:lstStyle>
          <a:p>
            <a:pPr lvl="0"/>
            <a:r>
              <a:rPr lang="en-US"/>
              <a:t>Name</a:t>
            </a:r>
            <a:br>
              <a:rPr lang="en-US"/>
            </a:br>
            <a:r>
              <a:rPr lang="en-US"/>
              <a:t>Surname</a:t>
            </a:r>
          </a:p>
        </p:txBody>
      </p:sp>
      <p:sp>
        <p:nvSpPr>
          <p:cNvPr id="18" name="Picture Placeholder 62">
            <a:extLst>
              <a:ext uri="{FF2B5EF4-FFF2-40B4-BE49-F238E27FC236}">
                <a16:creationId xmlns:a16="http://schemas.microsoft.com/office/drawing/2014/main" id="{E893B138-88D8-6B4C-283D-C39481C3455D}"/>
              </a:ext>
            </a:extLst>
          </p:cNvPr>
          <p:cNvSpPr>
            <a:spLocks noGrp="1"/>
          </p:cNvSpPr>
          <p:nvPr>
            <p:ph type="pic" sz="quarter" idx="49" hasCustomPrompt="1"/>
          </p:nvPr>
        </p:nvSpPr>
        <p:spPr>
          <a:xfrm>
            <a:off x="4298398" y="1454945"/>
            <a:ext cx="1850708" cy="2095079"/>
          </a:xfrm>
          <a:prstGeom prst="rect">
            <a:avLst/>
          </a:prstGeom>
        </p:spPr>
        <p:txBody>
          <a:bodyPr wrap="square" anchor="ctr">
            <a:noAutofit/>
          </a:bodyPr>
          <a:lstStyle>
            <a:lvl1pPr algn="ctr">
              <a:defRPr>
                <a:solidFill>
                  <a:srgbClr val="3D3F48"/>
                </a:solidFill>
              </a:defRPr>
            </a:lvl1pPr>
          </a:lstStyle>
          <a:p>
            <a:r>
              <a:rPr lang="en-US"/>
              <a:t>Click to place image</a:t>
            </a:r>
          </a:p>
        </p:txBody>
      </p:sp>
      <p:sp>
        <p:nvSpPr>
          <p:cNvPr id="19" name="Text Placeholder 7">
            <a:extLst>
              <a:ext uri="{FF2B5EF4-FFF2-40B4-BE49-F238E27FC236}">
                <a16:creationId xmlns:a16="http://schemas.microsoft.com/office/drawing/2014/main" id="{2132BCCE-34E6-25C0-167A-20DE7076DDA9}"/>
              </a:ext>
            </a:extLst>
          </p:cNvPr>
          <p:cNvSpPr>
            <a:spLocks noGrp="1"/>
          </p:cNvSpPr>
          <p:nvPr>
            <p:ph type="body" sz="quarter" idx="50" hasCustomPrompt="1"/>
          </p:nvPr>
        </p:nvSpPr>
        <p:spPr>
          <a:xfrm>
            <a:off x="10088527" y="2579349"/>
            <a:ext cx="1594440" cy="423171"/>
          </a:xfrm>
        </p:spPr>
        <p:txBody>
          <a:bodyPr anchor="t">
            <a:noAutofit/>
          </a:bodyPr>
          <a:lstStyle>
            <a:lvl1pPr>
              <a:spcAft>
                <a:spcPts val="0"/>
              </a:spcAft>
              <a:defRPr sz="1200">
                <a:solidFill>
                  <a:schemeClr val="tx1"/>
                </a:solidFill>
              </a:defRPr>
            </a:lvl1pPr>
          </a:lstStyle>
          <a:p>
            <a:pPr lvl="0"/>
            <a:r>
              <a:rPr lang="en-US"/>
              <a:t>Click to edit title</a:t>
            </a:r>
            <a:br>
              <a:rPr lang="en-US"/>
            </a:br>
            <a:r>
              <a:rPr lang="en-US"/>
              <a:t>and company</a:t>
            </a:r>
          </a:p>
        </p:txBody>
      </p:sp>
      <p:sp>
        <p:nvSpPr>
          <p:cNvPr id="20" name="Text Placeholder 7">
            <a:extLst>
              <a:ext uri="{FF2B5EF4-FFF2-40B4-BE49-F238E27FC236}">
                <a16:creationId xmlns:a16="http://schemas.microsoft.com/office/drawing/2014/main" id="{4ED226B2-4C78-48B0-4AF1-5FF7025979D8}"/>
              </a:ext>
            </a:extLst>
          </p:cNvPr>
          <p:cNvSpPr>
            <a:spLocks noGrp="1"/>
          </p:cNvSpPr>
          <p:nvPr>
            <p:ph type="body" sz="quarter" idx="51" hasCustomPrompt="1"/>
          </p:nvPr>
        </p:nvSpPr>
        <p:spPr>
          <a:xfrm>
            <a:off x="10088527" y="2007660"/>
            <a:ext cx="1594440" cy="492443"/>
          </a:xfrm>
        </p:spPr>
        <p:txBody>
          <a:bodyPr lIns="0" tIns="0" anchor="b" anchorCtr="0">
            <a:noAutofit/>
          </a:bodyPr>
          <a:lstStyle>
            <a:lvl1pPr>
              <a:spcAft>
                <a:spcPts val="0"/>
              </a:spcAft>
              <a:defRPr sz="1600" b="1">
                <a:solidFill>
                  <a:schemeClr val="tx1"/>
                </a:solidFill>
              </a:defRPr>
            </a:lvl1pPr>
          </a:lstStyle>
          <a:p>
            <a:pPr lvl="0"/>
            <a:r>
              <a:rPr lang="en-US"/>
              <a:t>Name</a:t>
            </a:r>
            <a:br>
              <a:rPr lang="en-US"/>
            </a:br>
            <a:r>
              <a:rPr lang="en-US"/>
              <a:t>Surname</a:t>
            </a:r>
          </a:p>
        </p:txBody>
      </p:sp>
      <p:sp>
        <p:nvSpPr>
          <p:cNvPr id="21" name="Picture Placeholder 74">
            <a:extLst>
              <a:ext uri="{FF2B5EF4-FFF2-40B4-BE49-F238E27FC236}">
                <a16:creationId xmlns:a16="http://schemas.microsoft.com/office/drawing/2014/main" id="{6023BA60-198D-5AAC-C995-526897D18C08}"/>
              </a:ext>
            </a:extLst>
          </p:cNvPr>
          <p:cNvSpPr>
            <a:spLocks noGrp="1"/>
          </p:cNvSpPr>
          <p:nvPr>
            <p:ph type="pic" sz="quarter" idx="52" hasCustomPrompt="1"/>
          </p:nvPr>
        </p:nvSpPr>
        <p:spPr>
          <a:xfrm>
            <a:off x="8081645" y="1454945"/>
            <a:ext cx="1850708" cy="2095079"/>
          </a:xfrm>
          <a:prstGeom prst="rect">
            <a:avLst/>
          </a:prstGeom>
        </p:spPr>
        <p:txBody>
          <a:bodyPr wrap="square" anchor="ctr">
            <a:noAutofit/>
          </a:bodyPr>
          <a:lstStyle>
            <a:lvl1pPr algn="ctr">
              <a:defRPr>
                <a:solidFill>
                  <a:srgbClr val="3D3F48"/>
                </a:solidFill>
              </a:defRPr>
            </a:lvl1pPr>
          </a:lstStyle>
          <a:p>
            <a:r>
              <a:rPr lang="en-US"/>
              <a:t>Click to place image</a:t>
            </a:r>
          </a:p>
        </p:txBody>
      </p:sp>
      <p:sp>
        <p:nvSpPr>
          <p:cNvPr id="28" name="Text Placeholder 7">
            <a:extLst>
              <a:ext uri="{FF2B5EF4-FFF2-40B4-BE49-F238E27FC236}">
                <a16:creationId xmlns:a16="http://schemas.microsoft.com/office/drawing/2014/main" id="{B462AAC3-E7C1-E029-E6CD-42263AA9A4BC}"/>
              </a:ext>
            </a:extLst>
          </p:cNvPr>
          <p:cNvSpPr>
            <a:spLocks noGrp="1"/>
          </p:cNvSpPr>
          <p:nvPr>
            <p:ph type="body" sz="quarter" idx="53" hasCustomPrompt="1"/>
          </p:nvPr>
        </p:nvSpPr>
        <p:spPr>
          <a:xfrm>
            <a:off x="2510837" y="4902831"/>
            <a:ext cx="1594440" cy="423171"/>
          </a:xfrm>
        </p:spPr>
        <p:txBody>
          <a:bodyPr anchor="t">
            <a:noAutofit/>
          </a:bodyPr>
          <a:lstStyle>
            <a:lvl1pPr>
              <a:spcAft>
                <a:spcPts val="0"/>
              </a:spcAft>
              <a:defRPr sz="1200">
                <a:solidFill>
                  <a:schemeClr val="tx1"/>
                </a:solidFill>
              </a:defRPr>
            </a:lvl1pPr>
          </a:lstStyle>
          <a:p>
            <a:pPr lvl="0"/>
            <a:r>
              <a:rPr lang="en-US"/>
              <a:t>Click to edit title</a:t>
            </a:r>
            <a:br>
              <a:rPr lang="en-US"/>
            </a:br>
            <a:r>
              <a:rPr lang="en-US"/>
              <a:t>and company</a:t>
            </a:r>
          </a:p>
        </p:txBody>
      </p:sp>
      <p:sp>
        <p:nvSpPr>
          <p:cNvPr id="29" name="Text Placeholder 7">
            <a:extLst>
              <a:ext uri="{FF2B5EF4-FFF2-40B4-BE49-F238E27FC236}">
                <a16:creationId xmlns:a16="http://schemas.microsoft.com/office/drawing/2014/main" id="{89A270D5-7E15-52DF-7ABC-DF985D72600D}"/>
              </a:ext>
            </a:extLst>
          </p:cNvPr>
          <p:cNvSpPr>
            <a:spLocks noGrp="1"/>
          </p:cNvSpPr>
          <p:nvPr>
            <p:ph type="body" sz="quarter" idx="54" hasCustomPrompt="1"/>
          </p:nvPr>
        </p:nvSpPr>
        <p:spPr>
          <a:xfrm>
            <a:off x="2510837" y="4331141"/>
            <a:ext cx="1594440" cy="492443"/>
          </a:xfrm>
        </p:spPr>
        <p:txBody>
          <a:bodyPr lIns="0" tIns="0" anchor="b" anchorCtr="0">
            <a:noAutofit/>
          </a:bodyPr>
          <a:lstStyle>
            <a:lvl1pPr>
              <a:spcAft>
                <a:spcPts val="0"/>
              </a:spcAft>
              <a:defRPr sz="1600" b="1">
                <a:solidFill>
                  <a:schemeClr val="tx1"/>
                </a:solidFill>
              </a:defRPr>
            </a:lvl1pPr>
          </a:lstStyle>
          <a:p>
            <a:pPr lvl="0"/>
            <a:r>
              <a:rPr lang="en-US"/>
              <a:t>Name</a:t>
            </a:r>
            <a:br>
              <a:rPr lang="en-US"/>
            </a:br>
            <a:r>
              <a:rPr lang="en-US"/>
              <a:t>Surname</a:t>
            </a:r>
          </a:p>
        </p:txBody>
      </p:sp>
      <p:sp>
        <p:nvSpPr>
          <p:cNvPr id="30" name="Picture Placeholder 116">
            <a:extLst>
              <a:ext uri="{FF2B5EF4-FFF2-40B4-BE49-F238E27FC236}">
                <a16:creationId xmlns:a16="http://schemas.microsoft.com/office/drawing/2014/main" id="{FDD9510C-9DE3-4DD3-C0D8-BBEC594F8A59}"/>
              </a:ext>
            </a:extLst>
          </p:cNvPr>
          <p:cNvSpPr>
            <a:spLocks noGrp="1"/>
          </p:cNvSpPr>
          <p:nvPr>
            <p:ph type="pic" sz="quarter" idx="55" hasCustomPrompt="1"/>
          </p:nvPr>
        </p:nvSpPr>
        <p:spPr>
          <a:xfrm>
            <a:off x="509037" y="3778426"/>
            <a:ext cx="1850708" cy="2095079"/>
          </a:xfrm>
          <a:prstGeom prst="rect">
            <a:avLst/>
          </a:prstGeom>
        </p:spPr>
        <p:txBody>
          <a:bodyPr wrap="square" anchor="ctr">
            <a:noAutofit/>
          </a:bodyPr>
          <a:lstStyle>
            <a:lvl1pPr algn="ctr">
              <a:defRPr>
                <a:solidFill>
                  <a:srgbClr val="3D3F48"/>
                </a:solidFill>
              </a:defRPr>
            </a:lvl1pPr>
          </a:lstStyle>
          <a:p>
            <a:r>
              <a:rPr lang="en-US"/>
              <a:t>Click to place image</a:t>
            </a:r>
          </a:p>
        </p:txBody>
      </p:sp>
      <p:sp>
        <p:nvSpPr>
          <p:cNvPr id="31" name="Text Placeholder 7">
            <a:extLst>
              <a:ext uri="{FF2B5EF4-FFF2-40B4-BE49-F238E27FC236}">
                <a16:creationId xmlns:a16="http://schemas.microsoft.com/office/drawing/2014/main" id="{8DB54628-8C28-1A18-A2EF-DC2146515B86}"/>
              </a:ext>
            </a:extLst>
          </p:cNvPr>
          <p:cNvSpPr>
            <a:spLocks noGrp="1"/>
          </p:cNvSpPr>
          <p:nvPr>
            <p:ph type="body" sz="quarter" idx="56" hasCustomPrompt="1"/>
          </p:nvPr>
        </p:nvSpPr>
        <p:spPr>
          <a:xfrm>
            <a:off x="6300199" y="4907593"/>
            <a:ext cx="1594440" cy="423171"/>
          </a:xfrm>
        </p:spPr>
        <p:txBody>
          <a:bodyPr anchor="t">
            <a:noAutofit/>
          </a:bodyPr>
          <a:lstStyle>
            <a:lvl1pPr>
              <a:spcAft>
                <a:spcPts val="0"/>
              </a:spcAft>
              <a:defRPr sz="1200">
                <a:solidFill>
                  <a:schemeClr val="tx1"/>
                </a:solidFill>
              </a:defRPr>
            </a:lvl1pPr>
          </a:lstStyle>
          <a:p>
            <a:pPr lvl="0"/>
            <a:r>
              <a:rPr lang="en-US"/>
              <a:t>Click to edit title</a:t>
            </a:r>
            <a:br>
              <a:rPr lang="en-US"/>
            </a:br>
            <a:r>
              <a:rPr lang="en-US"/>
              <a:t>and company</a:t>
            </a:r>
          </a:p>
        </p:txBody>
      </p:sp>
      <p:sp>
        <p:nvSpPr>
          <p:cNvPr id="32" name="Text Placeholder 7">
            <a:extLst>
              <a:ext uri="{FF2B5EF4-FFF2-40B4-BE49-F238E27FC236}">
                <a16:creationId xmlns:a16="http://schemas.microsoft.com/office/drawing/2014/main" id="{122E24A2-6DD0-22A2-20CF-3FF91720E918}"/>
              </a:ext>
            </a:extLst>
          </p:cNvPr>
          <p:cNvSpPr>
            <a:spLocks noGrp="1"/>
          </p:cNvSpPr>
          <p:nvPr>
            <p:ph type="body" sz="quarter" idx="57" hasCustomPrompt="1"/>
          </p:nvPr>
        </p:nvSpPr>
        <p:spPr>
          <a:xfrm>
            <a:off x="6300199" y="4335904"/>
            <a:ext cx="1594440" cy="492443"/>
          </a:xfrm>
        </p:spPr>
        <p:txBody>
          <a:bodyPr lIns="0" tIns="0" anchor="b" anchorCtr="0">
            <a:noAutofit/>
          </a:bodyPr>
          <a:lstStyle>
            <a:lvl1pPr>
              <a:spcAft>
                <a:spcPts val="0"/>
              </a:spcAft>
              <a:defRPr sz="1600" b="1">
                <a:solidFill>
                  <a:schemeClr val="tx1"/>
                </a:solidFill>
              </a:defRPr>
            </a:lvl1pPr>
          </a:lstStyle>
          <a:p>
            <a:pPr lvl="0"/>
            <a:r>
              <a:rPr lang="en-US"/>
              <a:t>Name</a:t>
            </a:r>
            <a:br>
              <a:rPr lang="en-US"/>
            </a:br>
            <a:r>
              <a:rPr lang="en-US"/>
              <a:t>Surname</a:t>
            </a:r>
          </a:p>
        </p:txBody>
      </p:sp>
      <p:sp>
        <p:nvSpPr>
          <p:cNvPr id="33" name="Picture Placeholder 128">
            <a:extLst>
              <a:ext uri="{FF2B5EF4-FFF2-40B4-BE49-F238E27FC236}">
                <a16:creationId xmlns:a16="http://schemas.microsoft.com/office/drawing/2014/main" id="{AC5EA97C-6B5F-A6C4-DFA7-DF27BB5125F7}"/>
              </a:ext>
            </a:extLst>
          </p:cNvPr>
          <p:cNvSpPr>
            <a:spLocks noGrp="1"/>
          </p:cNvSpPr>
          <p:nvPr>
            <p:ph type="pic" sz="quarter" idx="58" hasCustomPrompt="1"/>
          </p:nvPr>
        </p:nvSpPr>
        <p:spPr>
          <a:xfrm>
            <a:off x="4293635" y="3778426"/>
            <a:ext cx="1850708" cy="2095079"/>
          </a:xfrm>
          <a:prstGeom prst="rect">
            <a:avLst/>
          </a:prstGeom>
        </p:spPr>
        <p:txBody>
          <a:bodyPr wrap="square" anchor="ctr">
            <a:noAutofit/>
          </a:bodyPr>
          <a:lstStyle>
            <a:lvl1pPr algn="ctr">
              <a:defRPr>
                <a:solidFill>
                  <a:srgbClr val="3D3F48"/>
                </a:solidFill>
              </a:defRPr>
            </a:lvl1pPr>
          </a:lstStyle>
          <a:p>
            <a:r>
              <a:rPr lang="en-US"/>
              <a:t>Click to place image</a:t>
            </a:r>
          </a:p>
        </p:txBody>
      </p:sp>
      <p:sp>
        <p:nvSpPr>
          <p:cNvPr id="34" name="Text Placeholder 7">
            <a:extLst>
              <a:ext uri="{FF2B5EF4-FFF2-40B4-BE49-F238E27FC236}">
                <a16:creationId xmlns:a16="http://schemas.microsoft.com/office/drawing/2014/main" id="{15A60299-0913-124F-67F3-96846ED444E9}"/>
              </a:ext>
            </a:extLst>
          </p:cNvPr>
          <p:cNvSpPr>
            <a:spLocks noGrp="1"/>
          </p:cNvSpPr>
          <p:nvPr>
            <p:ph type="body" sz="quarter" idx="59" hasCustomPrompt="1"/>
          </p:nvPr>
        </p:nvSpPr>
        <p:spPr>
          <a:xfrm>
            <a:off x="10088527" y="4902831"/>
            <a:ext cx="1594440" cy="423171"/>
          </a:xfrm>
        </p:spPr>
        <p:txBody>
          <a:bodyPr anchor="t">
            <a:noAutofit/>
          </a:bodyPr>
          <a:lstStyle>
            <a:lvl1pPr>
              <a:spcAft>
                <a:spcPts val="0"/>
              </a:spcAft>
              <a:defRPr sz="1200">
                <a:solidFill>
                  <a:schemeClr val="tx1"/>
                </a:solidFill>
              </a:defRPr>
            </a:lvl1pPr>
          </a:lstStyle>
          <a:p>
            <a:pPr lvl="0"/>
            <a:r>
              <a:rPr lang="en-US"/>
              <a:t>Click to edit title</a:t>
            </a:r>
            <a:br>
              <a:rPr lang="en-US"/>
            </a:br>
            <a:r>
              <a:rPr lang="en-US"/>
              <a:t>and company</a:t>
            </a:r>
          </a:p>
        </p:txBody>
      </p:sp>
      <p:sp>
        <p:nvSpPr>
          <p:cNvPr id="35" name="Text Placeholder 7">
            <a:extLst>
              <a:ext uri="{FF2B5EF4-FFF2-40B4-BE49-F238E27FC236}">
                <a16:creationId xmlns:a16="http://schemas.microsoft.com/office/drawing/2014/main" id="{590A4EB6-8F2E-7261-5037-9764436582AF}"/>
              </a:ext>
            </a:extLst>
          </p:cNvPr>
          <p:cNvSpPr>
            <a:spLocks noGrp="1"/>
          </p:cNvSpPr>
          <p:nvPr>
            <p:ph type="body" sz="quarter" idx="60" hasCustomPrompt="1"/>
          </p:nvPr>
        </p:nvSpPr>
        <p:spPr>
          <a:xfrm>
            <a:off x="10088527" y="4331141"/>
            <a:ext cx="1594440" cy="492443"/>
          </a:xfrm>
        </p:spPr>
        <p:txBody>
          <a:bodyPr lIns="0" tIns="0" anchor="b" anchorCtr="0">
            <a:noAutofit/>
          </a:bodyPr>
          <a:lstStyle>
            <a:lvl1pPr>
              <a:spcAft>
                <a:spcPts val="0"/>
              </a:spcAft>
              <a:defRPr sz="1600" b="1">
                <a:solidFill>
                  <a:schemeClr val="tx1"/>
                </a:solidFill>
              </a:defRPr>
            </a:lvl1pPr>
          </a:lstStyle>
          <a:p>
            <a:pPr lvl="0"/>
            <a:r>
              <a:rPr lang="en-US"/>
              <a:t>Name</a:t>
            </a:r>
            <a:br>
              <a:rPr lang="en-US"/>
            </a:br>
            <a:r>
              <a:rPr lang="en-US"/>
              <a:t>Surname</a:t>
            </a:r>
          </a:p>
        </p:txBody>
      </p:sp>
      <p:sp>
        <p:nvSpPr>
          <p:cNvPr id="36" name="Picture Placeholder 140">
            <a:extLst>
              <a:ext uri="{FF2B5EF4-FFF2-40B4-BE49-F238E27FC236}">
                <a16:creationId xmlns:a16="http://schemas.microsoft.com/office/drawing/2014/main" id="{E221FC6A-B6C9-91EB-D7A6-4E4D59EE135C}"/>
              </a:ext>
            </a:extLst>
          </p:cNvPr>
          <p:cNvSpPr>
            <a:spLocks noGrp="1"/>
          </p:cNvSpPr>
          <p:nvPr>
            <p:ph type="pic" sz="quarter" idx="61" hasCustomPrompt="1"/>
          </p:nvPr>
        </p:nvSpPr>
        <p:spPr>
          <a:xfrm>
            <a:off x="8081645" y="3778426"/>
            <a:ext cx="1850708" cy="2095079"/>
          </a:xfrm>
          <a:prstGeom prst="rect">
            <a:avLst/>
          </a:prstGeom>
        </p:spPr>
        <p:txBody>
          <a:bodyPr wrap="square" anchor="ctr">
            <a:noAutofit/>
          </a:bodyPr>
          <a:lstStyle>
            <a:lvl1pPr algn="ctr">
              <a:defRPr>
                <a:solidFill>
                  <a:srgbClr val="3D3F48"/>
                </a:solidFill>
              </a:defRPr>
            </a:lvl1pPr>
          </a:lstStyle>
          <a:p>
            <a:r>
              <a:rPr lang="en-US"/>
              <a:t>Click to place image</a:t>
            </a:r>
          </a:p>
        </p:txBody>
      </p:sp>
      <p:sp>
        <p:nvSpPr>
          <p:cNvPr id="37" name="Text Placeholder 44">
            <a:extLst>
              <a:ext uri="{FF2B5EF4-FFF2-40B4-BE49-F238E27FC236}">
                <a16:creationId xmlns:a16="http://schemas.microsoft.com/office/drawing/2014/main" id="{78EC0F61-EC2B-01B2-0384-39645FB4F695}"/>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chemeClr val="bg2"/>
                </a:solidFill>
              </a:defRPr>
            </a:lvl1pPr>
            <a:lvl2pPr marL="0" indent="0">
              <a:buNone/>
              <a:defRPr/>
            </a:lvl2pPr>
          </a:lstStyle>
          <a:p>
            <a:pPr lvl="0"/>
            <a:r>
              <a:rPr lang="en-US"/>
              <a:t>Add footnotes here if needed</a:t>
            </a:r>
          </a:p>
        </p:txBody>
      </p:sp>
      <p:pic>
        <p:nvPicPr>
          <p:cNvPr id="7" name="Google Shape;959;g28b48f0dcfc_0_664" descr="A blurry image of a colorful background&#10;&#10;Description automatically generated">
            <a:extLst>
              <a:ext uri="{FF2B5EF4-FFF2-40B4-BE49-F238E27FC236}">
                <a16:creationId xmlns:a16="http://schemas.microsoft.com/office/drawing/2014/main" id="{B59DCB27-198A-3E0B-0F77-848214972048}"/>
              </a:ext>
            </a:extLst>
          </p:cNvPr>
          <p:cNvPicPr preferRelativeResize="0"/>
          <p:nvPr userDrawn="1"/>
        </p:nvPicPr>
        <p:blipFill rotWithShape="1">
          <a:blip r:embed="rId2">
            <a:alphaModFix/>
          </a:blip>
          <a:srcRect b="97900"/>
          <a:stretch/>
        </p:blipFill>
        <p:spPr>
          <a:xfrm>
            <a:off x="2" y="-19341"/>
            <a:ext cx="12191999" cy="144015"/>
          </a:xfrm>
          <a:prstGeom prst="rect">
            <a:avLst/>
          </a:prstGeom>
          <a:noFill/>
          <a:ln>
            <a:noFill/>
          </a:ln>
        </p:spPr>
      </p:pic>
    </p:spTree>
    <p:extLst>
      <p:ext uri="{BB962C8B-B14F-4D97-AF65-F5344CB8AC3E}">
        <p14:creationId xmlns:p14="http://schemas.microsoft.com/office/powerpoint/2010/main" val="147938067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hoto Collage A">
    <p:bg>
      <p:bgPr>
        <a:solidFill>
          <a:srgbClr val="000218"/>
        </a:solidFill>
        <a:effectLst/>
      </p:bgPr>
    </p:bg>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lvl1pPr>
              <a:defRPr>
                <a:solidFill>
                  <a:schemeClr val="bg1"/>
                </a:solidFill>
              </a:defRPr>
            </a:lvl1p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lvl1pPr>
              <a:defRPr>
                <a:solidFill>
                  <a:schemeClr val="bg1"/>
                </a:solidFill>
              </a:defRPr>
            </a:lvl1pPr>
          </a:lstStyle>
          <a:p>
            <a:fld id="{71676EBD-8486-AA4B-82C3-0598DF1E43FA}" type="slidenum">
              <a:rPr lang="en-US" smtClean="0"/>
              <a:pPr/>
              <a:t>‹Nr.›</a:t>
            </a:fld>
            <a:endParaRPr lang="en-US"/>
          </a:p>
        </p:txBody>
      </p:sp>
      <p:sp>
        <p:nvSpPr>
          <p:cNvPr id="2" name="Title 11">
            <a:extLst>
              <a:ext uri="{FF2B5EF4-FFF2-40B4-BE49-F238E27FC236}">
                <a16:creationId xmlns:a16="http://schemas.microsoft.com/office/drawing/2014/main" id="{F9279B66-229A-DE36-7A52-2E85D8B91B1F}"/>
              </a:ext>
            </a:extLst>
          </p:cNvPr>
          <p:cNvSpPr>
            <a:spLocks noGrp="1"/>
          </p:cNvSpPr>
          <p:nvPr>
            <p:ph type="title" hasCustomPrompt="1"/>
          </p:nvPr>
        </p:nvSpPr>
        <p:spPr>
          <a:xfrm>
            <a:off x="415596" y="462506"/>
            <a:ext cx="11360808" cy="553997"/>
          </a:xfrm>
        </p:spPr>
        <p:txBody>
          <a:bodyPr anchor="t" anchorCtr="0">
            <a:spAutoFit/>
          </a:bodyPr>
          <a:lstStyle>
            <a:lvl1pPr>
              <a:defRPr>
                <a:solidFill>
                  <a:schemeClr val="bg1"/>
                </a:solidFill>
              </a:defRPr>
            </a:lvl1pPr>
          </a:lstStyle>
          <a:p>
            <a:r>
              <a:rPr lang="en-US"/>
              <a:t>Click to Insert Headline</a:t>
            </a:r>
          </a:p>
        </p:txBody>
      </p:sp>
      <p:sp>
        <p:nvSpPr>
          <p:cNvPr id="5" name="Picture Placeholder 36">
            <a:extLst>
              <a:ext uri="{FF2B5EF4-FFF2-40B4-BE49-F238E27FC236}">
                <a16:creationId xmlns:a16="http://schemas.microsoft.com/office/drawing/2014/main" id="{378C3B71-D6B8-78C7-F051-E81C60301632}"/>
              </a:ext>
            </a:extLst>
          </p:cNvPr>
          <p:cNvSpPr>
            <a:spLocks noGrp="1"/>
          </p:cNvSpPr>
          <p:nvPr>
            <p:ph type="pic" sz="quarter" idx="24" hasCustomPrompt="1"/>
          </p:nvPr>
        </p:nvSpPr>
        <p:spPr>
          <a:xfrm>
            <a:off x="2" y="1315438"/>
            <a:ext cx="3982847" cy="4739467"/>
          </a:xfrm>
          <a:prstGeom prst="rect">
            <a:avLst/>
          </a:prstGeom>
        </p:spPr>
        <p:txBody>
          <a:bodyPr wrap="square" anchor="ctr">
            <a:noAutofit/>
          </a:bodyPr>
          <a:lstStyle>
            <a:lvl1pPr algn="ctr">
              <a:defRPr>
                <a:solidFill>
                  <a:schemeClr val="bg1"/>
                </a:solidFill>
              </a:defRPr>
            </a:lvl1pPr>
          </a:lstStyle>
          <a:p>
            <a:r>
              <a:rPr lang="en-US"/>
              <a:t>Click to place image</a:t>
            </a:r>
          </a:p>
        </p:txBody>
      </p:sp>
      <p:sp>
        <p:nvSpPr>
          <p:cNvPr id="12" name="Picture Placeholder 36">
            <a:extLst>
              <a:ext uri="{FF2B5EF4-FFF2-40B4-BE49-F238E27FC236}">
                <a16:creationId xmlns:a16="http://schemas.microsoft.com/office/drawing/2014/main" id="{60B4D428-A622-944E-5AAE-AD0948547A17}"/>
              </a:ext>
            </a:extLst>
          </p:cNvPr>
          <p:cNvSpPr>
            <a:spLocks noGrp="1"/>
          </p:cNvSpPr>
          <p:nvPr>
            <p:ph type="pic" sz="quarter" idx="46" hasCustomPrompt="1"/>
          </p:nvPr>
        </p:nvSpPr>
        <p:spPr>
          <a:xfrm>
            <a:off x="4101791" y="1315438"/>
            <a:ext cx="3982847" cy="4739467"/>
          </a:xfrm>
          <a:prstGeom prst="rect">
            <a:avLst/>
          </a:prstGeom>
        </p:spPr>
        <p:txBody>
          <a:bodyPr wrap="square" anchor="ctr">
            <a:noAutofit/>
          </a:bodyPr>
          <a:lstStyle>
            <a:lvl1pPr algn="ctr">
              <a:defRPr>
                <a:solidFill>
                  <a:schemeClr val="bg1"/>
                </a:solidFill>
              </a:defRPr>
            </a:lvl1pPr>
          </a:lstStyle>
          <a:p>
            <a:r>
              <a:rPr lang="en-US"/>
              <a:t>Click to place image</a:t>
            </a:r>
          </a:p>
        </p:txBody>
      </p:sp>
      <p:sp>
        <p:nvSpPr>
          <p:cNvPr id="13" name="Picture Placeholder 36">
            <a:extLst>
              <a:ext uri="{FF2B5EF4-FFF2-40B4-BE49-F238E27FC236}">
                <a16:creationId xmlns:a16="http://schemas.microsoft.com/office/drawing/2014/main" id="{D372E7A5-D4B6-1565-5335-E3C9C92D116D}"/>
              </a:ext>
            </a:extLst>
          </p:cNvPr>
          <p:cNvSpPr>
            <a:spLocks noGrp="1"/>
          </p:cNvSpPr>
          <p:nvPr>
            <p:ph type="pic" sz="quarter" idx="47" hasCustomPrompt="1"/>
          </p:nvPr>
        </p:nvSpPr>
        <p:spPr>
          <a:xfrm>
            <a:off x="8209154" y="1313620"/>
            <a:ext cx="3982847" cy="4739467"/>
          </a:xfrm>
          <a:prstGeom prst="rect">
            <a:avLst/>
          </a:prstGeom>
        </p:spPr>
        <p:txBody>
          <a:bodyPr wrap="square" anchor="ctr">
            <a:noAutofit/>
          </a:bodyPr>
          <a:lstStyle>
            <a:lvl1pPr algn="ctr">
              <a:defRPr>
                <a:solidFill>
                  <a:schemeClr val="bg1"/>
                </a:solidFill>
              </a:defRPr>
            </a:lvl1pPr>
          </a:lstStyle>
          <a:p>
            <a:r>
              <a:rPr lang="en-US"/>
              <a:t>Click to place image</a:t>
            </a:r>
          </a:p>
        </p:txBody>
      </p:sp>
      <p:sp>
        <p:nvSpPr>
          <p:cNvPr id="14" name="Text Placeholder 44">
            <a:extLst>
              <a:ext uri="{FF2B5EF4-FFF2-40B4-BE49-F238E27FC236}">
                <a16:creationId xmlns:a16="http://schemas.microsoft.com/office/drawing/2014/main" id="{804CA1DA-964D-8983-B109-F21A80BAE6C6}"/>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chemeClr val="bg1"/>
                </a:solidFill>
              </a:defRPr>
            </a:lvl1pPr>
            <a:lvl2pPr marL="0" indent="0">
              <a:buNone/>
              <a:defRPr/>
            </a:lvl2pPr>
          </a:lstStyle>
          <a:p>
            <a:pPr lvl="0"/>
            <a:r>
              <a:rPr lang="en-US"/>
              <a:t>Add footnotes here if needed</a:t>
            </a:r>
          </a:p>
        </p:txBody>
      </p:sp>
    </p:spTree>
    <p:extLst>
      <p:ext uri="{BB962C8B-B14F-4D97-AF65-F5344CB8AC3E}">
        <p14:creationId xmlns:p14="http://schemas.microsoft.com/office/powerpoint/2010/main" val="80392330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hoto Collage B">
    <p:bg>
      <p:bgPr>
        <a:solidFill>
          <a:srgbClr val="000218"/>
        </a:solidFill>
        <a:effectLst/>
      </p:bgPr>
    </p:bg>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lvl1pPr>
              <a:defRPr>
                <a:solidFill>
                  <a:schemeClr val="bg1"/>
                </a:solidFill>
              </a:defRPr>
            </a:lvl1p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lvl1pPr>
              <a:defRPr>
                <a:solidFill>
                  <a:schemeClr val="bg1"/>
                </a:solidFill>
              </a:defRPr>
            </a:lvl1pPr>
          </a:lstStyle>
          <a:p>
            <a:fld id="{71676EBD-8486-AA4B-82C3-0598DF1E43FA}" type="slidenum">
              <a:rPr lang="en-US" smtClean="0"/>
              <a:pPr/>
              <a:t>‹Nr.›</a:t>
            </a:fld>
            <a:endParaRPr lang="en-US"/>
          </a:p>
        </p:txBody>
      </p:sp>
      <p:sp>
        <p:nvSpPr>
          <p:cNvPr id="2" name="Title 11">
            <a:extLst>
              <a:ext uri="{FF2B5EF4-FFF2-40B4-BE49-F238E27FC236}">
                <a16:creationId xmlns:a16="http://schemas.microsoft.com/office/drawing/2014/main" id="{F9279B66-229A-DE36-7A52-2E85D8B91B1F}"/>
              </a:ext>
            </a:extLst>
          </p:cNvPr>
          <p:cNvSpPr>
            <a:spLocks noGrp="1"/>
          </p:cNvSpPr>
          <p:nvPr>
            <p:ph type="title" hasCustomPrompt="1"/>
          </p:nvPr>
        </p:nvSpPr>
        <p:spPr>
          <a:xfrm>
            <a:off x="415596" y="462506"/>
            <a:ext cx="11360808" cy="553997"/>
          </a:xfrm>
        </p:spPr>
        <p:txBody>
          <a:bodyPr anchor="t" anchorCtr="0">
            <a:spAutoFit/>
          </a:bodyPr>
          <a:lstStyle>
            <a:lvl1pPr>
              <a:defRPr>
                <a:solidFill>
                  <a:schemeClr val="bg1"/>
                </a:solidFill>
              </a:defRPr>
            </a:lvl1pPr>
          </a:lstStyle>
          <a:p>
            <a:r>
              <a:rPr lang="en-US"/>
              <a:t>Click to Insert Headline</a:t>
            </a:r>
          </a:p>
        </p:txBody>
      </p:sp>
      <p:sp>
        <p:nvSpPr>
          <p:cNvPr id="3" name="Picture Placeholder 36">
            <a:extLst>
              <a:ext uri="{FF2B5EF4-FFF2-40B4-BE49-F238E27FC236}">
                <a16:creationId xmlns:a16="http://schemas.microsoft.com/office/drawing/2014/main" id="{1949DBF2-A5AB-B59A-9C9F-985DAA871F8C}"/>
              </a:ext>
            </a:extLst>
          </p:cNvPr>
          <p:cNvSpPr>
            <a:spLocks noGrp="1"/>
          </p:cNvSpPr>
          <p:nvPr>
            <p:ph type="pic" sz="quarter" idx="24" hasCustomPrompt="1"/>
          </p:nvPr>
        </p:nvSpPr>
        <p:spPr>
          <a:xfrm>
            <a:off x="2" y="1325949"/>
            <a:ext cx="3982847" cy="2301752"/>
          </a:xfrm>
          <a:prstGeom prst="rect">
            <a:avLst/>
          </a:prstGeom>
        </p:spPr>
        <p:txBody>
          <a:bodyPr wrap="square" anchor="ctr">
            <a:noAutofit/>
          </a:bodyPr>
          <a:lstStyle>
            <a:lvl1pPr algn="ctr">
              <a:defRPr>
                <a:solidFill>
                  <a:schemeClr val="bg1"/>
                </a:solidFill>
              </a:defRPr>
            </a:lvl1pPr>
          </a:lstStyle>
          <a:p>
            <a:r>
              <a:rPr lang="en-US"/>
              <a:t>Click to place image</a:t>
            </a:r>
          </a:p>
        </p:txBody>
      </p:sp>
      <p:sp>
        <p:nvSpPr>
          <p:cNvPr id="4" name="Picture Placeholder 36">
            <a:extLst>
              <a:ext uri="{FF2B5EF4-FFF2-40B4-BE49-F238E27FC236}">
                <a16:creationId xmlns:a16="http://schemas.microsoft.com/office/drawing/2014/main" id="{036FD176-1BDB-A9D9-9E55-72F2B9917B9A}"/>
              </a:ext>
            </a:extLst>
          </p:cNvPr>
          <p:cNvSpPr>
            <a:spLocks noGrp="1"/>
          </p:cNvSpPr>
          <p:nvPr>
            <p:ph type="pic" sz="quarter" idx="46" hasCustomPrompt="1"/>
          </p:nvPr>
        </p:nvSpPr>
        <p:spPr>
          <a:xfrm>
            <a:off x="4101791" y="1325949"/>
            <a:ext cx="3982847" cy="2301752"/>
          </a:xfrm>
          <a:prstGeom prst="rect">
            <a:avLst/>
          </a:prstGeom>
        </p:spPr>
        <p:txBody>
          <a:bodyPr wrap="square" anchor="ctr">
            <a:noAutofit/>
          </a:bodyPr>
          <a:lstStyle>
            <a:lvl1pPr algn="ctr">
              <a:defRPr>
                <a:solidFill>
                  <a:schemeClr val="bg1"/>
                </a:solidFill>
              </a:defRPr>
            </a:lvl1pPr>
          </a:lstStyle>
          <a:p>
            <a:r>
              <a:rPr lang="en-US"/>
              <a:t>Click to place image</a:t>
            </a:r>
          </a:p>
        </p:txBody>
      </p:sp>
      <p:sp>
        <p:nvSpPr>
          <p:cNvPr id="6" name="Picture Placeholder 36">
            <a:extLst>
              <a:ext uri="{FF2B5EF4-FFF2-40B4-BE49-F238E27FC236}">
                <a16:creationId xmlns:a16="http://schemas.microsoft.com/office/drawing/2014/main" id="{855E5FA8-CEFB-8922-47D1-58E5B27FBD7F}"/>
              </a:ext>
            </a:extLst>
          </p:cNvPr>
          <p:cNvSpPr>
            <a:spLocks noGrp="1"/>
          </p:cNvSpPr>
          <p:nvPr>
            <p:ph type="pic" sz="quarter" idx="47" hasCustomPrompt="1"/>
          </p:nvPr>
        </p:nvSpPr>
        <p:spPr>
          <a:xfrm>
            <a:off x="8209154" y="1324131"/>
            <a:ext cx="3982847" cy="2301752"/>
          </a:xfrm>
          <a:prstGeom prst="rect">
            <a:avLst/>
          </a:prstGeom>
        </p:spPr>
        <p:txBody>
          <a:bodyPr wrap="square" anchor="ctr">
            <a:noAutofit/>
          </a:bodyPr>
          <a:lstStyle>
            <a:lvl1pPr algn="ctr">
              <a:defRPr>
                <a:solidFill>
                  <a:schemeClr val="bg1"/>
                </a:solidFill>
              </a:defRPr>
            </a:lvl1pPr>
          </a:lstStyle>
          <a:p>
            <a:r>
              <a:rPr lang="en-US"/>
              <a:t>Click to place image</a:t>
            </a:r>
          </a:p>
        </p:txBody>
      </p:sp>
      <p:sp>
        <p:nvSpPr>
          <p:cNvPr id="8" name="Picture Placeholder 36">
            <a:extLst>
              <a:ext uri="{FF2B5EF4-FFF2-40B4-BE49-F238E27FC236}">
                <a16:creationId xmlns:a16="http://schemas.microsoft.com/office/drawing/2014/main" id="{64A73677-DE47-5919-0133-26FE22C58993}"/>
              </a:ext>
            </a:extLst>
          </p:cNvPr>
          <p:cNvSpPr>
            <a:spLocks noGrp="1"/>
          </p:cNvSpPr>
          <p:nvPr>
            <p:ph type="pic" sz="quarter" idx="48" hasCustomPrompt="1"/>
          </p:nvPr>
        </p:nvSpPr>
        <p:spPr>
          <a:xfrm>
            <a:off x="2787" y="3760527"/>
            <a:ext cx="3982847" cy="2301752"/>
          </a:xfrm>
          <a:prstGeom prst="rect">
            <a:avLst/>
          </a:prstGeom>
        </p:spPr>
        <p:txBody>
          <a:bodyPr wrap="square" anchor="ctr">
            <a:noAutofit/>
          </a:bodyPr>
          <a:lstStyle>
            <a:lvl1pPr algn="ctr">
              <a:defRPr>
                <a:solidFill>
                  <a:schemeClr val="bg1"/>
                </a:solidFill>
              </a:defRPr>
            </a:lvl1pPr>
          </a:lstStyle>
          <a:p>
            <a:r>
              <a:rPr lang="en-US"/>
              <a:t>Click to place image</a:t>
            </a:r>
          </a:p>
        </p:txBody>
      </p:sp>
      <p:sp>
        <p:nvSpPr>
          <p:cNvPr id="14" name="Picture Placeholder 36">
            <a:extLst>
              <a:ext uri="{FF2B5EF4-FFF2-40B4-BE49-F238E27FC236}">
                <a16:creationId xmlns:a16="http://schemas.microsoft.com/office/drawing/2014/main" id="{A6BF934E-FEF3-4CDB-8715-E502D4F95B33}"/>
              </a:ext>
            </a:extLst>
          </p:cNvPr>
          <p:cNvSpPr>
            <a:spLocks noGrp="1"/>
          </p:cNvSpPr>
          <p:nvPr>
            <p:ph type="pic" sz="quarter" idx="49" hasCustomPrompt="1"/>
          </p:nvPr>
        </p:nvSpPr>
        <p:spPr>
          <a:xfrm>
            <a:off x="4104578" y="3760527"/>
            <a:ext cx="3982847" cy="2301752"/>
          </a:xfrm>
          <a:prstGeom prst="rect">
            <a:avLst/>
          </a:prstGeom>
        </p:spPr>
        <p:txBody>
          <a:bodyPr wrap="square" anchor="ctr">
            <a:noAutofit/>
          </a:bodyPr>
          <a:lstStyle>
            <a:lvl1pPr algn="ctr">
              <a:defRPr>
                <a:solidFill>
                  <a:schemeClr val="bg1"/>
                </a:solidFill>
              </a:defRPr>
            </a:lvl1pPr>
          </a:lstStyle>
          <a:p>
            <a:r>
              <a:rPr lang="en-US"/>
              <a:t>Click to place image</a:t>
            </a:r>
          </a:p>
        </p:txBody>
      </p:sp>
      <p:sp>
        <p:nvSpPr>
          <p:cNvPr id="15" name="Picture Placeholder 36">
            <a:extLst>
              <a:ext uri="{FF2B5EF4-FFF2-40B4-BE49-F238E27FC236}">
                <a16:creationId xmlns:a16="http://schemas.microsoft.com/office/drawing/2014/main" id="{5F43458C-119A-95B6-9D6E-BF38D2629A06}"/>
              </a:ext>
            </a:extLst>
          </p:cNvPr>
          <p:cNvSpPr>
            <a:spLocks noGrp="1"/>
          </p:cNvSpPr>
          <p:nvPr>
            <p:ph type="pic" sz="quarter" idx="50" hasCustomPrompt="1"/>
          </p:nvPr>
        </p:nvSpPr>
        <p:spPr>
          <a:xfrm>
            <a:off x="8211941" y="3758709"/>
            <a:ext cx="3982847" cy="2301752"/>
          </a:xfrm>
          <a:prstGeom prst="rect">
            <a:avLst/>
          </a:prstGeom>
        </p:spPr>
        <p:txBody>
          <a:bodyPr wrap="square" anchor="ctr">
            <a:noAutofit/>
          </a:bodyPr>
          <a:lstStyle>
            <a:lvl1pPr algn="ctr">
              <a:defRPr>
                <a:solidFill>
                  <a:schemeClr val="bg1"/>
                </a:solidFill>
              </a:defRPr>
            </a:lvl1pPr>
          </a:lstStyle>
          <a:p>
            <a:r>
              <a:rPr lang="en-US"/>
              <a:t>Click to place image</a:t>
            </a:r>
          </a:p>
        </p:txBody>
      </p:sp>
      <p:sp>
        <p:nvSpPr>
          <p:cNvPr id="16" name="Text Placeholder 44">
            <a:extLst>
              <a:ext uri="{FF2B5EF4-FFF2-40B4-BE49-F238E27FC236}">
                <a16:creationId xmlns:a16="http://schemas.microsoft.com/office/drawing/2014/main" id="{1E2904F0-DD44-36B7-75E1-BD74D4278095}"/>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chemeClr val="bg1"/>
                </a:solidFill>
              </a:defRPr>
            </a:lvl1pPr>
            <a:lvl2pPr marL="0" indent="0">
              <a:buNone/>
              <a:defRPr/>
            </a:lvl2pPr>
          </a:lstStyle>
          <a:p>
            <a:pPr lvl="0"/>
            <a:r>
              <a:rPr lang="en-US"/>
              <a:t>Add footnotes here if needed</a:t>
            </a:r>
          </a:p>
        </p:txBody>
      </p:sp>
    </p:spTree>
    <p:extLst>
      <p:ext uri="{BB962C8B-B14F-4D97-AF65-F5344CB8AC3E}">
        <p14:creationId xmlns:p14="http://schemas.microsoft.com/office/powerpoint/2010/main" val="46220405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DO NOT USE - INSTRUCTIONAL 7">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3F3F73B-5A7E-8BBE-68A8-9BD49B10A6BC}"/>
              </a:ext>
            </a:extLst>
          </p:cNvPr>
          <p:cNvSpPr>
            <a:spLocks noGrp="1"/>
          </p:cNvSpPr>
          <p:nvPr>
            <p:ph type="ftr" sz="quarter" idx="11"/>
          </p:nvPr>
        </p:nvSpPr>
        <p:spPr>
          <a:xfrm>
            <a:off x="10447173" y="6356351"/>
            <a:ext cx="956004" cy="365125"/>
          </a:xfrm>
          <a:prstGeom prst="rect">
            <a:avLst/>
          </a:prstGeom>
        </p:spPr>
        <p:txBody>
          <a:bodyPr/>
          <a:lstStyle/>
          <a:p>
            <a:r>
              <a:rPr lang="en-US"/>
              <a:t>© Commvault 2024</a:t>
            </a:r>
          </a:p>
        </p:txBody>
      </p:sp>
      <p:sp>
        <p:nvSpPr>
          <p:cNvPr id="4" name="Slide Number Placeholder 3">
            <a:extLst>
              <a:ext uri="{FF2B5EF4-FFF2-40B4-BE49-F238E27FC236}">
                <a16:creationId xmlns:a16="http://schemas.microsoft.com/office/drawing/2014/main" id="{D481AB5E-0FD8-E0D0-B848-CE488AFA1733}"/>
              </a:ext>
            </a:extLst>
          </p:cNvPr>
          <p:cNvSpPr>
            <a:spLocks noGrp="1"/>
          </p:cNvSpPr>
          <p:nvPr>
            <p:ph type="sldNum" sz="quarter" idx="12"/>
          </p:nvPr>
        </p:nvSpPr>
        <p:spPr/>
        <p:txBody>
          <a:bodyPr/>
          <a:lstStyle/>
          <a:p>
            <a:fld id="{71676EBD-8486-AA4B-82C3-0598DF1E43FA}" type="slidenum">
              <a:rPr lang="en-US" smtClean="0"/>
              <a:t>‹Nr.›</a:t>
            </a:fld>
            <a:endParaRPr lang="en-US"/>
          </a:p>
        </p:txBody>
      </p:sp>
      <p:sp>
        <p:nvSpPr>
          <p:cNvPr id="5" name="Rectangle 4">
            <a:extLst>
              <a:ext uri="{FF2B5EF4-FFF2-40B4-BE49-F238E27FC236}">
                <a16:creationId xmlns:a16="http://schemas.microsoft.com/office/drawing/2014/main" id="{CB32733C-E917-A5A6-1594-5B360FC1919B}"/>
              </a:ext>
            </a:extLst>
          </p:cNvPr>
          <p:cNvSpPr/>
          <p:nvPr userDrawn="1"/>
        </p:nvSpPr>
        <p:spPr>
          <a:xfrm>
            <a:off x="0" y="0"/>
            <a:ext cx="12192000"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 name="TextBox 5">
            <a:extLst>
              <a:ext uri="{FF2B5EF4-FFF2-40B4-BE49-F238E27FC236}">
                <a16:creationId xmlns:a16="http://schemas.microsoft.com/office/drawing/2014/main" id="{6803F741-5B4D-49EC-3B06-5F25CE645285}"/>
              </a:ext>
            </a:extLst>
          </p:cNvPr>
          <p:cNvSpPr txBox="1"/>
          <p:nvPr userDrawn="1"/>
        </p:nvSpPr>
        <p:spPr>
          <a:xfrm>
            <a:off x="415597" y="476250"/>
            <a:ext cx="9315449" cy="1200329"/>
          </a:xfrm>
          <a:prstGeom prst="rect">
            <a:avLst/>
          </a:prstGeom>
          <a:noFill/>
        </p:spPr>
        <p:txBody>
          <a:bodyPr wrap="square" rtlCol="0">
            <a:spAutoFit/>
          </a:bodyPr>
          <a:lstStyle/>
          <a:p>
            <a:r>
              <a:rPr lang="en-US" sz="3200">
                <a:solidFill>
                  <a:schemeClr val="bg1"/>
                </a:solidFill>
              </a:rPr>
              <a:t>THIS IS AN INSTRUCTIONAL SLIDE </a:t>
            </a:r>
          </a:p>
          <a:p>
            <a:r>
              <a:rPr lang="en-US" sz="4000" b="1">
                <a:solidFill>
                  <a:schemeClr val="bg1"/>
                </a:solidFill>
              </a:rPr>
              <a:t>DO NOT USE</a:t>
            </a:r>
            <a:endParaRPr lang="en-US" sz="3200" b="1">
              <a:solidFill>
                <a:schemeClr val="bg1"/>
              </a:solidFill>
            </a:endParaRPr>
          </a:p>
        </p:txBody>
      </p:sp>
      <p:sp>
        <p:nvSpPr>
          <p:cNvPr id="7" name="TextBox 6">
            <a:extLst>
              <a:ext uri="{FF2B5EF4-FFF2-40B4-BE49-F238E27FC236}">
                <a16:creationId xmlns:a16="http://schemas.microsoft.com/office/drawing/2014/main" id="{6BFEBCAE-B9C3-7526-64F5-463C81DE63A2}"/>
              </a:ext>
            </a:extLst>
          </p:cNvPr>
          <p:cNvSpPr txBox="1"/>
          <p:nvPr userDrawn="1"/>
        </p:nvSpPr>
        <p:spPr>
          <a:xfrm>
            <a:off x="329871" y="2451409"/>
            <a:ext cx="10595304" cy="3631763"/>
          </a:xfrm>
          <a:prstGeom prst="rect">
            <a:avLst/>
          </a:prstGeom>
          <a:noFill/>
        </p:spPr>
        <p:txBody>
          <a:bodyPr wrap="square" rtlCol="0">
            <a:spAutoFit/>
          </a:bodyPr>
          <a:lstStyle/>
          <a:p>
            <a:r>
              <a:rPr lang="en-US" sz="11500">
                <a:solidFill>
                  <a:schemeClr val="bg1"/>
                </a:solidFill>
              </a:rPr>
              <a:t>Data Slide</a:t>
            </a:r>
          </a:p>
          <a:p>
            <a:r>
              <a:rPr lang="en-US" sz="11500">
                <a:solidFill>
                  <a:schemeClr val="bg1"/>
                </a:solidFill>
              </a:rPr>
              <a:t>Options</a:t>
            </a:r>
            <a:endParaRPr lang="en-US" sz="11500" b="1">
              <a:solidFill>
                <a:schemeClr val="bg1"/>
              </a:solidFill>
            </a:endParaRPr>
          </a:p>
        </p:txBody>
      </p:sp>
    </p:spTree>
    <p:extLst>
      <p:ext uri="{BB962C8B-B14F-4D97-AF65-F5344CB8AC3E}">
        <p14:creationId xmlns:p14="http://schemas.microsoft.com/office/powerpoint/2010/main" val="3707076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hart and Finding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7E0B07C-5363-0DFD-6C46-5FF23028831B}"/>
              </a:ext>
            </a:extLst>
          </p:cNvPr>
          <p:cNvSpPr>
            <a:spLocks/>
          </p:cNvSpPr>
          <p:nvPr userDrawn="1"/>
        </p:nvSpPr>
        <p:spPr>
          <a:xfrm>
            <a:off x="0" y="0"/>
            <a:ext cx="5053013" cy="685800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lvl1pPr>
              <a:defRPr>
                <a:solidFill>
                  <a:schemeClr val="bg2"/>
                </a:solidFill>
              </a:defRPr>
            </a:lvl1p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lvl1pPr>
              <a:defRPr>
                <a:solidFill>
                  <a:schemeClr val="bg2"/>
                </a:solidFill>
              </a:defRPr>
            </a:lvl1pPr>
          </a:lstStyle>
          <a:p>
            <a:fld id="{71676EBD-8486-AA4B-82C3-0598DF1E43FA}" type="slidenum">
              <a:rPr lang="en-US" smtClean="0"/>
              <a:pPr/>
              <a:t>‹Nr.›</a:t>
            </a:fld>
            <a:endParaRPr lang="en-US"/>
          </a:p>
        </p:txBody>
      </p:sp>
      <p:pic>
        <p:nvPicPr>
          <p:cNvPr id="7" name="Graphic 6">
            <a:extLst>
              <a:ext uri="{FF2B5EF4-FFF2-40B4-BE49-F238E27FC236}">
                <a16:creationId xmlns:a16="http://schemas.microsoft.com/office/drawing/2014/main" id="{60EB6DDA-2D64-9211-BF24-538403F84D8F}"/>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15596" y="6364123"/>
            <a:ext cx="1484309" cy="283368"/>
          </a:xfrm>
          <a:prstGeom prst="rect">
            <a:avLst/>
          </a:prstGeom>
        </p:spPr>
      </p:pic>
      <p:sp>
        <p:nvSpPr>
          <p:cNvPr id="8" name="Text Placeholder 6">
            <a:extLst>
              <a:ext uri="{FF2B5EF4-FFF2-40B4-BE49-F238E27FC236}">
                <a16:creationId xmlns:a16="http://schemas.microsoft.com/office/drawing/2014/main" id="{D1762787-C155-388C-7969-8790E0BC0059}"/>
              </a:ext>
            </a:extLst>
          </p:cNvPr>
          <p:cNvSpPr>
            <a:spLocks noGrp="1"/>
          </p:cNvSpPr>
          <p:nvPr>
            <p:ph type="body" sz="quarter" idx="13" hasCustomPrompt="1"/>
          </p:nvPr>
        </p:nvSpPr>
        <p:spPr>
          <a:xfrm>
            <a:off x="415926" y="1858776"/>
            <a:ext cx="4215711" cy="193899"/>
          </a:xfrm>
        </p:spPr>
        <p:txBody>
          <a:bodyPr anchor="t" anchorCtr="0">
            <a:noAutofit/>
          </a:bodyPr>
          <a:lstStyle>
            <a:lvl1pPr marL="0" indent="0">
              <a:buNone/>
              <a:defRPr sz="1400" b="1" cap="all" baseline="0">
                <a:solidFill>
                  <a:schemeClr val="tx1"/>
                </a:solidFill>
              </a:defRPr>
            </a:lvl1pPr>
            <a:lvl4pPr marL="1371566" indent="0">
              <a:buNone/>
              <a:defRPr/>
            </a:lvl4pPr>
          </a:lstStyle>
          <a:p>
            <a:pPr lvl="0"/>
            <a:r>
              <a:rPr lang="en-US"/>
              <a:t>Click to add headline strap</a:t>
            </a:r>
          </a:p>
        </p:txBody>
      </p:sp>
      <p:sp>
        <p:nvSpPr>
          <p:cNvPr id="14" name="Text Placeholder 28">
            <a:extLst>
              <a:ext uri="{FF2B5EF4-FFF2-40B4-BE49-F238E27FC236}">
                <a16:creationId xmlns:a16="http://schemas.microsoft.com/office/drawing/2014/main" id="{730C2839-58F6-162B-9EEA-740DDBDBBB57}"/>
              </a:ext>
            </a:extLst>
          </p:cNvPr>
          <p:cNvSpPr>
            <a:spLocks noGrp="1"/>
          </p:cNvSpPr>
          <p:nvPr>
            <p:ph type="body" sz="quarter" idx="19" hasCustomPrompt="1"/>
          </p:nvPr>
        </p:nvSpPr>
        <p:spPr>
          <a:xfrm>
            <a:off x="415597" y="4191659"/>
            <a:ext cx="4215711" cy="1913845"/>
          </a:xfrm>
        </p:spPr>
        <p:txBody>
          <a:bodyPr>
            <a:noAutofit/>
          </a:bodyPr>
          <a:lstStyle>
            <a:lvl1pPr>
              <a:defRPr>
                <a:solidFill>
                  <a:schemeClr val="tx1"/>
                </a:solidFill>
              </a:defRPr>
            </a:lvl1pPr>
          </a:lstStyle>
          <a:p>
            <a:pPr lvl="0"/>
            <a:r>
              <a:rPr lang="en-US"/>
              <a:t>Click to edit text</a:t>
            </a:r>
          </a:p>
        </p:txBody>
      </p:sp>
      <p:sp>
        <p:nvSpPr>
          <p:cNvPr id="20" name="Chart Placeholder 10">
            <a:extLst>
              <a:ext uri="{FF2B5EF4-FFF2-40B4-BE49-F238E27FC236}">
                <a16:creationId xmlns:a16="http://schemas.microsoft.com/office/drawing/2014/main" id="{DE576FFD-C620-D34C-D39C-662C292E8BCF}"/>
              </a:ext>
            </a:extLst>
          </p:cNvPr>
          <p:cNvSpPr>
            <a:spLocks noGrp="1"/>
          </p:cNvSpPr>
          <p:nvPr>
            <p:ph type="chart" sz="quarter" idx="20"/>
          </p:nvPr>
        </p:nvSpPr>
        <p:spPr>
          <a:xfrm>
            <a:off x="5468609" y="858981"/>
            <a:ext cx="6307467" cy="5237019"/>
          </a:xfrm>
        </p:spPr>
        <p:txBody>
          <a:bodyPr>
            <a:noAutofit/>
          </a:bodyPr>
          <a:lstStyle>
            <a:lvl1pPr>
              <a:defRPr>
                <a:solidFill>
                  <a:srgbClr val="3D3F48"/>
                </a:solidFill>
              </a:defRPr>
            </a:lvl1pPr>
          </a:lstStyle>
          <a:p>
            <a:r>
              <a:rPr lang="en-US"/>
              <a:t>Click icon to add chart</a:t>
            </a:r>
          </a:p>
        </p:txBody>
      </p:sp>
      <p:sp>
        <p:nvSpPr>
          <p:cNvPr id="21" name="Text Placeholder 44">
            <a:extLst>
              <a:ext uri="{FF2B5EF4-FFF2-40B4-BE49-F238E27FC236}">
                <a16:creationId xmlns:a16="http://schemas.microsoft.com/office/drawing/2014/main" id="{EE9737BF-7FAA-12F5-48D7-BAAAFC41A815}"/>
              </a:ext>
            </a:extLst>
          </p:cNvPr>
          <p:cNvSpPr>
            <a:spLocks noGrp="1"/>
          </p:cNvSpPr>
          <p:nvPr>
            <p:ph type="body" sz="quarter" idx="23" hasCustomPrompt="1"/>
          </p:nvPr>
        </p:nvSpPr>
        <p:spPr>
          <a:xfrm>
            <a:off x="5468608" y="6364123"/>
            <a:ext cx="4597565" cy="283368"/>
          </a:xfrm>
        </p:spPr>
        <p:txBody>
          <a:bodyPr anchor="ctr">
            <a:noAutofit/>
          </a:bodyPr>
          <a:lstStyle>
            <a:lvl1pPr>
              <a:spcAft>
                <a:spcPts val="0"/>
              </a:spcAft>
              <a:defRPr sz="800" b="0">
                <a:solidFill>
                  <a:schemeClr val="bg2"/>
                </a:solidFill>
              </a:defRPr>
            </a:lvl1pPr>
            <a:lvl2pPr marL="0" indent="0">
              <a:buNone/>
              <a:defRPr/>
            </a:lvl2pPr>
          </a:lstStyle>
          <a:p>
            <a:pPr lvl="0"/>
            <a:r>
              <a:rPr lang="en-US"/>
              <a:t>Add footnotes here if needed</a:t>
            </a:r>
          </a:p>
        </p:txBody>
      </p:sp>
      <p:sp>
        <p:nvSpPr>
          <p:cNvPr id="23" name="Title 1">
            <a:extLst>
              <a:ext uri="{FF2B5EF4-FFF2-40B4-BE49-F238E27FC236}">
                <a16:creationId xmlns:a16="http://schemas.microsoft.com/office/drawing/2014/main" id="{FAD77DA6-942A-804D-7E9E-B32E3C248881}"/>
              </a:ext>
            </a:extLst>
          </p:cNvPr>
          <p:cNvSpPr>
            <a:spLocks noGrp="1"/>
          </p:cNvSpPr>
          <p:nvPr>
            <p:ph type="title" hasCustomPrompt="1"/>
          </p:nvPr>
        </p:nvSpPr>
        <p:spPr>
          <a:xfrm>
            <a:off x="415597" y="2251548"/>
            <a:ext cx="4215711" cy="1495795"/>
          </a:xfrm>
        </p:spPr>
        <p:txBody>
          <a:bodyPr vert="horz" wrap="square" anchor="t" anchorCtr="0">
            <a:noAutofit/>
          </a:bodyPr>
          <a:lstStyle>
            <a:lvl1pPr>
              <a:defRPr sz="3600" b="0">
                <a:solidFill>
                  <a:schemeClr val="tx1"/>
                </a:solidFill>
              </a:defRPr>
            </a:lvl1pPr>
          </a:lstStyle>
          <a:p>
            <a:r>
              <a:rPr lang="en-US"/>
              <a:t>Click to Edit Title</a:t>
            </a:r>
          </a:p>
        </p:txBody>
      </p:sp>
    </p:spTree>
    <p:extLst>
      <p:ext uri="{BB962C8B-B14F-4D97-AF65-F5344CB8AC3E}">
        <p14:creationId xmlns:p14="http://schemas.microsoft.com/office/powerpoint/2010/main" val="13846265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ey Figures A">
    <p:bg>
      <p:bgPr>
        <a:solidFill>
          <a:srgbClr val="000218"/>
        </a:solidFill>
        <a:effectLst/>
      </p:bgPr>
    </p:bg>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lvl1pPr>
              <a:defRPr>
                <a:solidFill>
                  <a:schemeClr val="bg1"/>
                </a:solidFill>
              </a:defRPr>
            </a:lvl1p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lvl1pPr>
              <a:defRPr>
                <a:solidFill>
                  <a:schemeClr val="bg1"/>
                </a:solidFill>
              </a:defRPr>
            </a:lvl1pPr>
          </a:lstStyle>
          <a:p>
            <a:fld id="{71676EBD-8486-AA4B-82C3-0598DF1E43FA}" type="slidenum">
              <a:rPr lang="en-US" smtClean="0"/>
              <a:pPr/>
              <a:t>‹Nr.›</a:t>
            </a:fld>
            <a:endParaRPr lang="en-US"/>
          </a:p>
        </p:txBody>
      </p:sp>
      <p:sp>
        <p:nvSpPr>
          <p:cNvPr id="2" name="Title 11">
            <a:extLst>
              <a:ext uri="{FF2B5EF4-FFF2-40B4-BE49-F238E27FC236}">
                <a16:creationId xmlns:a16="http://schemas.microsoft.com/office/drawing/2014/main" id="{F9279B66-229A-DE36-7A52-2E85D8B91B1F}"/>
              </a:ext>
            </a:extLst>
          </p:cNvPr>
          <p:cNvSpPr>
            <a:spLocks noGrp="1"/>
          </p:cNvSpPr>
          <p:nvPr>
            <p:ph type="title" hasCustomPrompt="1"/>
          </p:nvPr>
        </p:nvSpPr>
        <p:spPr>
          <a:xfrm>
            <a:off x="415596" y="462506"/>
            <a:ext cx="11360808" cy="553997"/>
          </a:xfrm>
        </p:spPr>
        <p:txBody>
          <a:bodyPr anchor="t" anchorCtr="0">
            <a:spAutoFit/>
          </a:bodyPr>
          <a:lstStyle>
            <a:lvl1pPr>
              <a:defRPr>
                <a:solidFill>
                  <a:schemeClr val="bg1"/>
                </a:solidFill>
              </a:defRPr>
            </a:lvl1pPr>
          </a:lstStyle>
          <a:p>
            <a:r>
              <a:rPr lang="en-US"/>
              <a:t>A Headline About the Key Figures</a:t>
            </a:r>
          </a:p>
        </p:txBody>
      </p:sp>
      <p:sp>
        <p:nvSpPr>
          <p:cNvPr id="14" name="Text Placeholder 44">
            <a:extLst>
              <a:ext uri="{FF2B5EF4-FFF2-40B4-BE49-F238E27FC236}">
                <a16:creationId xmlns:a16="http://schemas.microsoft.com/office/drawing/2014/main" id="{804CA1DA-964D-8983-B109-F21A80BAE6C6}"/>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chemeClr val="bg1"/>
                </a:solidFill>
              </a:defRPr>
            </a:lvl1pPr>
            <a:lvl2pPr marL="0" indent="0">
              <a:buNone/>
              <a:defRPr/>
            </a:lvl2pPr>
          </a:lstStyle>
          <a:p>
            <a:pPr lvl="0"/>
            <a:r>
              <a:rPr lang="en-US"/>
              <a:t>Add footnotes here if needed</a:t>
            </a:r>
          </a:p>
        </p:txBody>
      </p:sp>
      <p:sp>
        <p:nvSpPr>
          <p:cNvPr id="3" name="Text Placeholder 3">
            <a:extLst>
              <a:ext uri="{FF2B5EF4-FFF2-40B4-BE49-F238E27FC236}">
                <a16:creationId xmlns:a16="http://schemas.microsoft.com/office/drawing/2014/main" id="{20AC3E0C-454C-51DD-012E-4F5424B22CCF}"/>
              </a:ext>
            </a:extLst>
          </p:cNvPr>
          <p:cNvSpPr>
            <a:spLocks noGrp="1"/>
          </p:cNvSpPr>
          <p:nvPr>
            <p:ph type="body" sz="quarter" idx="13" hasCustomPrompt="1"/>
          </p:nvPr>
        </p:nvSpPr>
        <p:spPr>
          <a:xfrm>
            <a:off x="1834567" y="2080329"/>
            <a:ext cx="2651127" cy="582913"/>
          </a:xfrm>
        </p:spPr>
        <p:txBody>
          <a:bodyPr anchor="ctr" anchorCtr="0">
            <a:noAutofit/>
          </a:bodyPr>
          <a:lstStyle>
            <a:lvl1pPr>
              <a:defRPr sz="54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TAT</a:t>
            </a:r>
          </a:p>
        </p:txBody>
      </p:sp>
      <p:sp>
        <p:nvSpPr>
          <p:cNvPr id="4" name="Text Placeholder 18">
            <a:extLst>
              <a:ext uri="{FF2B5EF4-FFF2-40B4-BE49-F238E27FC236}">
                <a16:creationId xmlns:a16="http://schemas.microsoft.com/office/drawing/2014/main" id="{A1856FAB-3FB8-2A7E-4739-D6136830C068}"/>
              </a:ext>
            </a:extLst>
          </p:cNvPr>
          <p:cNvSpPr>
            <a:spLocks noGrp="1"/>
          </p:cNvSpPr>
          <p:nvPr>
            <p:ph type="body" sz="quarter" idx="24" hasCustomPrompt="1"/>
          </p:nvPr>
        </p:nvSpPr>
        <p:spPr>
          <a:xfrm>
            <a:off x="1834569" y="2853741"/>
            <a:ext cx="2651127" cy="2322512"/>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920F7E93-5F96-C52B-710F-E2DD97C10BEA}"/>
              </a:ext>
            </a:extLst>
          </p:cNvPr>
          <p:cNvSpPr>
            <a:spLocks noGrp="1"/>
          </p:cNvSpPr>
          <p:nvPr>
            <p:ph type="body" sz="quarter" idx="25" hasCustomPrompt="1"/>
          </p:nvPr>
        </p:nvSpPr>
        <p:spPr>
          <a:xfrm>
            <a:off x="4676192" y="2080329"/>
            <a:ext cx="2651125" cy="582913"/>
          </a:xfrm>
        </p:spPr>
        <p:txBody>
          <a:bodyPr anchor="ctr" anchorCtr="0">
            <a:noAutofit/>
          </a:bodyPr>
          <a:lstStyle>
            <a:lvl1pPr>
              <a:defRPr sz="54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TAT</a:t>
            </a:r>
          </a:p>
        </p:txBody>
      </p:sp>
      <p:sp>
        <p:nvSpPr>
          <p:cNvPr id="8" name="Text Placeholder 18">
            <a:extLst>
              <a:ext uri="{FF2B5EF4-FFF2-40B4-BE49-F238E27FC236}">
                <a16:creationId xmlns:a16="http://schemas.microsoft.com/office/drawing/2014/main" id="{8DE806CB-3BD9-0196-B79F-AA20DD1681B9}"/>
              </a:ext>
            </a:extLst>
          </p:cNvPr>
          <p:cNvSpPr>
            <a:spLocks noGrp="1"/>
          </p:cNvSpPr>
          <p:nvPr>
            <p:ph type="body" sz="quarter" idx="16" hasCustomPrompt="1"/>
          </p:nvPr>
        </p:nvSpPr>
        <p:spPr>
          <a:xfrm>
            <a:off x="4676193" y="2853741"/>
            <a:ext cx="2650121" cy="2322512"/>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9E406118-A2CC-21C6-0580-F2CF5D5A9406}"/>
              </a:ext>
            </a:extLst>
          </p:cNvPr>
          <p:cNvSpPr>
            <a:spLocks noGrp="1"/>
          </p:cNvSpPr>
          <p:nvPr>
            <p:ph type="body" sz="quarter" idx="17" hasCustomPrompt="1"/>
          </p:nvPr>
        </p:nvSpPr>
        <p:spPr>
          <a:xfrm>
            <a:off x="7516812" y="2080329"/>
            <a:ext cx="2651125" cy="582913"/>
          </a:xfrm>
        </p:spPr>
        <p:txBody>
          <a:bodyPr anchor="ctr" anchorCtr="0">
            <a:noAutofit/>
          </a:bodyPr>
          <a:lstStyle>
            <a:lvl1pPr marL="0" marR="0" indent="0" algn="l" defTabSz="914377" rtl="0" eaLnBrk="1" fontAlgn="auto" latinLnBrk="0" hangingPunct="1">
              <a:lnSpc>
                <a:spcPct val="100000"/>
              </a:lnSpc>
              <a:spcBef>
                <a:spcPts val="0"/>
              </a:spcBef>
              <a:spcAft>
                <a:spcPts val="600"/>
              </a:spcAft>
              <a:buClr>
                <a:schemeClr val="accent2"/>
              </a:buClr>
              <a:buSzTx/>
              <a:buFont typeface="Arial" panose="020B0604020202020204" pitchFamily="34" charset="0"/>
              <a:buNone/>
              <a:tabLst/>
              <a:defRPr sz="54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marL="0" marR="0" lvl="0" indent="0" algn="l" defTabSz="914377" rtl="0" eaLnBrk="1" fontAlgn="auto" latinLnBrk="0" hangingPunct="1">
              <a:lnSpc>
                <a:spcPct val="100000"/>
              </a:lnSpc>
              <a:spcBef>
                <a:spcPts val="0"/>
              </a:spcBef>
              <a:spcAft>
                <a:spcPts val="600"/>
              </a:spcAft>
              <a:buClr>
                <a:schemeClr val="accent2"/>
              </a:buClr>
              <a:buSzTx/>
              <a:buFont typeface="Arial" panose="020B0604020202020204" pitchFamily="34" charset="0"/>
              <a:buNone/>
              <a:tabLst/>
              <a:defRPr/>
            </a:pPr>
            <a:r>
              <a:rPr lang="en-US"/>
              <a:t>STAT</a:t>
            </a:r>
          </a:p>
        </p:txBody>
      </p:sp>
      <p:sp>
        <p:nvSpPr>
          <p:cNvPr id="16" name="Text Placeholder 18">
            <a:extLst>
              <a:ext uri="{FF2B5EF4-FFF2-40B4-BE49-F238E27FC236}">
                <a16:creationId xmlns:a16="http://schemas.microsoft.com/office/drawing/2014/main" id="{FFEF7901-D6DE-600F-4C27-38C5FA634B7E}"/>
              </a:ext>
            </a:extLst>
          </p:cNvPr>
          <p:cNvSpPr>
            <a:spLocks noGrp="1"/>
          </p:cNvSpPr>
          <p:nvPr>
            <p:ph type="body" sz="quarter" idx="18" hasCustomPrompt="1"/>
          </p:nvPr>
        </p:nvSpPr>
        <p:spPr>
          <a:xfrm>
            <a:off x="7516813" y="2853741"/>
            <a:ext cx="2650121" cy="2322512"/>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55F533D7-A2D1-4BF0-759F-03B6104E9AA7}"/>
              </a:ext>
            </a:extLst>
          </p:cNvPr>
          <p:cNvCxnSpPr>
            <a:cxnSpLocks/>
          </p:cNvCxnSpPr>
          <p:nvPr userDrawn="1"/>
        </p:nvCxnSpPr>
        <p:spPr>
          <a:xfrm>
            <a:off x="4580943" y="2080328"/>
            <a:ext cx="0" cy="309592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B7C2052-514C-E7A9-74D2-D4555B3E28F2}"/>
              </a:ext>
            </a:extLst>
          </p:cNvPr>
          <p:cNvCxnSpPr>
            <a:cxnSpLocks/>
          </p:cNvCxnSpPr>
          <p:nvPr userDrawn="1"/>
        </p:nvCxnSpPr>
        <p:spPr>
          <a:xfrm>
            <a:off x="7422064" y="2080328"/>
            <a:ext cx="0" cy="309592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40474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Key Figures B">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lvl1pPr>
              <a:defRPr>
                <a:solidFill>
                  <a:schemeClr val="bg2"/>
                </a:solidFill>
              </a:defRPr>
            </a:lvl1p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lvl1pPr>
              <a:defRPr>
                <a:solidFill>
                  <a:schemeClr val="bg2"/>
                </a:solidFill>
              </a:defRPr>
            </a:lvl1pPr>
          </a:lstStyle>
          <a:p>
            <a:fld id="{71676EBD-8486-AA4B-82C3-0598DF1E43FA}" type="slidenum">
              <a:rPr lang="en-US" smtClean="0"/>
              <a:pPr/>
              <a:t>‹Nr.›</a:t>
            </a:fld>
            <a:endParaRPr lang="en-US"/>
          </a:p>
        </p:txBody>
      </p:sp>
      <p:sp>
        <p:nvSpPr>
          <p:cNvPr id="2" name="Title 11">
            <a:extLst>
              <a:ext uri="{FF2B5EF4-FFF2-40B4-BE49-F238E27FC236}">
                <a16:creationId xmlns:a16="http://schemas.microsoft.com/office/drawing/2014/main" id="{F9279B66-229A-DE36-7A52-2E85D8B91B1F}"/>
              </a:ext>
            </a:extLst>
          </p:cNvPr>
          <p:cNvSpPr>
            <a:spLocks noGrp="1"/>
          </p:cNvSpPr>
          <p:nvPr>
            <p:ph type="title" hasCustomPrompt="1"/>
          </p:nvPr>
        </p:nvSpPr>
        <p:spPr>
          <a:xfrm>
            <a:off x="415596" y="462506"/>
            <a:ext cx="11360808" cy="553997"/>
          </a:xfrm>
        </p:spPr>
        <p:txBody>
          <a:bodyPr anchor="t" anchorCtr="0">
            <a:spAutoFit/>
          </a:bodyPr>
          <a:lstStyle>
            <a:lvl1pPr>
              <a:defRPr>
                <a:solidFill>
                  <a:schemeClr val="tx1"/>
                </a:solidFill>
              </a:defRPr>
            </a:lvl1pPr>
          </a:lstStyle>
          <a:p>
            <a:r>
              <a:rPr lang="en-US"/>
              <a:t>A Headline About the Key Figures</a:t>
            </a:r>
          </a:p>
        </p:txBody>
      </p:sp>
      <p:sp>
        <p:nvSpPr>
          <p:cNvPr id="14" name="Text Placeholder 44">
            <a:extLst>
              <a:ext uri="{FF2B5EF4-FFF2-40B4-BE49-F238E27FC236}">
                <a16:creationId xmlns:a16="http://schemas.microsoft.com/office/drawing/2014/main" id="{804CA1DA-964D-8983-B109-F21A80BAE6C6}"/>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chemeClr val="bg2"/>
                </a:solidFill>
              </a:defRPr>
            </a:lvl1pPr>
            <a:lvl2pPr marL="0" indent="0">
              <a:buNone/>
              <a:defRPr/>
            </a:lvl2pPr>
          </a:lstStyle>
          <a:p>
            <a:pPr lvl="0"/>
            <a:r>
              <a:rPr lang="en-US"/>
              <a:t>Add footnotes here if needed</a:t>
            </a:r>
          </a:p>
        </p:txBody>
      </p:sp>
      <p:sp>
        <p:nvSpPr>
          <p:cNvPr id="3" name="Text Placeholder 3">
            <a:extLst>
              <a:ext uri="{FF2B5EF4-FFF2-40B4-BE49-F238E27FC236}">
                <a16:creationId xmlns:a16="http://schemas.microsoft.com/office/drawing/2014/main" id="{20AC3E0C-454C-51DD-012E-4F5424B22CCF}"/>
              </a:ext>
            </a:extLst>
          </p:cNvPr>
          <p:cNvSpPr>
            <a:spLocks noGrp="1"/>
          </p:cNvSpPr>
          <p:nvPr>
            <p:ph type="body" sz="quarter" idx="13" hasCustomPrompt="1"/>
          </p:nvPr>
        </p:nvSpPr>
        <p:spPr>
          <a:xfrm>
            <a:off x="1834567" y="2080329"/>
            <a:ext cx="2651127" cy="582913"/>
          </a:xfrm>
        </p:spPr>
        <p:txBody>
          <a:bodyPr anchor="ctr" anchorCtr="0">
            <a:noAutofit/>
          </a:bodyPr>
          <a:lstStyle>
            <a:lvl1pPr>
              <a:defRPr sz="5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TAT</a:t>
            </a:r>
          </a:p>
        </p:txBody>
      </p:sp>
      <p:sp>
        <p:nvSpPr>
          <p:cNvPr id="4" name="Text Placeholder 18">
            <a:extLst>
              <a:ext uri="{FF2B5EF4-FFF2-40B4-BE49-F238E27FC236}">
                <a16:creationId xmlns:a16="http://schemas.microsoft.com/office/drawing/2014/main" id="{A1856FAB-3FB8-2A7E-4739-D6136830C068}"/>
              </a:ext>
            </a:extLst>
          </p:cNvPr>
          <p:cNvSpPr>
            <a:spLocks noGrp="1"/>
          </p:cNvSpPr>
          <p:nvPr>
            <p:ph type="body" sz="quarter" idx="24" hasCustomPrompt="1"/>
          </p:nvPr>
        </p:nvSpPr>
        <p:spPr>
          <a:xfrm>
            <a:off x="1834569" y="2853741"/>
            <a:ext cx="2651127" cy="2322512"/>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920F7E93-5F96-C52B-710F-E2DD97C10BEA}"/>
              </a:ext>
            </a:extLst>
          </p:cNvPr>
          <p:cNvSpPr>
            <a:spLocks noGrp="1"/>
          </p:cNvSpPr>
          <p:nvPr>
            <p:ph type="body" sz="quarter" idx="25" hasCustomPrompt="1"/>
          </p:nvPr>
        </p:nvSpPr>
        <p:spPr>
          <a:xfrm>
            <a:off x="4676192" y="2080329"/>
            <a:ext cx="2651125" cy="582913"/>
          </a:xfrm>
        </p:spPr>
        <p:txBody>
          <a:bodyPr anchor="ctr" anchorCtr="0">
            <a:noAutofit/>
          </a:bodyPr>
          <a:lstStyle>
            <a:lvl1pPr>
              <a:defRPr sz="5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TAT</a:t>
            </a:r>
          </a:p>
        </p:txBody>
      </p:sp>
      <p:sp>
        <p:nvSpPr>
          <p:cNvPr id="8" name="Text Placeholder 18">
            <a:extLst>
              <a:ext uri="{FF2B5EF4-FFF2-40B4-BE49-F238E27FC236}">
                <a16:creationId xmlns:a16="http://schemas.microsoft.com/office/drawing/2014/main" id="{8DE806CB-3BD9-0196-B79F-AA20DD1681B9}"/>
              </a:ext>
            </a:extLst>
          </p:cNvPr>
          <p:cNvSpPr>
            <a:spLocks noGrp="1"/>
          </p:cNvSpPr>
          <p:nvPr>
            <p:ph type="body" sz="quarter" idx="16" hasCustomPrompt="1"/>
          </p:nvPr>
        </p:nvSpPr>
        <p:spPr>
          <a:xfrm>
            <a:off x="4676193" y="2853741"/>
            <a:ext cx="2650121" cy="2322512"/>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9E406118-A2CC-21C6-0580-F2CF5D5A9406}"/>
              </a:ext>
            </a:extLst>
          </p:cNvPr>
          <p:cNvSpPr>
            <a:spLocks noGrp="1"/>
          </p:cNvSpPr>
          <p:nvPr>
            <p:ph type="body" sz="quarter" idx="17" hasCustomPrompt="1"/>
          </p:nvPr>
        </p:nvSpPr>
        <p:spPr>
          <a:xfrm>
            <a:off x="7516812" y="2080329"/>
            <a:ext cx="2651125" cy="582913"/>
          </a:xfrm>
        </p:spPr>
        <p:txBody>
          <a:bodyPr anchor="ctr" anchorCtr="0">
            <a:noAutofit/>
          </a:bodyPr>
          <a:lstStyle>
            <a:lvl1pPr marL="0" marR="0" indent="0" algn="l" defTabSz="914377" rtl="0" eaLnBrk="1" fontAlgn="auto" latinLnBrk="0" hangingPunct="1">
              <a:lnSpc>
                <a:spcPct val="100000"/>
              </a:lnSpc>
              <a:spcBef>
                <a:spcPts val="0"/>
              </a:spcBef>
              <a:spcAft>
                <a:spcPts val="600"/>
              </a:spcAft>
              <a:buClr>
                <a:schemeClr val="accent2"/>
              </a:buClr>
              <a:buSzTx/>
              <a:buFont typeface="Arial" panose="020B0604020202020204" pitchFamily="34" charset="0"/>
              <a:buNone/>
              <a:tabLst/>
              <a:defRPr sz="5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marL="0" marR="0" lvl="0" indent="0" algn="l" defTabSz="914377" rtl="0" eaLnBrk="1" fontAlgn="auto" latinLnBrk="0" hangingPunct="1">
              <a:lnSpc>
                <a:spcPct val="100000"/>
              </a:lnSpc>
              <a:spcBef>
                <a:spcPts val="0"/>
              </a:spcBef>
              <a:spcAft>
                <a:spcPts val="600"/>
              </a:spcAft>
              <a:buClr>
                <a:schemeClr val="accent2"/>
              </a:buClr>
              <a:buSzTx/>
              <a:buFont typeface="Arial" panose="020B0604020202020204" pitchFamily="34" charset="0"/>
              <a:buNone/>
              <a:tabLst/>
              <a:defRPr/>
            </a:pPr>
            <a:r>
              <a:rPr lang="en-US"/>
              <a:t>STAT</a:t>
            </a:r>
          </a:p>
        </p:txBody>
      </p:sp>
      <p:sp>
        <p:nvSpPr>
          <p:cNvPr id="16" name="Text Placeholder 18">
            <a:extLst>
              <a:ext uri="{FF2B5EF4-FFF2-40B4-BE49-F238E27FC236}">
                <a16:creationId xmlns:a16="http://schemas.microsoft.com/office/drawing/2014/main" id="{FFEF7901-D6DE-600F-4C27-38C5FA634B7E}"/>
              </a:ext>
            </a:extLst>
          </p:cNvPr>
          <p:cNvSpPr>
            <a:spLocks noGrp="1"/>
          </p:cNvSpPr>
          <p:nvPr>
            <p:ph type="body" sz="quarter" idx="18" hasCustomPrompt="1"/>
          </p:nvPr>
        </p:nvSpPr>
        <p:spPr>
          <a:xfrm>
            <a:off x="7516813" y="2853741"/>
            <a:ext cx="2650121" cy="2322512"/>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55F533D7-A2D1-4BF0-759F-03B6104E9AA7}"/>
              </a:ext>
            </a:extLst>
          </p:cNvPr>
          <p:cNvCxnSpPr>
            <a:cxnSpLocks/>
          </p:cNvCxnSpPr>
          <p:nvPr userDrawn="1"/>
        </p:nvCxnSpPr>
        <p:spPr>
          <a:xfrm>
            <a:off x="4580943" y="2080328"/>
            <a:ext cx="0" cy="309592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B7C2052-514C-E7A9-74D2-D4555B3E28F2}"/>
              </a:ext>
            </a:extLst>
          </p:cNvPr>
          <p:cNvCxnSpPr>
            <a:cxnSpLocks/>
          </p:cNvCxnSpPr>
          <p:nvPr userDrawn="1"/>
        </p:nvCxnSpPr>
        <p:spPr>
          <a:xfrm>
            <a:off x="7422064" y="2080328"/>
            <a:ext cx="0" cy="309592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7" name="Google Shape;959;g28b48f0dcfc_0_664" descr="A blurry image of a colorful background&#10;&#10;Description automatically generated">
            <a:extLst>
              <a:ext uri="{FF2B5EF4-FFF2-40B4-BE49-F238E27FC236}">
                <a16:creationId xmlns:a16="http://schemas.microsoft.com/office/drawing/2014/main" id="{989CB29C-4DCB-52B6-D429-FF1349CFEBA8}"/>
              </a:ext>
            </a:extLst>
          </p:cNvPr>
          <p:cNvPicPr preferRelativeResize="0"/>
          <p:nvPr userDrawn="1"/>
        </p:nvPicPr>
        <p:blipFill rotWithShape="1">
          <a:blip r:embed="rId2">
            <a:alphaModFix/>
          </a:blip>
          <a:srcRect b="97900"/>
          <a:stretch/>
        </p:blipFill>
        <p:spPr>
          <a:xfrm>
            <a:off x="2" y="-19341"/>
            <a:ext cx="12191999" cy="144015"/>
          </a:xfrm>
          <a:prstGeom prst="rect">
            <a:avLst/>
          </a:prstGeom>
          <a:noFill/>
          <a:ln>
            <a:noFill/>
          </a:ln>
        </p:spPr>
      </p:pic>
    </p:spTree>
    <p:extLst>
      <p:ext uri="{BB962C8B-B14F-4D97-AF65-F5344CB8AC3E}">
        <p14:creationId xmlns:p14="http://schemas.microsoft.com/office/powerpoint/2010/main" val="227439828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ey Figures C">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lvl1pPr>
              <a:defRPr>
                <a:solidFill>
                  <a:schemeClr val="bg2"/>
                </a:solidFill>
              </a:defRPr>
            </a:lvl1p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lvl1pPr>
              <a:defRPr>
                <a:solidFill>
                  <a:schemeClr val="bg2"/>
                </a:solidFill>
              </a:defRPr>
            </a:lvl1pPr>
          </a:lstStyle>
          <a:p>
            <a:fld id="{71676EBD-8486-AA4B-82C3-0598DF1E43FA}" type="slidenum">
              <a:rPr lang="en-US" smtClean="0"/>
              <a:pPr/>
              <a:t>‹Nr.›</a:t>
            </a:fld>
            <a:endParaRPr lang="en-US"/>
          </a:p>
        </p:txBody>
      </p:sp>
      <p:sp>
        <p:nvSpPr>
          <p:cNvPr id="2" name="Title 11">
            <a:extLst>
              <a:ext uri="{FF2B5EF4-FFF2-40B4-BE49-F238E27FC236}">
                <a16:creationId xmlns:a16="http://schemas.microsoft.com/office/drawing/2014/main" id="{F9279B66-229A-DE36-7A52-2E85D8B91B1F}"/>
              </a:ext>
            </a:extLst>
          </p:cNvPr>
          <p:cNvSpPr>
            <a:spLocks noGrp="1"/>
          </p:cNvSpPr>
          <p:nvPr>
            <p:ph type="title" hasCustomPrompt="1"/>
          </p:nvPr>
        </p:nvSpPr>
        <p:spPr>
          <a:xfrm>
            <a:off x="415596" y="462506"/>
            <a:ext cx="11360808" cy="553997"/>
          </a:xfrm>
        </p:spPr>
        <p:txBody>
          <a:bodyPr anchor="t" anchorCtr="0">
            <a:spAutoFit/>
          </a:bodyPr>
          <a:lstStyle>
            <a:lvl1pPr>
              <a:defRPr>
                <a:solidFill>
                  <a:schemeClr val="tx1"/>
                </a:solidFill>
              </a:defRPr>
            </a:lvl1pPr>
          </a:lstStyle>
          <a:p>
            <a:r>
              <a:rPr lang="en-US"/>
              <a:t>A Headline About the Key Figures</a:t>
            </a:r>
          </a:p>
        </p:txBody>
      </p:sp>
      <p:sp>
        <p:nvSpPr>
          <p:cNvPr id="14" name="Text Placeholder 44">
            <a:extLst>
              <a:ext uri="{FF2B5EF4-FFF2-40B4-BE49-F238E27FC236}">
                <a16:creationId xmlns:a16="http://schemas.microsoft.com/office/drawing/2014/main" id="{804CA1DA-964D-8983-B109-F21A80BAE6C6}"/>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chemeClr val="bg2"/>
                </a:solidFill>
              </a:defRPr>
            </a:lvl1pPr>
            <a:lvl2pPr marL="0" indent="0">
              <a:buNone/>
              <a:defRPr/>
            </a:lvl2pPr>
          </a:lstStyle>
          <a:p>
            <a:pPr lvl="0"/>
            <a:r>
              <a:rPr lang="en-US"/>
              <a:t>Add footnotes here if needed</a:t>
            </a:r>
          </a:p>
        </p:txBody>
      </p:sp>
      <p:sp>
        <p:nvSpPr>
          <p:cNvPr id="5" name="Text Placeholder 3">
            <a:extLst>
              <a:ext uri="{FF2B5EF4-FFF2-40B4-BE49-F238E27FC236}">
                <a16:creationId xmlns:a16="http://schemas.microsoft.com/office/drawing/2014/main" id="{349F44FF-E4F8-A312-ED3B-B802AEBC70DD}"/>
              </a:ext>
            </a:extLst>
          </p:cNvPr>
          <p:cNvSpPr>
            <a:spLocks noGrp="1"/>
          </p:cNvSpPr>
          <p:nvPr>
            <p:ph type="body" sz="quarter" idx="13" hasCustomPrompt="1"/>
          </p:nvPr>
        </p:nvSpPr>
        <p:spPr>
          <a:xfrm>
            <a:off x="1928810" y="1503995"/>
            <a:ext cx="2651127" cy="583200"/>
          </a:xfrm>
        </p:spPr>
        <p:txBody>
          <a:bodyPr anchor="ctr" anchorCtr="0">
            <a:noAutofit/>
          </a:bodyPr>
          <a:lstStyle>
            <a:lvl1pPr>
              <a:defRPr sz="5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TAT</a:t>
            </a:r>
          </a:p>
        </p:txBody>
      </p:sp>
      <p:sp>
        <p:nvSpPr>
          <p:cNvPr id="12" name="Text Placeholder 18">
            <a:extLst>
              <a:ext uri="{FF2B5EF4-FFF2-40B4-BE49-F238E27FC236}">
                <a16:creationId xmlns:a16="http://schemas.microsoft.com/office/drawing/2014/main" id="{A67CDA44-FF5A-2CAE-4C4C-1578DE31AF6A}"/>
              </a:ext>
            </a:extLst>
          </p:cNvPr>
          <p:cNvSpPr>
            <a:spLocks noGrp="1"/>
          </p:cNvSpPr>
          <p:nvPr>
            <p:ph type="body" sz="quarter" idx="24" hasCustomPrompt="1"/>
          </p:nvPr>
        </p:nvSpPr>
        <p:spPr>
          <a:xfrm>
            <a:off x="1928811" y="2277697"/>
            <a:ext cx="2651127" cy="1160463"/>
          </a:xfrm>
        </p:spPr>
        <p:txBody>
          <a:bodyPr>
            <a:noAutofit/>
          </a:bodyPr>
          <a:lstStyle>
            <a:lvl1pPr>
              <a:defRPr>
                <a:solidFill>
                  <a:schemeClr val="tx1"/>
                </a:solidFill>
              </a:defRPr>
            </a:lvl1pPr>
            <a:lvl2pPr>
              <a:defRPr>
                <a:solidFill>
                  <a:schemeClr val="tx1"/>
                </a:solidFill>
              </a:defRPr>
            </a:lvl2pPr>
            <a:lvl3pPr marL="180970" indent="0">
              <a:buNone/>
              <a:defRPr>
                <a:solidFill>
                  <a:schemeClr val="tx1"/>
                </a:solidFill>
              </a:defRPr>
            </a:lvl3pPr>
            <a:lvl4pPr>
              <a:defRPr>
                <a:solidFill>
                  <a:schemeClr val="tx2"/>
                </a:solidFill>
              </a:defRPr>
            </a:lvl4pPr>
            <a:lvl5pPr>
              <a:defRPr>
                <a:solidFill>
                  <a:schemeClr val="tx2"/>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a:t>
            </a:r>
          </a:p>
          <a:p>
            <a:pPr lvl="1"/>
            <a:r>
              <a:rPr lang="en-US"/>
              <a:t>Second level</a:t>
            </a:r>
          </a:p>
          <a:p>
            <a:pPr lvl="2"/>
            <a:endParaRPr lang="en-US"/>
          </a:p>
        </p:txBody>
      </p:sp>
      <p:sp>
        <p:nvSpPr>
          <p:cNvPr id="13" name="Text Placeholder 3">
            <a:extLst>
              <a:ext uri="{FF2B5EF4-FFF2-40B4-BE49-F238E27FC236}">
                <a16:creationId xmlns:a16="http://schemas.microsoft.com/office/drawing/2014/main" id="{788AE45A-152D-21FD-37B5-F7D839C4195E}"/>
              </a:ext>
            </a:extLst>
          </p:cNvPr>
          <p:cNvSpPr>
            <a:spLocks noGrp="1"/>
          </p:cNvSpPr>
          <p:nvPr>
            <p:ph type="body" sz="quarter" idx="25" hasCustomPrompt="1"/>
          </p:nvPr>
        </p:nvSpPr>
        <p:spPr>
          <a:xfrm>
            <a:off x="4770439" y="1503995"/>
            <a:ext cx="2651124" cy="583200"/>
          </a:xfrm>
        </p:spPr>
        <p:txBody>
          <a:bodyPr anchor="ctr" anchorCtr="0">
            <a:noAutofit/>
          </a:bodyPr>
          <a:lstStyle>
            <a:lvl1pPr>
              <a:defRPr sz="5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TAT</a:t>
            </a:r>
          </a:p>
        </p:txBody>
      </p:sp>
      <p:sp>
        <p:nvSpPr>
          <p:cNvPr id="19" name="Text Placeholder 18">
            <a:extLst>
              <a:ext uri="{FF2B5EF4-FFF2-40B4-BE49-F238E27FC236}">
                <a16:creationId xmlns:a16="http://schemas.microsoft.com/office/drawing/2014/main" id="{18DC1E47-31D1-7B92-1C56-0F3B228F57B2}"/>
              </a:ext>
            </a:extLst>
          </p:cNvPr>
          <p:cNvSpPr>
            <a:spLocks noGrp="1"/>
          </p:cNvSpPr>
          <p:nvPr>
            <p:ph type="body" sz="quarter" idx="16" hasCustomPrompt="1"/>
          </p:nvPr>
        </p:nvSpPr>
        <p:spPr>
          <a:xfrm>
            <a:off x="4770439" y="2277697"/>
            <a:ext cx="2651124" cy="1160463"/>
          </a:xfrm>
        </p:spPr>
        <p:txBody>
          <a:bodyPr>
            <a:noAutofit/>
          </a:bodyPr>
          <a:lstStyle>
            <a:lvl1pPr>
              <a:defRPr>
                <a:solidFill>
                  <a:schemeClr val="tx1"/>
                </a:solidFill>
              </a:defRPr>
            </a:lvl1pPr>
            <a:lvl2pPr>
              <a:defRPr>
                <a:solidFill>
                  <a:schemeClr val="tx1"/>
                </a:solidFill>
              </a:defRPr>
            </a:lvl2pPr>
            <a:lvl3pPr marL="180970" indent="0">
              <a:buNone/>
              <a:defRPr>
                <a:solidFill>
                  <a:schemeClr val="tx1"/>
                </a:solidFill>
              </a:defRPr>
            </a:lvl3pPr>
            <a:lvl4pPr>
              <a:defRPr>
                <a:solidFill>
                  <a:schemeClr val="tx2"/>
                </a:solidFill>
              </a:defRPr>
            </a:lvl4pPr>
            <a:lvl5pPr>
              <a:defRPr>
                <a:solidFill>
                  <a:schemeClr val="tx2"/>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p>
          <a:p>
            <a:pPr lvl="1"/>
            <a:r>
              <a:rPr lang="en-US"/>
              <a:t>Second level</a:t>
            </a:r>
          </a:p>
          <a:p>
            <a:pPr lvl="2"/>
            <a:endParaRPr lang="en-US"/>
          </a:p>
        </p:txBody>
      </p:sp>
      <p:sp>
        <p:nvSpPr>
          <p:cNvPr id="20" name="Text Placeholder 3">
            <a:extLst>
              <a:ext uri="{FF2B5EF4-FFF2-40B4-BE49-F238E27FC236}">
                <a16:creationId xmlns:a16="http://schemas.microsoft.com/office/drawing/2014/main" id="{82B9134B-8A39-2679-182D-39864ADEDC4D}"/>
              </a:ext>
            </a:extLst>
          </p:cNvPr>
          <p:cNvSpPr>
            <a:spLocks noGrp="1"/>
          </p:cNvSpPr>
          <p:nvPr>
            <p:ph type="body" sz="quarter" idx="17" hasCustomPrompt="1"/>
          </p:nvPr>
        </p:nvSpPr>
        <p:spPr>
          <a:xfrm>
            <a:off x="7612063" y="1503995"/>
            <a:ext cx="2651124" cy="583200"/>
          </a:xfrm>
        </p:spPr>
        <p:txBody>
          <a:bodyPr anchor="ctr" anchorCtr="0">
            <a:noAutofit/>
          </a:bodyPr>
          <a:lstStyle>
            <a:lvl1pPr>
              <a:defRPr sz="5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TAT</a:t>
            </a:r>
          </a:p>
        </p:txBody>
      </p:sp>
      <p:sp>
        <p:nvSpPr>
          <p:cNvPr id="21" name="Text Placeholder 18">
            <a:extLst>
              <a:ext uri="{FF2B5EF4-FFF2-40B4-BE49-F238E27FC236}">
                <a16:creationId xmlns:a16="http://schemas.microsoft.com/office/drawing/2014/main" id="{A8FA58E4-65BC-1599-E0FB-F02601AE3957}"/>
              </a:ext>
            </a:extLst>
          </p:cNvPr>
          <p:cNvSpPr>
            <a:spLocks noGrp="1"/>
          </p:cNvSpPr>
          <p:nvPr>
            <p:ph type="body" sz="quarter" idx="18" hasCustomPrompt="1"/>
          </p:nvPr>
        </p:nvSpPr>
        <p:spPr>
          <a:xfrm>
            <a:off x="7612063" y="2277697"/>
            <a:ext cx="2651124" cy="1160463"/>
          </a:xfrm>
        </p:spPr>
        <p:txBody>
          <a:bodyPr>
            <a:noAutofit/>
          </a:bodyPr>
          <a:lstStyle>
            <a:lvl1pPr>
              <a:defRPr>
                <a:solidFill>
                  <a:schemeClr val="tx1"/>
                </a:solidFill>
              </a:defRPr>
            </a:lvl1pPr>
            <a:lvl2pPr>
              <a:defRPr>
                <a:solidFill>
                  <a:schemeClr val="tx1"/>
                </a:solidFill>
              </a:defRPr>
            </a:lvl2pPr>
            <a:lvl3pPr marL="180970" indent="0">
              <a:buNone/>
              <a:defRPr>
                <a:solidFill>
                  <a:schemeClr val="tx1"/>
                </a:solidFill>
              </a:defRPr>
            </a:lvl3pPr>
            <a:lvl4pPr>
              <a:defRPr>
                <a:solidFill>
                  <a:schemeClr val="tx2"/>
                </a:solidFill>
              </a:defRPr>
            </a:lvl4pPr>
            <a:lvl5pPr>
              <a:defRPr>
                <a:solidFill>
                  <a:schemeClr val="tx2"/>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p>
          <a:p>
            <a:pPr lvl="1"/>
            <a:r>
              <a:rPr lang="en-US"/>
              <a:t>Second level</a:t>
            </a:r>
          </a:p>
          <a:p>
            <a:pPr lvl="2"/>
            <a:endParaRPr lang="en-US"/>
          </a:p>
        </p:txBody>
      </p:sp>
      <p:cxnSp>
        <p:nvCxnSpPr>
          <p:cNvPr id="22" name="Straight Connector 21">
            <a:extLst>
              <a:ext uri="{FF2B5EF4-FFF2-40B4-BE49-F238E27FC236}">
                <a16:creationId xmlns:a16="http://schemas.microsoft.com/office/drawing/2014/main" id="{B077A592-0B0B-C790-C0A1-B0FF92F5AC1D}"/>
              </a:ext>
            </a:extLst>
          </p:cNvPr>
          <p:cNvCxnSpPr>
            <a:cxnSpLocks/>
          </p:cNvCxnSpPr>
          <p:nvPr userDrawn="1"/>
        </p:nvCxnSpPr>
        <p:spPr>
          <a:xfrm>
            <a:off x="4675187" y="1503996"/>
            <a:ext cx="0" cy="193416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2B72B08-7AB2-9175-AB48-6A31922FFAAA}"/>
              </a:ext>
            </a:extLst>
          </p:cNvPr>
          <p:cNvCxnSpPr>
            <a:cxnSpLocks/>
          </p:cNvCxnSpPr>
          <p:nvPr userDrawn="1"/>
        </p:nvCxnSpPr>
        <p:spPr>
          <a:xfrm>
            <a:off x="7516812" y="1503996"/>
            <a:ext cx="0" cy="193416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0ACD08D-7C4D-3D25-92BE-91078AA58555}"/>
              </a:ext>
            </a:extLst>
          </p:cNvPr>
          <p:cNvCxnSpPr>
            <a:cxnSpLocks/>
          </p:cNvCxnSpPr>
          <p:nvPr userDrawn="1"/>
        </p:nvCxnSpPr>
        <p:spPr>
          <a:xfrm>
            <a:off x="4675187" y="3824921"/>
            <a:ext cx="0" cy="193416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DB1DC8E-A942-4EDD-E9A8-BC3BE767B246}"/>
              </a:ext>
            </a:extLst>
          </p:cNvPr>
          <p:cNvCxnSpPr>
            <a:cxnSpLocks/>
          </p:cNvCxnSpPr>
          <p:nvPr userDrawn="1"/>
        </p:nvCxnSpPr>
        <p:spPr>
          <a:xfrm>
            <a:off x="7516812" y="3824921"/>
            <a:ext cx="0" cy="193416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 name="Text Placeholder 3">
            <a:extLst>
              <a:ext uri="{FF2B5EF4-FFF2-40B4-BE49-F238E27FC236}">
                <a16:creationId xmlns:a16="http://schemas.microsoft.com/office/drawing/2014/main" id="{10E7A8DC-1F9E-7743-9638-F84C8715CF66}"/>
              </a:ext>
            </a:extLst>
          </p:cNvPr>
          <p:cNvSpPr>
            <a:spLocks noGrp="1"/>
          </p:cNvSpPr>
          <p:nvPr>
            <p:ph type="body" sz="quarter" idx="19" hasCustomPrompt="1"/>
          </p:nvPr>
        </p:nvSpPr>
        <p:spPr>
          <a:xfrm>
            <a:off x="1928810" y="3824920"/>
            <a:ext cx="2651127" cy="583200"/>
          </a:xfrm>
        </p:spPr>
        <p:txBody>
          <a:bodyPr anchor="ctr" anchorCtr="0">
            <a:noAutofit/>
          </a:bodyPr>
          <a:lstStyle>
            <a:lvl1pPr>
              <a:defRPr sz="5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TAT</a:t>
            </a:r>
          </a:p>
        </p:txBody>
      </p:sp>
      <p:sp>
        <p:nvSpPr>
          <p:cNvPr id="27" name="Text Placeholder 18">
            <a:extLst>
              <a:ext uri="{FF2B5EF4-FFF2-40B4-BE49-F238E27FC236}">
                <a16:creationId xmlns:a16="http://schemas.microsoft.com/office/drawing/2014/main" id="{74A06DC9-B939-F21D-AC44-368A5272C874}"/>
              </a:ext>
            </a:extLst>
          </p:cNvPr>
          <p:cNvSpPr>
            <a:spLocks noGrp="1"/>
          </p:cNvSpPr>
          <p:nvPr>
            <p:ph type="body" sz="quarter" idx="20" hasCustomPrompt="1"/>
          </p:nvPr>
        </p:nvSpPr>
        <p:spPr>
          <a:xfrm>
            <a:off x="1928811" y="4598621"/>
            <a:ext cx="2651127" cy="1160463"/>
          </a:xfrm>
        </p:spPr>
        <p:txBody>
          <a:bodyPr>
            <a:noAutofit/>
          </a:bodyPr>
          <a:lstStyle>
            <a:lvl1pPr>
              <a:defRPr>
                <a:solidFill>
                  <a:schemeClr val="tx1"/>
                </a:solidFill>
              </a:defRPr>
            </a:lvl1pPr>
            <a:lvl2pPr>
              <a:defRPr>
                <a:solidFill>
                  <a:schemeClr val="tx1"/>
                </a:solidFill>
              </a:defRPr>
            </a:lvl2pPr>
            <a:lvl3pPr marL="180970" indent="0">
              <a:buNone/>
              <a:defRPr>
                <a:solidFill>
                  <a:schemeClr val="tx1"/>
                </a:solidFill>
              </a:defRPr>
            </a:lvl3pPr>
            <a:lvl4pPr>
              <a:defRPr>
                <a:solidFill>
                  <a:schemeClr val="tx2"/>
                </a:solidFill>
              </a:defRPr>
            </a:lvl4pPr>
            <a:lvl5pPr marL="538149" indent="0">
              <a:buNone/>
              <a:defRPr>
                <a:solidFill>
                  <a:schemeClr val="tx2"/>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a:t>
            </a:r>
          </a:p>
          <a:p>
            <a:pPr lvl="1"/>
            <a:r>
              <a:rPr lang="en-US"/>
              <a:t>Second level</a:t>
            </a:r>
          </a:p>
          <a:p>
            <a:pPr lvl="2"/>
            <a:endParaRPr lang="en-US"/>
          </a:p>
        </p:txBody>
      </p:sp>
      <p:sp>
        <p:nvSpPr>
          <p:cNvPr id="28" name="Text Placeholder 3">
            <a:extLst>
              <a:ext uri="{FF2B5EF4-FFF2-40B4-BE49-F238E27FC236}">
                <a16:creationId xmlns:a16="http://schemas.microsoft.com/office/drawing/2014/main" id="{D0EAD9C7-FC73-7D30-EC0C-9D16C3E99B3D}"/>
              </a:ext>
            </a:extLst>
          </p:cNvPr>
          <p:cNvSpPr>
            <a:spLocks noGrp="1"/>
          </p:cNvSpPr>
          <p:nvPr>
            <p:ph type="body" sz="quarter" idx="21" hasCustomPrompt="1"/>
          </p:nvPr>
        </p:nvSpPr>
        <p:spPr>
          <a:xfrm>
            <a:off x="4770439" y="3824920"/>
            <a:ext cx="2651124" cy="583200"/>
          </a:xfrm>
        </p:spPr>
        <p:txBody>
          <a:bodyPr anchor="ctr" anchorCtr="0">
            <a:noAutofit/>
          </a:bodyPr>
          <a:lstStyle>
            <a:lvl1pPr>
              <a:defRPr sz="5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TAT</a:t>
            </a:r>
          </a:p>
        </p:txBody>
      </p:sp>
      <p:sp>
        <p:nvSpPr>
          <p:cNvPr id="29" name="Text Placeholder 18">
            <a:extLst>
              <a:ext uri="{FF2B5EF4-FFF2-40B4-BE49-F238E27FC236}">
                <a16:creationId xmlns:a16="http://schemas.microsoft.com/office/drawing/2014/main" id="{9CBA2398-4EB5-0517-4B63-FBDDB9FE48BA}"/>
              </a:ext>
            </a:extLst>
          </p:cNvPr>
          <p:cNvSpPr>
            <a:spLocks noGrp="1"/>
          </p:cNvSpPr>
          <p:nvPr>
            <p:ph type="body" sz="quarter" idx="22" hasCustomPrompt="1"/>
          </p:nvPr>
        </p:nvSpPr>
        <p:spPr>
          <a:xfrm>
            <a:off x="4770439" y="4598621"/>
            <a:ext cx="2651124" cy="1160463"/>
          </a:xfrm>
        </p:spPr>
        <p:txBody>
          <a:bodyPr wrap="square">
            <a:noAutofit/>
          </a:bodyPr>
          <a:lstStyle>
            <a:lvl1pPr>
              <a:defRPr>
                <a:solidFill>
                  <a:schemeClr val="tx1"/>
                </a:solidFill>
              </a:defRPr>
            </a:lvl1pPr>
            <a:lvl2pPr>
              <a:defRPr>
                <a:solidFill>
                  <a:schemeClr val="tx1"/>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p>
          <a:p>
            <a:pPr lvl="1"/>
            <a:r>
              <a:rPr lang="en-US"/>
              <a:t>Second level</a:t>
            </a:r>
          </a:p>
        </p:txBody>
      </p:sp>
      <p:sp>
        <p:nvSpPr>
          <p:cNvPr id="30" name="Text Placeholder 3">
            <a:extLst>
              <a:ext uri="{FF2B5EF4-FFF2-40B4-BE49-F238E27FC236}">
                <a16:creationId xmlns:a16="http://schemas.microsoft.com/office/drawing/2014/main" id="{8F25C56E-F1F9-4113-5575-9DCBD9AA763D}"/>
              </a:ext>
            </a:extLst>
          </p:cNvPr>
          <p:cNvSpPr>
            <a:spLocks noGrp="1"/>
          </p:cNvSpPr>
          <p:nvPr>
            <p:ph type="body" sz="quarter" idx="26" hasCustomPrompt="1"/>
          </p:nvPr>
        </p:nvSpPr>
        <p:spPr>
          <a:xfrm>
            <a:off x="7612063" y="3824920"/>
            <a:ext cx="2651124" cy="583200"/>
          </a:xfrm>
        </p:spPr>
        <p:txBody>
          <a:bodyPr anchor="ctr" anchorCtr="0">
            <a:noAutofit/>
          </a:bodyPr>
          <a:lstStyle>
            <a:lvl1pPr>
              <a:defRPr sz="5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TAT</a:t>
            </a:r>
          </a:p>
        </p:txBody>
      </p:sp>
      <p:sp>
        <p:nvSpPr>
          <p:cNvPr id="31" name="Text Placeholder 18">
            <a:extLst>
              <a:ext uri="{FF2B5EF4-FFF2-40B4-BE49-F238E27FC236}">
                <a16:creationId xmlns:a16="http://schemas.microsoft.com/office/drawing/2014/main" id="{661E0047-D2DC-BB67-6957-F39DC0F1CA86}"/>
              </a:ext>
            </a:extLst>
          </p:cNvPr>
          <p:cNvSpPr>
            <a:spLocks noGrp="1"/>
          </p:cNvSpPr>
          <p:nvPr>
            <p:ph type="body" sz="quarter" idx="46" hasCustomPrompt="1"/>
          </p:nvPr>
        </p:nvSpPr>
        <p:spPr>
          <a:xfrm>
            <a:off x="7612063" y="4598621"/>
            <a:ext cx="2651124" cy="1160463"/>
          </a:xfrm>
        </p:spPr>
        <p:txBody>
          <a:bodyPr wrap="square">
            <a:noAutofit/>
          </a:bodyPr>
          <a:lstStyle>
            <a:lvl1pPr>
              <a:defRPr>
                <a:solidFill>
                  <a:schemeClr val="tx1"/>
                </a:solidFill>
              </a:defRPr>
            </a:lvl1pPr>
            <a:lvl2pPr>
              <a:defRPr>
                <a:solidFill>
                  <a:schemeClr val="tx1"/>
                </a:solidFill>
              </a:defRPr>
            </a:lvl2pPr>
            <a:lvl3pPr marL="180970" indent="0">
              <a:buNone/>
              <a:defRPr>
                <a:solidFill>
                  <a:schemeClr val="tx1"/>
                </a:solidFill>
              </a:defRPr>
            </a:lvl3pPr>
            <a:lvl4pPr>
              <a:defRPr>
                <a:solidFill>
                  <a:schemeClr val="tx2"/>
                </a:solidFill>
              </a:defRPr>
            </a:lvl4pPr>
            <a:lvl5pPr marL="538149" indent="0">
              <a:buNone/>
              <a:defRPr>
                <a:solidFill>
                  <a:schemeClr val="tx2"/>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p>
          <a:p>
            <a:pPr lvl="1"/>
            <a:r>
              <a:rPr lang="en-US"/>
              <a:t>Second level</a:t>
            </a:r>
          </a:p>
          <a:p>
            <a:pPr lvl="2"/>
            <a:endParaRPr lang="en-US"/>
          </a:p>
        </p:txBody>
      </p:sp>
      <p:pic>
        <p:nvPicPr>
          <p:cNvPr id="4" name="Google Shape;959;g28b48f0dcfc_0_664" descr="A blurry image of a colorful background&#10;&#10;Description automatically generated">
            <a:extLst>
              <a:ext uri="{FF2B5EF4-FFF2-40B4-BE49-F238E27FC236}">
                <a16:creationId xmlns:a16="http://schemas.microsoft.com/office/drawing/2014/main" id="{CA46D28C-2117-76E3-E2B6-E8D748483329}"/>
              </a:ext>
            </a:extLst>
          </p:cNvPr>
          <p:cNvPicPr preferRelativeResize="0"/>
          <p:nvPr userDrawn="1"/>
        </p:nvPicPr>
        <p:blipFill rotWithShape="1">
          <a:blip r:embed="rId2">
            <a:alphaModFix/>
          </a:blip>
          <a:srcRect b="97900"/>
          <a:stretch/>
        </p:blipFill>
        <p:spPr>
          <a:xfrm>
            <a:off x="2" y="-19341"/>
            <a:ext cx="12191999" cy="144015"/>
          </a:xfrm>
          <a:prstGeom prst="rect">
            <a:avLst/>
          </a:prstGeom>
          <a:noFill/>
          <a:ln>
            <a:noFill/>
          </a:ln>
        </p:spPr>
      </p:pic>
    </p:spTree>
    <p:extLst>
      <p:ext uri="{BB962C8B-B14F-4D97-AF65-F5344CB8AC3E}">
        <p14:creationId xmlns:p14="http://schemas.microsoft.com/office/powerpoint/2010/main" val="16466567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A6F30BB-74B8-A602-7B81-62ACFE2CEA4A}"/>
              </a:ext>
            </a:extLst>
          </p:cNvPr>
          <p:cNvSpPr>
            <a:spLocks noGrp="1"/>
          </p:cNvSpPr>
          <p:nvPr>
            <p:ph type="title"/>
          </p:nvPr>
        </p:nvSpPr>
        <p:spPr/>
        <p:txBody>
          <a:bodyPr/>
          <a:lstStyle/>
          <a:p>
            <a:r>
              <a:rPr lang="es-ES"/>
              <a:t>Haga clic para modificar el estilo de título del patrón</a:t>
            </a:r>
          </a:p>
        </p:txBody>
      </p:sp>
      <p:sp>
        <p:nvSpPr>
          <p:cNvPr id="3" name="Marcador de fecha 2">
            <a:extLst>
              <a:ext uri="{FF2B5EF4-FFF2-40B4-BE49-F238E27FC236}">
                <a16:creationId xmlns:a16="http://schemas.microsoft.com/office/drawing/2014/main" id="{BBC56CD8-B946-B624-7463-16A7972A6BB8}"/>
              </a:ext>
            </a:extLst>
          </p:cNvPr>
          <p:cNvSpPr>
            <a:spLocks noGrp="1"/>
          </p:cNvSpPr>
          <p:nvPr>
            <p:ph type="dt" sz="half" idx="10"/>
          </p:nvPr>
        </p:nvSpPr>
        <p:spPr/>
        <p:txBody>
          <a:bodyPr/>
          <a:lstStyle/>
          <a:p>
            <a:fld id="{D0A8EAAB-0451-F345-AAE8-903E658FFCB4}" type="datetimeFigureOut">
              <a:rPr lang="es-ES" smtClean="0"/>
              <a:t>26/04/2026</a:t>
            </a:fld>
            <a:endParaRPr lang="es-ES"/>
          </a:p>
        </p:txBody>
      </p:sp>
      <p:sp>
        <p:nvSpPr>
          <p:cNvPr id="4" name="Marcador de pie de página 3">
            <a:extLst>
              <a:ext uri="{FF2B5EF4-FFF2-40B4-BE49-F238E27FC236}">
                <a16:creationId xmlns:a16="http://schemas.microsoft.com/office/drawing/2014/main" id="{3F745A88-CF4F-9CBC-AE93-2B39A49115E9}"/>
              </a:ext>
            </a:extLst>
          </p:cNvPr>
          <p:cNvSpPr>
            <a:spLocks noGrp="1"/>
          </p:cNvSpPr>
          <p:nvPr>
            <p:ph type="ftr" sz="quarter" idx="11"/>
          </p:nvPr>
        </p:nvSpPr>
        <p:spPr/>
        <p:txBody>
          <a:bodyPr/>
          <a:lstStyle/>
          <a:p>
            <a:endParaRPr lang="es-ES"/>
          </a:p>
        </p:txBody>
      </p:sp>
      <p:sp>
        <p:nvSpPr>
          <p:cNvPr id="5" name="Marcador de número de diapositiva 4">
            <a:extLst>
              <a:ext uri="{FF2B5EF4-FFF2-40B4-BE49-F238E27FC236}">
                <a16:creationId xmlns:a16="http://schemas.microsoft.com/office/drawing/2014/main" id="{18B4F5C3-E0B6-E7B7-6B38-01F548681079}"/>
              </a:ext>
            </a:extLst>
          </p:cNvPr>
          <p:cNvSpPr>
            <a:spLocks noGrp="1"/>
          </p:cNvSpPr>
          <p:nvPr>
            <p:ph type="sldNum" sz="quarter" idx="12"/>
          </p:nvPr>
        </p:nvSpPr>
        <p:spPr/>
        <p:txBody>
          <a:bodyPr/>
          <a:lstStyle/>
          <a:p>
            <a:fld id="{C5C9C0E2-798D-424A-9802-04B7FA7A38FE}" type="slidenum">
              <a:rPr lang="es-ES" smtClean="0"/>
              <a:t>‹Nr.›</a:t>
            </a:fld>
            <a:endParaRPr lang="es-ES"/>
          </a:p>
        </p:txBody>
      </p:sp>
    </p:spTree>
    <p:extLst>
      <p:ext uri="{BB962C8B-B14F-4D97-AF65-F5344CB8AC3E}">
        <p14:creationId xmlns:p14="http://schemas.microsoft.com/office/powerpoint/2010/main" val="15210386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DO NOT USE - INSTRUCTIONAL 8">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3F3F73B-5A7E-8BBE-68A8-9BD49B10A6BC}"/>
              </a:ext>
            </a:extLst>
          </p:cNvPr>
          <p:cNvSpPr>
            <a:spLocks noGrp="1"/>
          </p:cNvSpPr>
          <p:nvPr>
            <p:ph type="ftr" sz="quarter" idx="11"/>
          </p:nvPr>
        </p:nvSpPr>
        <p:spPr>
          <a:xfrm>
            <a:off x="10447173" y="6356351"/>
            <a:ext cx="956004" cy="365125"/>
          </a:xfrm>
          <a:prstGeom prst="rect">
            <a:avLst/>
          </a:prstGeom>
        </p:spPr>
        <p:txBody>
          <a:bodyPr/>
          <a:lstStyle/>
          <a:p>
            <a:r>
              <a:rPr lang="en-US"/>
              <a:t>© Commvault 2024</a:t>
            </a:r>
          </a:p>
        </p:txBody>
      </p:sp>
      <p:sp>
        <p:nvSpPr>
          <p:cNvPr id="4" name="Slide Number Placeholder 3">
            <a:extLst>
              <a:ext uri="{FF2B5EF4-FFF2-40B4-BE49-F238E27FC236}">
                <a16:creationId xmlns:a16="http://schemas.microsoft.com/office/drawing/2014/main" id="{D481AB5E-0FD8-E0D0-B848-CE488AFA1733}"/>
              </a:ext>
            </a:extLst>
          </p:cNvPr>
          <p:cNvSpPr>
            <a:spLocks noGrp="1"/>
          </p:cNvSpPr>
          <p:nvPr>
            <p:ph type="sldNum" sz="quarter" idx="12"/>
          </p:nvPr>
        </p:nvSpPr>
        <p:spPr/>
        <p:txBody>
          <a:bodyPr/>
          <a:lstStyle/>
          <a:p>
            <a:fld id="{71676EBD-8486-AA4B-82C3-0598DF1E43FA}" type="slidenum">
              <a:rPr lang="en-US" smtClean="0"/>
              <a:t>‹Nr.›</a:t>
            </a:fld>
            <a:endParaRPr lang="en-US"/>
          </a:p>
        </p:txBody>
      </p:sp>
      <p:sp>
        <p:nvSpPr>
          <p:cNvPr id="5" name="Rectangle 4">
            <a:extLst>
              <a:ext uri="{FF2B5EF4-FFF2-40B4-BE49-F238E27FC236}">
                <a16:creationId xmlns:a16="http://schemas.microsoft.com/office/drawing/2014/main" id="{CB32733C-E917-A5A6-1594-5B360FC1919B}"/>
              </a:ext>
            </a:extLst>
          </p:cNvPr>
          <p:cNvSpPr/>
          <p:nvPr userDrawn="1"/>
        </p:nvSpPr>
        <p:spPr>
          <a:xfrm>
            <a:off x="0" y="0"/>
            <a:ext cx="12192000"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 name="TextBox 5">
            <a:extLst>
              <a:ext uri="{FF2B5EF4-FFF2-40B4-BE49-F238E27FC236}">
                <a16:creationId xmlns:a16="http://schemas.microsoft.com/office/drawing/2014/main" id="{6803F741-5B4D-49EC-3B06-5F25CE645285}"/>
              </a:ext>
            </a:extLst>
          </p:cNvPr>
          <p:cNvSpPr txBox="1"/>
          <p:nvPr userDrawn="1"/>
        </p:nvSpPr>
        <p:spPr>
          <a:xfrm>
            <a:off x="415597" y="476250"/>
            <a:ext cx="9315449" cy="1200329"/>
          </a:xfrm>
          <a:prstGeom prst="rect">
            <a:avLst/>
          </a:prstGeom>
          <a:noFill/>
        </p:spPr>
        <p:txBody>
          <a:bodyPr wrap="square" rtlCol="0">
            <a:spAutoFit/>
          </a:bodyPr>
          <a:lstStyle/>
          <a:p>
            <a:r>
              <a:rPr lang="en-US" sz="3200">
                <a:solidFill>
                  <a:schemeClr val="bg1"/>
                </a:solidFill>
              </a:rPr>
              <a:t>THIS IS AN INSTRUCTIONAL SLIDE </a:t>
            </a:r>
          </a:p>
          <a:p>
            <a:r>
              <a:rPr lang="en-US" sz="4000" b="1">
                <a:solidFill>
                  <a:schemeClr val="bg1"/>
                </a:solidFill>
              </a:rPr>
              <a:t>DO NOT USE</a:t>
            </a:r>
            <a:endParaRPr lang="en-US" sz="3200" b="1">
              <a:solidFill>
                <a:schemeClr val="bg1"/>
              </a:solidFill>
            </a:endParaRPr>
          </a:p>
        </p:txBody>
      </p:sp>
      <p:sp>
        <p:nvSpPr>
          <p:cNvPr id="7" name="TextBox 6">
            <a:extLst>
              <a:ext uri="{FF2B5EF4-FFF2-40B4-BE49-F238E27FC236}">
                <a16:creationId xmlns:a16="http://schemas.microsoft.com/office/drawing/2014/main" id="{6BFEBCAE-B9C3-7526-64F5-463C81DE63A2}"/>
              </a:ext>
            </a:extLst>
          </p:cNvPr>
          <p:cNvSpPr txBox="1"/>
          <p:nvPr userDrawn="1"/>
        </p:nvSpPr>
        <p:spPr>
          <a:xfrm>
            <a:off x="329871" y="2451409"/>
            <a:ext cx="10595304" cy="3631763"/>
          </a:xfrm>
          <a:prstGeom prst="rect">
            <a:avLst/>
          </a:prstGeom>
          <a:noFill/>
        </p:spPr>
        <p:txBody>
          <a:bodyPr wrap="square" rtlCol="0">
            <a:spAutoFit/>
          </a:bodyPr>
          <a:lstStyle/>
          <a:p>
            <a:r>
              <a:rPr lang="en-US" sz="11500">
                <a:solidFill>
                  <a:schemeClr val="bg1"/>
                </a:solidFill>
              </a:rPr>
              <a:t>Ecosystem Slide Options</a:t>
            </a:r>
            <a:endParaRPr lang="en-US" sz="11500" b="1">
              <a:solidFill>
                <a:schemeClr val="bg1"/>
              </a:solidFill>
            </a:endParaRPr>
          </a:p>
        </p:txBody>
      </p:sp>
    </p:spTree>
    <p:extLst>
      <p:ext uri="{BB962C8B-B14F-4D97-AF65-F5344CB8AC3E}">
        <p14:creationId xmlns:p14="http://schemas.microsoft.com/office/powerpoint/2010/main" val="126120848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ogos / Partners">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lvl1pPr>
              <a:defRPr>
                <a:solidFill>
                  <a:schemeClr val="bg2"/>
                </a:solidFill>
              </a:defRPr>
            </a:lvl1p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lvl1pPr>
              <a:defRPr>
                <a:solidFill>
                  <a:schemeClr val="bg2"/>
                </a:solidFill>
              </a:defRPr>
            </a:lvl1pPr>
          </a:lstStyle>
          <a:p>
            <a:fld id="{71676EBD-8486-AA4B-82C3-0598DF1E43FA}" type="slidenum">
              <a:rPr lang="en-US" smtClean="0"/>
              <a:pPr/>
              <a:t>‹Nr.›</a:t>
            </a:fld>
            <a:endParaRPr lang="en-US"/>
          </a:p>
        </p:txBody>
      </p:sp>
      <p:sp>
        <p:nvSpPr>
          <p:cNvPr id="2" name="Title 11">
            <a:extLst>
              <a:ext uri="{FF2B5EF4-FFF2-40B4-BE49-F238E27FC236}">
                <a16:creationId xmlns:a16="http://schemas.microsoft.com/office/drawing/2014/main" id="{F9279B66-229A-DE36-7A52-2E85D8B91B1F}"/>
              </a:ext>
            </a:extLst>
          </p:cNvPr>
          <p:cNvSpPr>
            <a:spLocks noGrp="1"/>
          </p:cNvSpPr>
          <p:nvPr>
            <p:ph type="title" hasCustomPrompt="1"/>
          </p:nvPr>
        </p:nvSpPr>
        <p:spPr>
          <a:xfrm>
            <a:off x="415596" y="462506"/>
            <a:ext cx="11360808" cy="553997"/>
          </a:xfrm>
        </p:spPr>
        <p:txBody>
          <a:bodyPr anchor="t" anchorCtr="0">
            <a:spAutoFit/>
          </a:bodyPr>
          <a:lstStyle>
            <a:lvl1pPr>
              <a:defRPr>
                <a:solidFill>
                  <a:schemeClr val="tx1"/>
                </a:solidFill>
              </a:defRPr>
            </a:lvl1pPr>
          </a:lstStyle>
          <a:p>
            <a:r>
              <a:rPr lang="en-US"/>
              <a:t>Click to Insert Headline</a:t>
            </a:r>
          </a:p>
        </p:txBody>
      </p:sp>
      <p:sp>
        <p:nvSpPr>
          <p:cNvPr id="14" name="Text Placeholder 44">
            <a:extLst>
              <a:ext uri="{FF2B5EF4-FFF2-40B4-BE49-F238E27FC236}">
                <a16:creationId xmlns:a16="http://schemas.microsoft.com/office/drawing/2014/main" id="{804CA1DA-964D-8983-B109-F21A80BAE6C6}"/>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chemeClr val="bg2"/>
                </a:solidFill>
              </a:defRPr>
            </a:lvl1pPr>
            <a:lvl2pPr marL="0" indent="0">
              <a:buNone/>
              <a:defRPr/>
            </a:lvl2pPr>
          </a:lstStyle>
          <a:p>
            <a:pPr lvl="0"/>
            <a:r>
              <a:rPr lang="en-US"/>
              <a:t>Add footnotes here if needed</a:t>
            </a:r>
          </a:p>
        </p:txBody>
      </p:sp>
      <p:sp>
        <p:nvSpPr>
          <p:cNvPr id="3" name="Picture Placeholder 67">
            <a:extLst>
              <a:ext uri="{FF2B5EF4-FFF2-40B4-BE49-F238E27FC236}">
                <a16:creationId xmlns:a16="http://schemas.microsoft.com/office/drawing/2014/main" id="{4E119BF5-A8DA-AF00-51A9-0913668886C2}"/>
              </a:ext>
            </a:extLst>
          </p:cNvPr>
          <p:cNvSpPr>
            <a:spLocks noGrp="1"/>
          </p:cNvSpPr>
          <p:nvPr>
            <p:ph type="pic" sz="quarter" idx="66"/>
          </p:nvPr>
        </p:nvSpPr>
        <p:spPr>
          <a:xfrm>
            <a:off x="415596" y="1625600"/>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4" name="Picture Placeholder 67">
            <a:extLst>
              <a:ext uri="{FF2B5EF4-FFF2-40B4-BE49-F238E27FC236}">
                <a16:creationId xmlns:a16="http://schemas.microsoft.com/office/drawing/2014/main" id="{AB77CB8B-D591-CEAE-4ECE-ED808578CBF6}"/>
              </a:ext>
            </a:extLst>
          </p:cNvPr>
          <p:cNvSpPr>
            <a:spLocks noGrp="1"/>
          </p:cNvSpPr>
          <p:nvPr>
            <p:ph type="pic" sz="quarter" idx="67"/>
          </p:nvPr>
        </p:nvSpPr>
        <p:spPr>
          <a:xfrm>
            <a:off x="415596" y="2785121"/>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6" name="Picture Placeholder 67">
            <a:extLst>
              <a:ext uri="{FF2B5EF4-FFF2-40B4-BE49-F238E27FC236}">
                <a16:creationId xmlns:a16="http://schemas.microsoft.com/office/drawing/2014/main" id="{230604E8-4F24-95C6-0896-970889CD5521}"/>
              </a:ext>
            </a:extLst>
          </p:cNvPr>
          <p:cNvSpPr>
            <a:spLocks noGrp="1"/>
          </p:cNvSpPr>
          <p:nvPr>
            <p:ph type="pic" sz="quarter" idx="68"/>
          </p:nvPr>
        </p:nvSpPr>
        <p:spPr>
          <a:xfrm>
            <a:off x="415596" y="3944643"/>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8" name="Picture Placeholder 67">
            <a:extLst>
              <a:ext uri="{FF2B5EF4-FFF2-40B4-BE49-F238E27FC236}">
                <a16:creationId xmlns:a16="http://schemas.microsoft.com/office/drawing/2014/main" id="{CD72A846-20CC-17E9-1FB1-6077B4F14A20}"/>
              </a:ext>
            </a:extLst>
          </p:cNvPr>
          <p:cNvSpPr>
            <a:spLocks noGrp="1"/>
          </p:cNvSpPr>
          <p:nvPr>
            <p:ph type="pic" sz="quarter" idx="69"/>
          </p:nvPr>
        </p:nvSpPr>
        <p:spPr>
          <a:xfrm>
            <a:off x="415596" y="5104164"/>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15" name="Picture Placeholder 67">
            <a:extLst>
              <a:ext uri="{FF2B5EF4-FFF2-40B4-BE49-F238E27FC236}">
                <a16:creationId xmlns:a16="http://schemas.microsoft.com/office/drawing/2014/main" id="{B08E4AEE-154B-C55E-485B-38D7559554FD}"/>
              </a:ext>
            </a:extLst>
          </p:cNvPr>
          <p:cNvSpPr>
            <a:spLocks noGrp="1"/>
          </p:cNvSpPr>
          <p:nvPr>
            <p:ph type="pic" sz="quarter" idx="71"/>
          </p:nvPr>
        </p:nvSpPr>
        <p:spPr>
          <a:xfrm>
            <a:off x="2347197" y="1625600"/>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16" name="Picture Placeholder 67">
            <a:extLst>
              <a:ext uri="{FF2B5EF4-FFF2-40B4-BE49-F238E27FC236}">
                <a16:creationId xmlns:a16="http://schemas.microsoft.com/office/drawing/2014/main" id="{9C768878-563D-8B90-7F10-5660BC46EE5C}"/>
              </a:ext>
            </a:extLst>
          </p:cNvPr>
          <p:cNvSpPr>
            <a:spLocks noGrp="1"/>
          </p:cNvSpPr>
          <p:nvPr>
            <p:ph type="pic" sz="quarter" idx="72"/>
          </p:nvPr>
        </p:nvSpPr>
        <p:spPr>
          <a:xfrm>
            <a:off x="2347197" y="2785121"/>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17" name="Picture Placeholder 67">
            <a:extLst>
              <a:ext uri="{FF2B5EF4-FFF2-40B4-BE49-F238E27FC236}">
                <a16:creationId xmlns:a16="http://schemas.microsoft.com/office/drawing/2014/main" id="{F13C67FD-3161-C002-6612-43404D9662AE}"/>
              </a:ext>
            </a:extLst>
          </p:cNvPr>
          <p:cNvSpPr>
            <a:spLocks noGrp="1"/>
          </p:cNvSpPr>
          <p:nvPr>
            <p:ph type="pic" sz="quarter" idx="73"/>
          </p:nvPr>
        </p:nvSpPr>
        <p:spPr>
          <a:xfrm>
            <a:off x="2347197" y="3944643"/>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18" name="Picture Placeholder 67">
            <a:extLst>
              <a:ext uri="{FF2B5EF4-FFF2-40B4-BE49-F238E27FC236}">
                <a16:creationId xmlns:a16="http://schemas.microsoft.com/office/drawing/2014/main" id="{47A4BBD6-B611-CC74-8405-1F89BBEBCF3A}"/>
              </a:ext>
            </a:extLst>
          </p:cNvPr>
          <p:cNvSpPr>
            <a:spLocks noGrp="1"/>
          </p:cNvSpPr>
          <p:nvPr>
            <p:ph type="pic" sz="quarter" idx="74"/>
          </p:nvPr>
        </p:nvSpPr>
        <p:spPr>
          <a:xfrm>
            <a:off x="2347197" y="5104164"/>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32" name="Picture Placeholder 67">
            <a:extLst>
              <a:ext uri="{FF2B5EF4-FFF2-40B4-BE49-F238E27FC236}">
                <a16:creationId xmlns:a16="http://schemas.microsoft.com/office/drawing/2014/main" id="{CC6B9239-BFD5-4E59-F8C0-B912C93AE0A0}"/>
              </a:ext>
            </a:extLst>
          </p:cNvPr>
          <p:cNvSpPr>
            <a:spLocks noGrp="1"/>
          </p:cNvSpPr>
          <p:nvPr>
            <p:ph type="pic" sz="quarter" idx="76"/>
          </p:nvPr>
        </p:nvSpPr>
        <p:spPr>
          <a:xfrm>
            <a:off x="4278799" y="1625600"/>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33" name="Picture Placeholder 67">
            <a:extLst>
              <a:ext uri="{FF2B5EF4-FFF2-40B4-BE49-F238E27FC236}">
                <a16:creationId xmlns:a16="http://schemas.microsoft.com/office/drawing/2014/main" id="{4B806A0C-6D75-006D-7570-B39467D20829}"/>
              </a:ext>
            </a:extLst>
          </p:cNvPr>
          <p:cNvSpPr>
            <a:spLocks noGrp="1"/>
          </p:cNvSpPr>
          <p:nvPr>
            <p:ph type="pic" sz="quarter" idx="77"/>
          </p:nvPr>
        </p:nvSpPr>
        <p:spPr>
          <a:xfrm>
            <a:off x="4278799" y="2785121"/>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34" name="Picture Placeholder 67">
            <a:extLst>
              <a:ext uri="{FF2B5EF4-FFF2-40B4-BE49-F238E27FC236}">
                <a16:creationId xmlns:a16="http://schemas.microsoft.com/office/drawing/2014/main" id="{5E24D5F8-7F9D-EE79-9F8D-28C68A536333}"/>
              </a:ext>
            </a:extLst>
          </p:cNvPr>
          <p:cNvSpPr>
            <a:spLocks noGrp="1"/>
          </p:cNvSpPr>
          <p:nvPr>
            <p:ph type="pic" sz="quarter" idx="78"/>
          </p:nvPr>
        </p:nvSpPr>
        <p:spPr>
          <a:xfrm>
            <a:off x="4278799" y="3944643"/>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35" name="Picture Placeholder 67">
            <a:extLst>
              <a:ext uri="{FF2B5EF4-FFF2-40B4-BE49-F238E27FC236}">
                <a16:creationId xmlns:a16="http://schemas.microsoft.com/office/drawing/2014/main" id="{9F7B4032-737B-BE0A-B6BF-47A840C6AF21}"/>
              </a:ext>
            </a:extLst>
          </p:cNvPr>
          <p:cNvSpPr>
            <a:spLocks noGrp="1"/>
          </p:cNvSpPr>
          <p:nvPr>
            <p:ph type="pic" sz="quarter" idx="79"/>
          </p:nvPr>
        </p:nvSpPr>
        <p:spPr>
          <a:xfrm>
            <a:off x="4278799" y="5104164"/>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36" name="Picture Placeholder 67">
            <a:extLst>
              <a:ext uri="{FF2B5EF4-FFF2-40B4-BE49-F238E27FC236}">
                <a16:creationId xmlns:a16="http://schemas.microsoft.com/office/drawing/2014/main" id="{31600D81-EDC4-3186-0BB6-460D4CA5CB6E}"/>
              </a:ext>
            </a:extLst>
          </p:cNvPr>
          <p:cNvSpPr>
            <a:spLocks noGrp="1"/>
          </p:cNvSpPr>
          <p:nvPr>
            <p:ph type="pic" sz="quarter" idx="81"/>
          </p:nvPr>
        </p:nvSpPr>
        <p:spPr>
          <a:xfrm>
            <a:off x="6210399" y="1625600"/>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37" name="Picture Placeholder 67">
            <a:extLst>
              <a:ext uri="{FF2B5EF4-FFF2-40B4-BE49-F238E27FC236}">
                <a16:creationId xmlns:a16="http://schemas.microsoft.com/office/drawing/2014/main" id="{2486C429-CDC2-12C0-A2B9-69BDD43E36CB}"/>
              </a:ext>
            </a:extLst>
          </p:cNvPr>
          <p:cNvSpPr>
            <a:spLocks noGrp="1"/>
          </p:cNvSpPr>
          <p:nvPr>
            <p:ph type="pic" sz="quarter" idx="82"/>
          </p:nvPr>
        </p:nvSpPr>
        <p:spPr>
          <a:xfrm>
            <a:off x="6210399" y="2785121"/>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38" name="Picture Placeholder 67">
            <a:extLst>
              <a:ext uri="{FF2B5EF4-FFF2-40B4-BE49-F238E27FC236}">
                <a16:creationId xmlns:a16="http://schemas.microsoft.com/office/drawing/2014/main" id="{64B599D0-FE67-0140-671E-386743F55D68}"/>
              </a:ext>
            </a:extLst>
          </p:cNvPr>
          <p:cNvSpPr>
            <a:spLocks noGrp="1"/>
          </p:cNvSpPr>
          <p:nvPr>
            <p:ph type="pic" sz="quarter" idx="83"/>
          </p:nvPr>
        </p:nvSpPr>
        <p:spPr>
          <a:xfrm>
            <a:off x="6210399" y="3944643"/>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39" name="Picture Placeholder 67">
            <a:extLst>
              <a:ext uri="{FF2B5EF4-FFF2-40B4-BE49-F238E27FC236}">
                <a16:creationId xmlns:a16="http://schemas.microsoft.com/office/drawing/2014/main" id="{00ED604B-6194-2EA2-7082-0151440C0013}"/>
              </a:ext>
            </a:extLst>
          </p:cNvPr>
          <p:cNvSpPr>
            <a:spLocks noGrp="1"/>
          </p:cNvSpPr>
          <p:nvPr>
            <p:ph type="pic" sz="quarter" idx="84"/>
          </p:nvPr>
        </p:nvSpPr>
        <p:spPr>
          <a:xfrm>
            <a:off x="6210399" y="5104164"/>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40" name="Picture Placeholder 67">
            <a:extLst>
              <a:ext uri="{FF2B5EF4-FFF2-40B4-BE49-F238E27FC236}">
                <a16:creationId xmlns:a16="http://schemas.microsoft.com/office/drawing/2014/main" id="{798CD59B-C98F-5B44-E1BD-D2BE8C15482D}"/>
              </a:ext>
            </a:extLst>
          </p:cNvPr>
          <p:cNvSpPr>
            <a:spLocks noGrp="1"/>
          </p:cNvSpPr>
          <p:nvPr>
            <p:ph type="pic" sz="quarter" idx="86"/>
          </p:nvPr>
        </p:nvSpPr>
        <p:spPr>
          <a:xfrm>
            <a:off x="8142000" y="1625600"/>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41" name="Picture Placeholder 67">
            <a:extLst>
              <a:ext uri="{FF2B5EF4-FFF2-40B4-BE49-F238E27FC236}">
                <a16:creationId xmlns:a16="http://schemas.microsoft.com/office/drawing/2014/main" id="{D005B108-35FA-8293-0DCB-8244FE36A145}"/>
              </a:ext>
            </a:extLst>
          </p:cNvPr>
          <p:cNvSpPr>
            <a:spLocks noGrp="1"/>
          </p:cNvSpPr>
          <p:nvPr>
            <p:ph type="pic" sz="quarter" idx="87"/>
          </p:nvPr>
        </p:nvSpPr>
        <p:spPr>
          <a:xfrm>
            <a:off x="8142000" y="2785121"/>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42" name="Picture Placeholder 67">
            <a:extLst>
              <a:ext uri="{FF2B5EF4-FFF2-40B4-BE49-F238E27FC236}">
                <a16:creationId xmlns:a16="http://schemas.microsoft.com/office/drawing/2014/main" id="{C6341A90-ADC7-D098-F4CE-A5C6C2799AB2}"/>
              </a:ext>
            </a:extLst>
          </p:cNvPr>
          <p:cNvSpPr>
            <a:spLocks noGrp="1"/>
          </p:cNvSpPr>
          <p:nvPr>
            <p:ph type="pic" sz="quarter" idx="88"/>
          </p:nvPr>
        </p:nvSpPr>
        <p:spPr>
          <a:xfrm>
            <a:off x="8142000" y="3944643"/>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43" name="Picture Placeholder 67">
            <a:extLst>
              <a:ext uri="{FF2B5EF4-FFF2-40B4-BE49-F238E27FC236}">
                <a16:creationId xmlns:a16="http://schemas.microsoft.com/office/drawing/2014/main" id="{F5AA5FC6-DF93-93A9-044E-C3C26C0CC8DB}"/>
              </a:ext>
            </a:extLst>
          </p:cNvPr>
          <p:cNvSpPr>
            <a:spLocks noGrp="1"/>
          </p:cNvSpPr>
          <p:nvPr>
            <p:ph type="pic" sz="quarter" idx="89"/>
          </p:nvPr>
        </p:nvSpPr>
        <p:spPr>
          <a:xfrm>
            <a:off x="8142000" y="5104164"/>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44" name="Picture Placeholder 67">
            <a:extLst>
              <a:ext uri="{FF2B5EF4-FFF2-40B4-BE49-F238E27FC236}">
                <a16:creationId xmlns:a16="http://schemas.microsoft.com/office/drawing/2014/main" id="{B9BC6D1D-3BDD-5E21-7CB7-8F4E3CB5345E}"/>
              </a:ext>
            </a:extLst>
          </p:cNvPr>
          <p:cNvSpPr>
            <a:spLocks noGrp="1"/>
          </p:cNvSpPr>
          <p:nvPr>
            <p:ph type="pic" sz="quarter" idx="91"/>
          </p:nvPr>
        </p:nvSpPr>
        <p:spPr>
          <a:xfrm>
            <a:off x="10073603" y="1625600"/>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45" name="Picture Placeholder 67">
            <a:extLst>
              <a:ext uri="{FF2B5EF4-FFF2-40B4-BE49-F238E27FC236}">
                <a16:creationId xmlns:a16="http://schemas.microsoft.com/office/drawing/2014/main" id="{ACF71E60-649C-0C9D-3BBA-C5A2FD203428}"/>
              </a:ext>
            </a:extLst>
          </p:cNvPr>
          <p:cNvSpPr>
            <a:spLocks noGrp="1"/>
          </p:cNvSpPr>
          <p:nvPr>
            <p:ph type="pic" sz="quarter" idx="92"/>
          </p:nvPr>
        </p:nvSpPr>
        <p:spPr>
          <a:xfrm>
            <a:off x="10073603" y="2785121"/>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46" name="Picture Placeholder 67">
            <a:extLst>
              <a:ext uri="{FF2B5EF4-FFF2-40B4-BE49-F238E27FC236}">
                <a16:creationId xmlns:a16="http://schemas.microsoft.com/office/drawing/2014/main" id="{850B7DE1-28BD-736F-14E8-FA88F5FDEE5F}"/>
              </a:ext>
            </a:extLst>
          </p:cNvPr>
          <p:cNvSpPr>
            <a:spLocks noGrp="1"/>
          </p:cNvSpPr>
          <p:nvPr>
            <p:ph type="pic" sz="quarter" idx="93"/>
          </p:nvPr>
        </p:nvSpPr>
        <p:spPr>
          <a:xfrm>
            <a:off x="10073603" y="3944643"/>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47" name="Picture Placeholder 67">
            <a:extLst>
              <a:ext uri="{FF2B5EF4-FFF2-40B4-BE49-F238E27FC236}">
                <a16:creationId xmlns:a16="http://schemas.microsoft.com/office/drawing/2014/main" id="{7BD960A8-F81F-30B3-0DC0-442EA28F3BDD}"/>
              </a:ext>
            </a:extLst>
          </p:cNvPr>
          <p:cNvSpPr>
            <a:spLocks noGrp="1"/>
          </p:cNvSpPr>
          <p:nvPr>
            <p:ph type="pic" sz="quarter" idx="94"/>
          </p:nvPr>
        </p:nvSpPr>
        <p:spPr>
          <a:xfrm>
            <a:off x="10073603" y="5104164"/>
            <a:ext cx="1702800" cy="975600"/>
          </a:xfrm>
          <a:prstGeom prst="rect">
            <a:avLst/>
          </a:prstGeom>
        </p:spPr>
        <p:txBody>
          <a:bodyPr anchor="ctr">
            <a:noAutofit/>
          </a:bodyPr>
          <a:lstStyle>
            <a:lvl1pPr algn="ctr">
              <a:defRPr sz="1000">
                <a:solidFill>
                  <a:srgbClr val="3D3F48"/>
                </a:solidFill>
              </a:defRPr>
            </a:lvl1pPr>
          </a:lstStyle>
          <a:p>
            <a:r>
              <a:rPr lang="en-US"/>
              <a:t>Click icon to add picture</a:t>
            </a:r>
          </a:p>
        </p:txBody>
      </p:sp>
      <p:sp>
        <p:nvSpPr>
          <p:cNvPr id="48" name="Text Placeholder 6">
            <a:extLst>
              <a:ext uri="{FF2B5EF4-FFF2-40B4-BE49-F238E27FC236}">
                <a16:creationId xmlns:a16="http://schemas.microsoft.com/office/drawing/2014/main" id="{033326A9-439E-463E-5D8F-15A41CDCDACE}"/>
              </a:ext>
            </a:extLst>
          </p:cNvPr>
          <p:cNvSpPr>
            <a:spLocks noGrp="1"/>
          </p:cNvSpPr>
          <p:nvPr>
            <p:ph type="body" sz="quarter" idx="13" hasCustomPrompt="1"/>
          </p:nvPr>
        </p:nvSpPr>
        <p:spPr>
          <a:xfrm>
            <a:off x="415926" y="1246597"/>
            <a:ext cx="11360479" cy="193899"/>
          </a:xfrm>
        </p:spPr>
        <p:txBody>
          <a:bodyPr anchor="t" anchorCtr="0">
            <a:noAutofit/>
          </a:bodyPr>
          <a:lstStyle>
            <a:lvl1pPr marL="0" indent="0">
              <a:buNone/>
              <a:defRPr sz="1400" b="1" cap="all" baseline="0">
                <a:solidFill>
                  <a:schemeClr val="tx1"/>
                </a:solidFill>
              </a:defRPr>
            </a:lvl1pPr>
            <a:lvl4pPr marL="1371566" indent="0">
              <a:buNone/>
              <a:defRPr/>
            </a:lvl4pPr>
          </a:lstStyle>
          <a:p>
            <a:pPr lvl="0"/>
            <a:r>
              <a:rPr lang="en-US"/>
              <a:t>Click to insert sub headline</a:t>
            </a:r>
          </a:p>
        </p:txBody>
      </p:sp>
      <p:pic>
        <p:nvPicPr>
          <p:cNvPr id="7" name="Google Shape;959;g28b48f0dcfc_0_664" descr="A blurry image of a colorful background&#10;&#10;Description automatically generated">
            <a:extLst>
              <a:ext uri="{FF2B5EF4-FFF2-40B4-BE49-F238E27FC236}">
                <a16:creationId xmlns:a16="http://schemas.microsoft.com/office/drawing/2014/main" id="{A5458A90-3FA0-BBF0-D02E-9519562537C7}"/>
              </a:ext>
            </a:extLst>
          </p:cNvPr>
          <p:cNvPicPr preferRelativeResize="0"/>
          <p:nvPr userDrawn="1"/>
        </p:nvPicPr>
        <p:blipFill rotWithShape="1">
          <a:blip r:embed="rId2">
            <a:alphaModFix/>
          </a:blip>
          <a:srcRect b="97900"/>
          <a:stretch/>
        </p:blipFill>
        <p:spPr>
          <a:xfrm>
            <a:off x="2" y="-19341"/>
            <a:ext cx="12191999" cy="144015"/>
          </a:xfrm>
          <a:prstGeom prst="rect">
            <a:avLst/>
          </a:prstGeom>
          <a:noFill/>
          <a:ln>
            <a:noFill/>
          </a:ln>
        </p:spPr>
      </p:pic>
    </p:spTree>
    <p:extLst>
      <p:ext uri="{BB962C8B-B14F-4D97-AF65-F5344CB8AC3E}">
        <p14:creationId xmlns:p14="http://schemas.microsoft.com/office/powerpoint/2010/main" val="376861190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Umbrella / Ecosystem">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lvl1pPr>
              <a:defRPr>
                <a:solidFill>
                  <a:schemeClr val="bg2"/>
                </a:solidFill>
              </a:defRPr>
            </a:lvl1p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lvl1pPr>
              <a:defRPr>
                <a:solidFill>
                  <a:schemeClr val="bg2"/>
                </a:solidFill>
              </a:defRPr>
            </a:lvl1pPr>
          </a:lstStyle>
          <a:p>
            <a:fld id="{71676EBD-8486-AA4B-82C3-0598DF1E43FA}" type="slidenum">
              <a:rPr lang="en-US" smtClean="0"/>
              <a:pPr/>
              <a:t>‹Nr.›</a:t>
            </a:fld>
            <a:endParaRPr lang="en-US"/>
          </a:p>
        </p:txBody>
      </p:sp>
      <p:sp>
        <p:nvSpPr>
          <p:cNvPr id="2" name="Title 11">
            <a:extLst>
              <a:ext uri="{FF2B5EF4-FFF2-40B4-BE49-F238E27FC236}">
                <a16:creationId xmlns:a16="http://schemas.microsoft.com/office/drawing/2014/main" id="{F9279B66-229A-DE36-7A52-2E85D8B91B1F}"/>
              </a:ext>
            </a:extLst>
          </p:cNvPr>
          <p:cNvSpPr>
            <a:spLocks noGrp="1"/>
          </p:cNvSpPr>
          <p:nvPr>
            <p:ph type="title" hasCustomPrompt="1"/>
          </p:nvPr>
        </p:nvSpPr>
        <p:spPr>
          <a:xfrm>
            <a:off x="415596" y="462506"/>
            <a:ext cx="11360808" cy="553997"/>
          </a:xfrm>
        </p:spPr>
        <p:txBody>
          <a:bodyPr anchor="t" anchorCtr="0">
            <a:spAutoFit/>
          </a:bodyPr>
          <a:lstStyle>
            <a:lvl1pPr>
              <a:defRPr>
                <a:solidFill>
                  <a:schemeClr val="tx1"/>
                </a:solidFill>
              </a:defRPr>
            </a:lvl1pPr>
          </a:lstStyle>
          <a:p>
            <a:r>
              <a:rPr lang="en-US"/>
              <a:t>Click to Insert Headline</a:t>
            </a:r>
          </a:p>
        </p:txBody>
      </p:sp>
      <p:sp>
        <p:nvSpPr>
          <p:cNvPr id="14" name="Text Placeholder 44">
            <a:extLst>
              <a:ext uri="{FF2B5EF4-FFF2-40B4-BE49-F238E27FC236}">
                <a16:creationId xmlns:a16="http://schemas.microsoft.com/office/drawing/2014/main" id="{804CA1DA-964D-8983-B109-F21A80BAE6C6}"/>
              </a:ext>
            </a:extLst>
          </p:cNvPr>
          <p:cNvSpPr>
            <a:spLocks noGrp="1"/>
          </p:cNvSpPr>
          <p:nvPr>
            <p:ph type="body" sz="quarter" idx="23" hasCustomPrompt="1"/>
          </p:nvPr>
        </p:nvSpPr>
        <p:spPr>
          <a:xfrm>
            <a:off x="2037523" y="6364123"/>
            <a:ext cx="8028652" cy="283368"/>
          </a:xfrm>
        </p:spPr>
        <p:txBody>
          <a:bodyPr anchor="ctr">
            <a:noAutofit/>
          </a:bodyPr>
          <a:lstStyle>
            <a:lvl1pPr>
              <a:spcAft>
                <a:spcPts val="0"/>
              </a:spcAft>
              <a:defRPr sz="800" b="0">
                <a:solidFill>
                  <a:schemeClr val="bg2"/>
                </a:solidFill>
              </a:defRPr>
            </a:lvl1pPr>
            <a:lvl2pPr marL="0" indent="0">
              <a:buNone/>
              <a:defRPr/>
            </a:lvl2pPr>
          </a:lstStyle>
          <a:p>
            <a:pPr lvl="0"/>
            <a:r>
              <a:rPr lang="en-US"/>
              <a:t>Add footnotes here if needed</a:t>
            </a:r>
          </a:p>
        </p:txBody>
      </p:sp>
      <p:sp>
        <p:nvSpPr>
          <p:cNvPr id="48" name="Text Placeholder 6">
            <a:extLst>
              <a:ext uri="{FF2B5EF4-FFF2-40B4-BE49-F238E27FC236}">
                <a16:creationId xmlns:a16="http://schemas.microsoft.com/office/drawing/2014/main" id="{033326A9-439E-463E-5D8F-15A41CDCDACE}"/>
              </a:ext>
            </a:extLst>
          </p:cNvPr>
          <p:cNvSpPr>
            <a:spLocks noGrp="1"/>
          </p:cNvSpPr>
          <p:nvPr>
            <p:ph type="body" sz="quarter" idx="13" hasCustomPrompt="1"/>
          </p:nvPr>
        </p:nvSpPr>
        <p:spPr>
          <a:xfrm>
            <a:off x="415926" y="1246597"/>
            <a:ext cx="11360479" cy="193899"/>
          </a:xfrm>
        </p:spPr>
        <p:txBody>
          <a:bodyPr anchor="t" anchorCtr="0">
            <a:noAutofit/>
          </a:bodyPr>
          <a:lstStyle>
            <a:lvl1pPr marL="0" indent="0">
              <a:buNone/>
              <a:defRPr sz="1400" b="1" cap="all" baseline="0">
                <a:solidFill>
                  <a:schemeClr val="tx1"/>
                </a:solidFill>
              </a:defRPr>
            </a:lvl1pPr>
            <a:lvl4pPr marL="1371566" indent="0">
              <a:buNone/>
              <a:defRPr/>
            </a:lvl4pPr>
          </a:lstStyle>
          <a:p>
            <a:pPr lvl="0"/>
            <a:r>
              <a:rPr lang="en-US"/>
              <a:t>Click to insert sub headline</a:t>
            </a:r>
          </a:p>
        </p:txBody>
      </p:sp>
      <p:sp>
        <p:nvSpPr>
          <p:cNvPr id="5" name="Picture Placeholder 67">
            <a:extLst>
              <a:ext uri="{FF2B5EF4-FFF2-40B4-BE49-F238E27FC236}">
                <a16:creationId xmlns:a16="http://schemas.microsoft.com/office/drawing/2014/main" id="{73AC0712-0191-08C0-185F-A00AD277C179}"/>
              </a:ext>
            </a:extLst>
          </p:cNvPr>
          <p:cNvSpPr>
            <a:spLocks noGrp="1"/>
          </p:cNvSpPr>
          <p:nvPr>
            <p:ph type="pic" sz="quarter" idx="68"/>
          </p:nvPr>
        </p:nvSpPr>
        <p:spPr>
          <a:xfrm>
            <a:off x="415596" y="35520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12" name="Picture Placeholder 67">
            <a:extLst>
              <a:ext uri="{FF2B5EF4-FFF2-40B4-BE49-F238E27FC236}">
                <a16:creationId xmlns:a16="http://schemas.microsoft.com/office/drawing/2014/main" id="{D86191EA-1471-2D2D-07BE-4825EB1FD5DF}"/>
              </a:ext>
            </a:extLst>
          </p:cNvPr>
          <p:cNvSpPr>
            <a:spLocks noGrp="1"/>
          </p:cNvSpPr>
          <p:nvPr>
            <p:ph type="pic" sz="quarter" idx="69"/>
          </p:nvPr>
        </p:nvSpPr>
        <p:spPr>
          <a:xfrm>
            <a:off x="415596" y="44806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13" name="Picture Placeholder 67">
            <a:extLst>
              <a:ext uri="{FF2B5EF4-FFF2-40B4-BE49-F238E27FC236}">
                <a16:creationId xmlns:a16="http://schemas.microsoft.com/office/drawing/2014/main" id="{DC0009A7-6111-D760-E21A-7775BD43B923}"/>
              </a:ext>
            </a:extLst>
          </p:cNvPr>
          <p:cNvSpPr>
            <a:spLocks noGrp="1"/>
          </p:cNvSpPr>
          <p:nvPr>
            <p:ph type="pic" sz="quarter" idx="70"/>
          </p:nvPr>
        </p:nvSpPr>
        <p:spPr>
          <a:xfrm>
            <a:off x="415596" y="54092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19" name="Picture Placeholder 67">
            <a:extLst>
              <a:ext uri="{FF2B5EF4-FFF2-40B4-BE49-F238E27FC236}">
                <a16:creationId xmlns:a16="http://schemas.microsoft.com/office/drawing/2014/main" id="{3850DCA7-915D-5FF8-493F-4D66F974AE39}"/>
              </a:ext>
            </a:extLst>
          </p:cNvPr>
          <p:cNvSpPr>
            <a:spLocks noGrp="1"/>
          </p:cNvSpPr>
          <p:nvPr>
            <p:ph type="pic" sz="quarter" idx="73"/>
          </p:nvPr>
        </p:nvSpPr>
        <p:spPr>
          <a:xfrm>
            <a:off x="1379701" y="35520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20" name="Picture Placeholder 67">
            <a:extLst>
              <a:ext uri="{FF2B5EF4-FFF2-40B4-BE49-F238E27FC236}">
                <a16:creationId xmlns:a16="http://schemas.microsoft.com/office/drawing/2014/main" id="{0CCB86EF-FB0A-339E-C5C8-BAF9195DD546}"/>
              </a:ext>
            </a:extLst>
          </p:cNvPr>
          <p:cNvSpPr>
            <a:spLocks noGrp="1"/>
          </p:cNvSpPr>
          <p:nvPr>
            <p:ph type="pic" sz="quarter" idx="74"/>
          </p:nvPr>
        </p:nvSpPr>
        <p:spPr>
          <a:xfrm>
            <a:off x="1379701" y="44806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21" name="Picture Placeholder 67">
            <a:extLst>
              <a:ext uri="{FF2B5EF4-FFF2-40B4-BE49-F238E27FC236}">
                <a16:creationId xmlns:a16="http://schemas.microsoft.com/office/drawing/2014/main" id="{374AED33-E6B9-1B44-A79E-E087AC076AD6}"/>
              </a:ext>
            </a:extLst>
          </p:cNvPr>
          <p:cNvSpPr>
            <a:spLocks noGrp="1"/>
          </p:cNvSpPr>
          <p:nvPr>
            <p:ph type="pic" sz="quarter" idx="75"/>
          </p:nvPr>
        </p:nvSpPr>
        <p:spPr>
          <a:xfrm>
            <a:off x="1379701" y="54092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22" name="Picture Placeholder 67">
            <a:extLst>
              <a:ext uri="{FF2B5EF4-FFF2-40B4-BE49-F238E27FC236}">
                <a16:creationId xmlns:a16="http://schemas.microsoft.com/office/drawing/2014/main" id="{ECDBCE80-092F-EC72-7000-D7E4E42F732F}"/>
              </a:ext>
            </a:extLst>
          </p:cNvPr>
          <p:cNvSpPr>
            <a:spLocks noGrp="1"/>
          </p:cNvSpPr>
          <p:nvPr>
            <p:ph type="pic" sz="quarter" idx="78"/>
          </p:nvPr>
        </p:nvSpPr>
        <p:spPr>
          <a:xfrm>
            <a:off x="2343805" y="35520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23" name="Picture Placeholder 67">
            <a:extLst>
              <a:ext uri="{FF2B5EF4-FFF2-40B4-BE49-F238E27FC236}">
                <a16:creationId xmlns:a16="http://schemas.microsoft.com/office/drawing/2014/main" id="{45684C52-FBF8-A6DE-3FFF-498CB4BE3F4F}"/>
              </a:ext>
            </a:extLst>
          </p:cNvPr>
          <p:cNvSpPr>
            <a:spLocks noGrp="1"/>
          </p:cNvSpPr>
          <p:nvPr>
            <p:ph type="pic" sz="quarter" idx="79"/>
          </p:nvPr>
        </p:nvSpPr>
        <p:spPr>
          <a:xfrm>
            <a:off x="2343805" y="44806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24" name="Picture Placeholder 67">
            <a:extLst>
              <a:ext uri="{FF2B5EF4-FFF2-40B4-BE49-F238E27FC236}">
                <a16:creationId xmlns:a16="http://schemas.microsoft.com/office/drawing/2014/main" id="{747EC4F9-DB30-10DA-B122-604F9679FEA7}"/>
              </a:ext>
            </a:extLst>
          </p:cNvPr>
          <p:cNvSpPr>
            <a:spLocks noGrp="1"/>
          </p:cNvSpPr>
          <p:nvPr>
            <p:ph type="pic" sz="quarter" idx="80"/>
          </p:nvPr>
        </p:nvSpPr>
        <p:spPr>
          <a:xfrm>
            <a:off x="2343805" y="54092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25" name="Picture Placeholder 67">
            <a:extLst>
              <a:ext uri="{FF2B5EF4-FFF2-40B4-BE49-F238E27FC236}">
                <a16:creationId xmlns:a16="http://schemas.microsoft.com/office/drawing/2014/main" id="{4A7332AF-4C22-8849-A675-F4DF8E75160B}"/>
              </a:ext>
            </a:extLst>
          </p:cNvPr>
          <p:cNvSpPr>
            <a:spLocks noGrp="1"/>
          </p:cNvSpPr>
          <p:nvPr>
            <p:ph type="pic" sz="quarter" idx="83"/>
          </p:nvPr>
        </p:nvSpPr>
        <p:spPr>
          <a:xfrm>
            <a:off x="3307911" y="35520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26" name="Picture Placeholder 67">
            <a:extLst>
              <a:ext uri="{FF2B5EF4-FFF2-40B4-BE49-F238E27FC236}">
                <a16:creationId xmlns:a16="http://schemas.microsoft.com/office/drawing/2014/main" id="{E7853AED-3CFF-1D67-04C9-92BBB8AEB24C}"/>
              </a:ext>
            </a:extLst>
          </p:cNvPr>
          <p:cNvSpPr>
            <a:spLocks noGrp="1"/>
          </p:cNvSpPr>
          <p:nvPr>
            <p:ph type="pic" sz="quarter" idx="84"/>
          </p:nvPr>
        </p:nvSpPr>
        <p:spPr>
          <a:xfrm>
            <a:off x="3307911" y="44806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27" name="Picture Placeholder 67">
            <a:extLst>
              <a:ext uri="{FF2B5EF4-FFF2-40B4-BE49-F238E27FC236}">
                <a16:creationId xmlns:a16="http://schemas.microsoft.com/office/drawing/2014/main" id="{D7CC2C2A-DE84-26AB-FF2C-B5E5861EDD48}"/>
              </a:ext>
            </a:extLst>
          </p:cNvPr>
          <p:cNvSpPr>
            <a:spLocks noGrp="1"/>
          </p:cNvSpPr>
          <p:nvPr>
            <p:ph type="pic" sz="quarter" idx="85"/>
          </p:nvPr>
        </p:nvSpPr>
        <p:spPr>
          <a:xfrm>
            <a:off x="3307911" y="54092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28" name="Picture Placeholder 67">
            <a:extLst>
              <a:ext uri="{FF2B5EF4-FFF2-40B4-BE49-F238E27FC236}">
                <a16:creationId xmlns:a16="http://schemas.microsoft.com/office/drawing/2014/main" id="{FAC44138-E86C-6A73-12C9-84BD92739C92}"/>
              </a:ext>
            </a:extLst>
          </p:cNvPr>
          <p:cNvSpPr>
            <a:spLocks noGrp="1"/>
          </p:cNvSpPr>
          <p:nvPr>
            <p:ph type="pic" sz="quarter" idx="88"/>
          </p:nvPr>
        </p:nvSpPr>
        <p:spPr>
          <a:xfrm>
            <a:off x="4272016" y="35520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29" name="Picture Placeholder 67">
            <a:extLst>
              <a:ext uri="{FF2B5EF4-FFF2-40B4-BE49-F238E27FC236}">
                <a16:creationId xmlns:a16="http://schemas.microsoft.com/office/drawing/2014/main" id="{18B6AC3D-4662-4891-4718-85DBE46A2A8F}"/>
              </a:ext>
            </a:extLst>
          </p:cNvPr>
          <p:cNvSpPr>
            <a:spLocks noGrp="1"/>
          </p:cNvSpPr>
          <p:nvPr>
            <p:ph type="pic" sz="quarter" idx="89"/>
          </p:nvPr>
        </p:nvSpPr>
        <p:spPr>
          <a:xfrm>
            <a:off x="4272016" y="44806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30" name="Picture Placeholder 67">
            <a:extLst>
              <a:ext uri="{FF2B5EF4-FFF2-40B4-BE49-F238E27FC236}">
                <a16:creationId xmlns:a16="http://schemas.microsoft.com/office/drawing/2014/main" id="{56669C16-F34A-73A0-0083-77ED319C9043}"/>
              </a:ext>
            </a:extLst>
          </p:cNvPr>
          <p:cNvSpPr>
            <a:spLocks noGrp="1"/>
          </p:cNvSpPr>
          <p:nvPr>
            <p:ph type="pic" sz="quarter" idx="90"/>
          </p:nvPr>
        </p:nvSpPr>
        <p:spPr>
          <a:xfrm>
            <a:off x="4272016" y="54092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31" name="Picture Placeholder 67">
            <a:extLst>
              <a:ext uri="{FF2B5EF4-FFF2-40B4-BE49-F238E27FC236}">
                <a16:creationId xmlns:a16="http://schemas.microsoft.com/office/drawing/2014/main" id="{3D9CBFC7-1BE4-AB57-4AB9-AD0E9362F632}"/>
              </a:ext>
            </a:extLst>
          </p:cNvPr>
          <p:cNvSpPr>
            <a:spLocks noGrp="1"/>
          </p:cNvSpPr>
          <p:nvPr>
            <p:ph type="pic" sz="quarter" idx="93"/>
          </p:nvPr>
        </p:nvSpPr>
        <p:spPr>
          <a:xfrm>
            <a:off x="5236121" y="35520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49" name="Picture Placeholder 67">
            <a:extLst>
              <a:ext uri="{FF2B5EF4-FFF2-40B4-BE49-F238E27FC236}">
                <a16:creationId xmlns:a16="http://schemas.microsoft.com/office/drawing/2014/main" id="{43C23B29-4D08-BB34-F7CF-BBEF9C447E24}"/>
              </a:ext>
            </a:extLst>
          </p:cNvPr>
          <p:cNvSpPr>
            <a:spLocks noGrp="1"/>
          </p:cNvSpPr>
          <p:nvPr>
            <p:ph type="pic" sz="quarter" idx="94"/>
          </p:nvPr>
        </p:nvSpPr>
        <p:spPr>
          <a:xfrm>
            <a:off x="5236121" y="44806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50" name="Picture Placeholder 67">
            <a:extLst>
              <a:ext uri="{FF2B5EF4-FFF2-40B4-BE49-F238E27FC236}">
                <a16:creationId xmlns:a16="http://schemas.microsoft.com/office/drawing/2014/main" id="{B26C9746-51A8-F5A3-7B93-14D39F01136B}"/>
              </a:ext>
            </a:extLst>
          </p:cNvPr>
          <p:cNvSpPr>
            <a:spLocks noGrp="1"/>
          </p:cNvSpPr>
          <p:nvPr>
            <p:ph type="pic" sz="quarter" idx="95"/>
          </p:nvPr>
        </p:nvSpPr>
        <p:spPr>
          <a:xfrm>
            <a:off x="5236121" y="54092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51" name="Picture Placeholder 67">
            <a:extLst>
              <a:ext uri="{FF2B5EF4-FFF2-40B4-BE49-F238E27FC236}">
                <a16:creationId xmlns:a16="http://schemas.microsoft.com/office/drawing/2014/main" id="{12B2C445-7403-497F-3D44-3BBC0C94FAC7}"/>
              </a:ext>
            </a:extLst>
          </p:cNvPr>
          <p:cNvSpPr>
            <a:spLocks noGrp="1"/>
          </p:cNvSpPr>
          <p:nvPr>
            <p:ph type="pic" sz="quarter" idx="98"/>
          </p:nvPr>
        </p:nvSpPr>
        <p:spPr>
          <a:xfrm>
            <a:off x="6200225" y="35520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52" name="Picture Placeholder 67">
            <a:extLst>
              <a:ext uri="{FF2B5EF4-FFF2-40B4-BE49-F238E27FC236}">
                <a16:creationId xmlns:a16="http://schemas.microsoft.com/office/drawing/2014/main" id="{D6604B27-2614-73BE-106F-D4AE9B7449CC}"/>
              </a:ext>
            </a:extLst>
          </p:cNvPr>
          <p:cNvSpPr>
            <a:spLocks noGrp="1"/>
          </p:cNvSpPr>
          <p:nvPr>
            <p:ph type="pic" sz="quarter" idx="99"/>
          </p:nvPr>
        </p:nvSpPr>
        <p:spPr>
          <a:xfrm>
            <a:off x="6200225" y="44806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53" name="Picture Placeholder 67">
            <a:extLst>
              <a:ext uri="{FF2B5EF4-FFF2-40B4-BE49-F238E27FC236}">
                <a16:creationId xmlns:a16="http://schemas.microsoft.com/office/drawing/2014/main" id="{BA6ACDFF-E069-9948-D774-6DC75318EAE5}"/>
              </a:ext>
            </a:extLst>
          </p:cNvPr>
          <p:cNvSpPr>
            <a:spLocks noGrp="1"/>
          </p:cNvSpPr>
          <p:nvPr>
            <p:ph type="pic" sz="quarter" idx="100"/>
          </p:nvPr>
        </p:nvSpPr>
        <p:spPr>
          <a:xfrm>
            <a:off x="6200225" y="54092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54" name="Picture Placeholder 67">
            <a:extLst>
              <a:ext uri="{FF2B5EF4-FFF2-40B4-BE49-F238E27FC236}">
                <a16:creationId xmlns:a16="http://schemas.microsoft.com/office/drawing/2014/main" id="{00C98A3E-9996-0697-065F-9A2A1FD753FF}"/>
              </a:ext>
            </a:extLst>
          </p:cNvPr>
          <p:cNvSpPr>
            <a:spLocks noGrp="1"/>
          </p:cNvSpPr>
          <p:nvPr>
            <p:ph type="pic" sz="quarter" idx="103"/>
          </p:nvPr>
        </p:nvSpPr>
        <p:spPr>
          <a:xfrm>
            <a:off x="7164331" y="35520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55" name="Picture Placeholder 67">
            <a:extLst>
              <a:ext uri="{FF2B5EF4-FFF2-40B4-BE49-F238E27FC236}">
                <a16:creationId xmlns:a16="http://schemas.microsoft.com/office/drawing/2014/main" id="{F9CEE065-4470-15E3-4DAB-97DDA5C81585}"/>
              </a:ext>
            </a:extLst>
          </p:cNvPr>
          <p:cNvSpPr>
            <a:spLocks noGrp="1"/>
          </p:cNvSpPr>
          <p:nvPr>
            <p:ph type="pic" sz="quarter" idx="104"/>
          </p:nvPr>
        </p:nvSpPr>
        <p:spPr>
          <a:xfrm>
            <a:off x="7164331" y="44806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56" name="Picture Placeholder 67">
            <a:extLst>
              <a:ext uri="{FF2B5EF4-FFF2-40B4-BE49-F238E27FC236}">
                <a16:creationId xmlns:a16="http://schemas.microsoft.com/office/drawing/2014/main" id="{4C6A376A-DF32-9461-A149-6B9BCF7884EF}"/>
              </a:ext>
            </a:extLst>
          </p:cNvPr>
          <p:cNvSpPr>
            <a:spLocks noGrp="1"/>
          </p:cNvSpPr>
          <p:nvPr>
            <p:ph type="pic" sz="quarter" idx="105"/>
          </p:nvPr>
        </p:nvSpPr>
        <p:spPr>
          <a:xfrm>
            <a:off x="7164331" y="54092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57" name="Picture Placeholder 67">
            <a:extLst>
              <a:ext uri="{FF2B5EF4-FFF2-40B4-BE49-F238E27FC236}">
                <a16:creationId xmlns:a16="http://schemas.microsoft.com/office/drawing/2014/main" id="{C95A9E90-9552-9D26-7892-32C1F02EFFB2}"/>
              </a:ext>
            </a:extLst>
          </p:cNvPr>
          <p:cNvSpPr>
            <a:spLocks noGrp="1"/>
          </p:cNvSpPr>
          <p:nvPr>
            <p:ph type="pic" sz="quarter" idx="108"/>
          </p:nvPr>
        </p:nvSpPr>
        <p:spPr>
          <a:xfrm>
            <a:off x="8128436" y="35520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58" name="Picture Placeholder 67">
            <a:extLst>
              <a:ext uri="{FF2B5EF4-FFF2-40B4-BE49-F238E27FC236}">
                <a16:creationId xmlns:a16="http://schemas.microsoft.com/office/drawing/2014/main" id="{5AF9FF13-1DC8-CCAC-B4D2-6585F02D8933}"/>
              </a:ext>
            </a:extLst>
          </p:cNvPr>
          <p:cNvSpPr>
            <a:spLocks noGrp="1"/>
          </p:cNvSpPr>
          <p:nvPr>
            <p:ph type="pic" sz="quarter" idx="109"/>
          </p:nvPr>
        </p:nvSpPr>
        <p:spPr>
          <a:xfrm>
            <a:off x="8128436" y="44806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59" name="Picture Placeholder 67">
            <a:extLst>
              <a:ext uri="{FF2B5EF4-FFF2-40B4-BE49-F238E27FC236}">
                <a16:creationId xmlns:a16="http://schemas.microsoft.com/office/drawing/2014/main" id="{B42FA0B2-1001-B721-1B06-1FAFB8441747}"/>
              </a:ext>
            </a:extLst>
          </p:cNvPr>
          <p:cNvSpPr>
            <a:spLocks noGrp="1"/>
          </p:cNvSpPr>
          <p:nvPr>
            <p:ph type="pic" sz="quarter" idx="110"/>
          </p:nvPr>
        </p:nvSpPr>
        <p:spPr>
          <a:xfrm>
            <a:off x="8128436" y="54092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60" name="Picture Placeholder 67">
            <a:extLst>
              <a:ext uri="{FF2B5EF4-FFF2-40B4-BE49-F238E27FC236}">
                <a16:creationId xmlns:a16="http://schemas.microsoft.com/office/drawing/2014/main" id="{7B4796A5-A85D-BC12-8F79-50E64B385A8D}"/>
              </a:ext>
            </a:extLst>
          </p:cNvPr>
          <p:cNvSpPr>
            <a:spLocks noGrp="1"/>
          </p:cNvSpPr>
          <p:nvPr>
            <p:ph type="pic" sz="quarter" idx="113"/>
          </p:nvPr>
        </p:nvSpPr>
        <p:spPr>
          <a:xfrm>
            <a:off x="9092541" y="35520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61" name="Picture Placeholder 67">
            <a:extLst>
              <a:ext uri="{FF2B5EF4-FFF2-40B4-BE49-F238E27FC236}">
                <a16:creationId xmlns:a16="http://schemas.microsoft.com/office/drawing/2014/main" id="{DC1F7FB4-C607-A06C-9E17-C6225073354D}"/>
              </a:ext>
            </a:extLst>
          </p:cNvPr>
          <p:cNvSpPr>
            <a:spLocks noGrp="1"/>
          </p:cNvSpPr>
          <p:nvPr>
            <p:ph type="pic" sz="quarter" idx="114"/>
          </p:nvPr>
        </p:nvSpPr>
        <p:spPr>
          <a:xfrm>
            <a:off x="9092541" y="44806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62" name="Picture Placeholder 67">
            <a:extLst>
              <a:ext uri="{FF2B5EF4-FFF2-40B4-BE49-F238E27FC236}">
                <a16:creationId xmlns:a16="http://schemas.microsoft.com/office/drawing/2014/main" id="{C5971D6C-6AEA-C950-0093-7359BCBF24A1}"/>
              </a:ext>
            </a:extLst>
          </p:cNvPr>
          <p:cNvSpPr>
            <a:spLocks noGrp="1"/>
          </p:cNvSpPr>
          <p:nvPr>
            <p:ph type="pic" sz="quarter" idx="115"/>
          </p:nvPr>
        </p:nvSpPr>
        <p:spPr>
          <a:xfrm>
            <a:off x="9092541" y="54092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63" name="Picture Placeholder 67">
            <a:extLst>
              <a:ext uri="{FF2B5EF4-FFF2-40B4-BE49-F238E27FC236}">
                <a16:creationId xmlns:a16="http://schemas.microsoft.com/office/drawing/2014/main" id="{9449598D-591F-2C20-02FB-A09883BE2945}"/>
              </a:ext>
            </a:extLst>
          </p:cNvPr>
          <p:cNvSpPr>
            <a:spLocks noGrp="1"/>
          </p:cNvSpPr>
          <p:nvPr>
            <p:ph type="pic" sz="quarter" idx="118"/>
          </p:nvPr>
        </p:nvSpPr>
        <p:spPr>
          <a:xfrm>
            <a:off x="10056645" y="35520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64" name="Picture Placeholder 67">
            <a:extLst>
              <a:ext uri="{FF2B5EF4-FFF2-40B4-BE49-F238E27FC236}">
                <a16:creationId xmlns:a16="http://schemas.microsoft.com/office/drawing/2014/main" id="{5619F3BE-4E19-CFD9-5A5B-181DEFF9A607}"/>
              </a:ext>
            </a:extLst>
          </p:cNvPr>
          <p:cNvSpPr>
            <a:spLocks noGrp="1"/>
          </p:cNvSpPr>
          <p:nvPr>
            <p:ph type="pic" sz="quarter" idx="119"/>
          </p:nvPr>
        </p:nvSpPr>
        <p:spPr>
          <a:xfrm>
            <a:off x="10056645" y="44806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65" name="Picture Placeholder 67">
            <a:extLst>
              <a:ext uri="{FF2B5EF4-FFF2-40B4-BE49-F238E27FC236}">
                <a16:creationId xmlns:a16="http://schemas.microsoft.com/office/drawing/2014/main" id="{91CBFC92-CE49-9D8C-17C2-95E31AA2C0E1}"/>
              </a:ext>
            </a:extLst>
          </p:cNvPr>
          <p:cNvSpPr>
            <a:spLocks noGrp="1"/>
          </p:cNvSpPr>
          <p:nvPr>
            <p:ph type="pic" sz="quarter" idx="120"/>
          </p:nvPr>
        </p:nvSpPr>
        <p:spPr>
          <a:xfrm>
            <a:off x="10056645" y="54092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66" name="Picture Placeholder 67">
            <a:extLst>
              <a:ext uri="{FF2B5EF4-FFF2-40B4-BE49-F238E27FC236}">
                <a16:creationId xmlns:a16="http://schemas.microsoft.com/office/drawing/2014/main" id="{CC4E36AE-B056-A831-76B8-AA81BC7F5891}"/>
              </a:ext>
            </a:extLst>
          </p:cNvPr>
          <p:cNvSpPr>
            <a:spLocks noGrp="1"/>
          </p:cNvSpPr>
          <p:nvPr>
            <p:ph type="pic" sz="quarter" idx="123"/>
          </p:nvPr>
        </p:nvSpPr>
        <p:spPr>
          <a:xfrm>
            <a:off x="11020753" y="35520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67" name="Picture Placeholder 67">
            <a:extLst>
              <a:ext uri="{FF2B5EF4-FFF2-40B4-BE49-F238E27FC236}">
                <a16:creationId xmlns:a16="http://schemas.microsoft.com/office/drawing/2014/main" id="{3EADA64C-FA7E-B4C9-3749-FD9A979A46F3}"/>
              </a:ext>
            </a:extLst>
          </p:cNvPr>
          <p:cNvSpPr>
            <a:spLocks noGrp="1"/>
          </p:cNvSpPr>
          <p:nvPr>
            <p:ph type="pic" sz="quarter" idx="124"/>
          </p:nvPr>
        </p:nvSpPr>
        <p:spPr>
          <a:xfrm>
            <a:off x="11020753" y="44806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68" name="Picture Placeholder 67">
            <a:extLst>
              <a:ext uri="{FF2B5EF4-FFF2-40B4-BE49-F238E27FC236}">
                <a16:creationId xmlns:a16="http://schemas.microsoft.com/office/drawing/2014/main" id="{CAC597D4-5892-8DE0-0913-769AF76126F0}"/>
              </a:ext>
            </a:extLst>
          </p:cNvPr>
          <p:cNvSpPr>
            <a:spLocks noGrp="1"/>
          </p:cNvSpPr>
          <p:nvPr>
            <p:ph type="pic" sz="quarter" idx="125"/>
          </p:nvPr>
        </p:nvSpPr>
        <p:spPr>
          <a:xfrm>
            <a:off x="11020753" y="5409209"/>
            <a:ext cx="755651" cy="756000"/>
          </a:xfrm>
          <a:prstGeom prst="ellipse">
            <a:avLst/>
          </a:prstGeom>
        </p:spPr>
        <p:txBody>
          <a:bodyPr anchor="ctr">
            <a:noAutofit/>
          </a:bodyPr>
          <a:lstStyle>
            <a:lvl1pPr algn="ctr">
              <a:defRPr sz="1000">
                <a:solidFill>
                  <a:schemeClr val="bg2"/>
                </a:solidFill>
              </a:defRPr>
            </a:lvl1pPr>
          </a:lstStyle>
          <a:p>
            <a:r>
              <a:rPr lang="en-US"/>
              <a:t>Click icon to add picture</a:t>
            </a:r>
          </a:p>
        </p:txBody>
      </p:sp>
      <p:sp>
        <p:nvSpPr>
          <p:cNvPr id="69" name="Text Placeholder 6">
            <a:extLst>
              <a:ext uri="{FF2B5EF4-FFF2-40B4-BE49-F238E27FC236}">
                <a16:creationId xmlns:a16="http://schemas.microsoft.com/office/drawing/2014/main" id="{67508CA1-15D9-3403-E18A-84B5B6CDC819}"/>
              </a:ext>
            </a:extLst>
          </p:cNvPr>
          <p:cNvSpPr>
            <a:spLocks noGrp="1"/>
          </p:cNvSpPr>
          <p:nvPr>
            <p:ph type="body" sz="quarter" idx="126" hasCustomPrompt="1"/>
          </p:nvPr>
        </p:nvSpPr>
        <p:spPr>
          <a:xfrm>
            <a:off x="415596" y="1694810"/>
            <a:ext cx="2651125" cy="276999"/>
          </a:xfrm>
        </p:spPr>
        <p:txBody>
          <a:bodyPr>
            <a:noAutofit/>
          </a:bodyPr>
          <a:lstStyle>
            <a:lvl1pPr>
              <a:defRPr sz="1400" b="1" cap="all" baseline="0">
                <a:solidFill>
                  <a:schemeClr val="tx1"/>
                </a:solidFill>
              </a:defRPr>
            </a:lvl1pPr>
          </a:lstStyle>
          <a:p>
            <a:pPr lvl="0"/>
            <a:r>
              <a:rPr lang="en-US"/>
              <a:t>Subtitle</a:t>
            </a:r>
          </a:p>
        </p:txBody>
      </p:sp>
      <p:sp>
        <p:nvSpPr>
          <p:cNvPr id="70" name="Text Placeholder 8">
            <a:extLst>
              <a:ext uri="{FF2B5EF4-FFF2-40B4-BE49-F238E27FC236}">
                <a16:creationId xmlns:a16="http://schemas.microsoft.com/office/drawing/2014/main" id="{654CEFA6-877D-D261-D4FA-6633EBC2C453}"/>
              </a:ext>
            </a:extLst>
          </p:cNvPr>
          <p:cNvSpPr>
            <a:spLocks noGrp="1"/>
          </p:cNvSpPr>
          <p:nvPr>
            <p:ph type="body" sz="quarter" idx="127"/>
          </p:nvPr>
        </p:nvSpPr>
        <p:spPr>
          <a:xfrm>
            <a:off x="415596" y="2157209"/>
            <a:ext cx="2651125" cy="104644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2"/>
                </a:solidFill>
              </a:defRPr>
            </a:lvl4pPr>
          </a:lstStyle>
          <a:p>
            <a:pPr lvl="0"/>
            <a:r>
              <a:rPr lang="en-US"/>
              <a:t>Click to edit Master text styles</a:t>
            </a:r>
          </a:p>
          <a:p>
            <a:pPr lvl="1"/>
            <a:r>
              <a:rPr lang="en-US"/>
              <a:t>Second level</a:t>
            </a:r>
          </a:p>
          <a:p>
            <a:pPr lvl="2"/>
            <a:r>
              <a:rPr lang="en-US"/>
              <a:t>Third level</a:t>
            </a:r>
          </a:p>
        </p:txBody>
      </p:sp>
      <p:cxnSp>
        <p:nvCxnSpPr>
          <p:cNvPr id="71" name="Straight Connector 70">
            <a:extLst>
              <a:ext uri="{FF2B5EF4-FFF2-40B4-BE49-F238E27FC236}">
                <a16:creationId xmlns:a16="http://schemas.microsoft.com/office/drawing/2014/main" id="{07ACA641-1F03-46CD-67A5-9B0612031EE2}"/>
              </a:ext>
            </a:extLst>
          </p:cNvPr>
          <p:cNvCxnSpPr>
            <a:cxnSpLocks/>
          </p:cNvCxnSpPr>
          <p:nvPr userDrawn="1"/>
        </p:nvCxnSpPr>
        <p:spPr>
          <a:xfrm>
            <a:off x="415596" y="3381209"/>
            <a:ext cx="265112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ECA8063-0A1B-B9CB-6217-5407C922F816}"/>
              </a:ext>
            </a:extLst>
          </p:cNvPr>
          <p:cNvCxnSpPr>
            <a:cxnSpLocks/>
          </p:cNvCxnSpPr>
          <p:nvPr userDrawn="1"/>
        </p:nvCxnSpPr>
        <p:spPr>
          <a:xfrm>
            <a:off x="3318824" y="3381209"/>
            <a:ext cx="265112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3" name="Text Placeholder 6">
            <a:extLst>
              <a:ext uri="{FF2B5EF4-FFF2-40B4-BE49-F238E27FC236}">
                <a16:creationId xmlns:a16="http://schemas.microsoft.com/office/drawing/2014/main" id="{27CC99A3-A3E0-7C4E-ECE4-F33CCCC413DF}"/>
              </a:ext>
            </a:extLst>
          </p:cNvPr>
          <p:cNvSpPr>
            <a:spLocks noGrp="1"/>
          </p:cNvSpPr>
          <p:nvPr>
            <p:ph type="body" sz="quarter" idx="128" hasCustomPrompt="1"/>
          </p:nvPr>
        </p:nvSpPr>
        <p:spPr>
          <a:xfrm>
            <a:off x="3318824" y="1694810"/>
            <a:ext cx="2651125" cy="276999"/>
          </a:xfrm>
        </p:spPr>
        <p:txBody>
          <a:bodyPr>
            <a:noAutofit/>
          </a:bodyPr>
          <a:lstStyle>
            <a:lvl1pPr>
              <a:defRPr sz="1400" b="1" cap="all" baseline="0">
                <a:solidFill>
                  <a:schemeClr val="tx1"/>
                </a:solidFill>
              </a:defRPr>
            </a:lvl1pPr>
          </a:lstStyle>
          <a:p>
            <a:pPr lvl="0"/>
            <a:r>
              <a:rPr lang="en-US"/>
              <a:t>Subtitle</a:t>
            </a:r>
          </a:p>
        </p:txBody>
      </p:sp>
      <p:sp>
        <p:nvSpPr>
          <p:cNvPr id="74" name="Text Placeholder 8">
            <a:extLst>
              <a:ext uri="{FF2B5EF4-FFF2-40B4-BE49-F238E27FC236}">
                <a16:creationId xmlns:a16="http://schemas.microsoft.com/office/drawing/2014/main" id="{674F83CD-9EE0-F52E-746E-7A78EEE06F31}"/>
              </a:ext>
            </a:extLst>
          </p:cNvPr>
          <p:cNvSpPr>
            <a:spLocks noGrp="1"/>
          </p:cNvSpPr>
          <p:nvPr>
            <p:ph type="body" sz="quarter" idx="129"/>
          </p:nvPr>
        </p:nvSpPr>
        <p:spPr>
          <a:xfrm>
            <a:off x="3318824" y="2157209"/>
            <a:ext cx="2651125" cy="104644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2"/>
                </a:solidFill>
              </a:defRPr>
            </a:lvl4pPr>
          </a:lstStyle>
          <a:p>
            <a:pPr lvl="0"/>
            <a:r>
              <a:rPr lang="en-US"/>
              <a:t>Click to edit Master text styles</a:t>
            </a:r>
          </a:p>
          <a:p>
            <a:pPr lvl="1"/>
            <a:r>
              <a:rPr lang="en-US"/>
              <a:t>Second level</a:t>
            </a:r>
          </a:p>
          <a:p>
            <a:pPr lvl="2"/>
            <a:r>
              <a:rPr lang="en-US"/>
              <a:t>Third level</a:t>
            </a:r>
          </a:p>
        </p:txBody>
      </p:sp>
      <p:cxnSp>
        <p:nvCxnSpPr>
          <p:cNvPr id="75" name="Straight Connector 74">
            <a:extLst>
              <a:ext uri="{FF2B5EF4-FFF2-40B4-BE49-F238E27FC236}">
                <a16:creationId xmlns:a16="http://schemas.microsoft.com/office/drawing/2014/main" id="{9679D604-811D-131F-FB70-E1654D6BBA92}"/>
              </a:ext>
            </a:extLst>
          </p:cNvPr>
          <p:cNvCxnSpPr>
            <a:cxnSpLocks/>
          </p:cNvCxnSpPr>
          <p:nvPr userDrawn="1"/>
        </p:nvCxnSpPr>
        <p:spPr>
          <a:xfrm>
            <a:off x="6222051" y="3381209"/>
            <a:ext cx="265112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6" name="Text Placeholder 6">
            <a:extLst>
              <a:ext uri="{FF2B5EF4-FFF2-40B4-BE49-F238E27FC236}">
                <a16:creationId xmlns:a16="http://schemas.microsoft.com/office/drawing/2014/main" id="{9352A9AE-0E4F-0568-9690-37F03F64D74D}"/>
              </a:ext>
            </a:extLst>
          </p:cNvPr>
          <p:cNvSpPr>
            <a:spLocks noGrp="1"/>
          </p:cNvSpPr>
          <p:nvPr>
            <p:ph type="body" sz="quarter" idx="130" hasCustomPrompt="1"/>
          </p:nvPr>
        </p:nvSpPr>
        <p:spPr>
          <a:xfrm>
            <a:off x="6222051" y="1694810"/>
            <a:ext cx="2651125" cy="276999"/>
          </a:xfrm>
        </p:spPr>
        <p:txBody>
          <a:bodyPr>
            <a:noAutofit/>
          </a:bodyPr>
          <a:lstStyle>
            <a:lvl1pPr>
              <a:defRPr sz="1400" b="1" cap="all" baseline="0">
                <a:solidFill>
                  <a:schemeClr val="tx1"/>
                </a:solidFill>
              </a:defRPr>
            </a:lvl1pPr>
          </a:lstStyle>
          <a:p>
            <a:pPr lvl="0"/>
            <a:r>
              <a:rPr lang="en-US"/>
              <a:t>Subtitle</a:t>
            </a:r>
          </a:p>
        </p:txBody>
      </p:sp>
      <p:sp>
        <p:nvSpPr>
          <p:cNvPr id="77" name="Text Placeholder 8">
            <a:extLst>
              <a:ext uri="{FF2B5EF4-FFF2-40B4-BE49-F238E27FC236}">
                <a16:creationId xmlns:a16="http://schemas.microsoft.com/office/drawing/2014/main" id="{0697CC59-65A5-9238-6E7D-C2D9239A6BB9}"/>
              </a:ext>
            </a:extLst>
          </p:cNvPr>
          <p:cNvSpPr>
            <a:spLocks noGrp="1"/>
          </p:cNvSpPr>
          <p:nvPr>
            <p:ph type="body" sz="quarter" idx="131"/>
          </p:nvPr>
        </p:nvSpPr>
        <p:spPr>
          <a:xfrm>
            <a:off x="6222051" y="2157209"/>
            <a:ext cx="2651125" cy="104644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2"/>
                </a:solidFill>
              </a:defRPr>
            </a:lvl4pPr>
          </a:lstStyle>
          <a:p>
            <a:pPr lvl="0"/>
            <a:r>
              <a:rPr lang="en-US"/>
              <a:t>Click to edit Master text styles</a:t>
            </a:r>
          </a:p>
          <a:p>
            <a:pPr lvl="1"/>
            <a:r>
              <a:rPr lang="en-US"/>
              <a:t>Second level</a:t>
            </a:r>
          </a:p>
          <a:p>
            <a:pPr lvl="2"/>
            <a:r>
              <a:rPr lang="en-US"/>
              <a:t>Third level</a:t>
            </a:r>
          </a:p>
        </p:txBody>
      </p:sp>
      <p:cxnSp>
        <p:nvCxnSpPr>
          <p:cNvPr id="78" name="Straight Connector 77">
            <a:extLst>
              <a:ext uri="{FF2B5EF4-FFF2-40B4-BE49-F238E27FC236}">
                <a16:creationId xmlns:a16="http://schemas.microsoft.com/office/drawing/2014/main" id="{60AB1576-9DC3-363B-82B2-FF974A0250CD}"/>
              </a:ext>
            </a:extLst>
          </p:cNvPr>
          <p:cNvCxnSpPr>
            <a:cxnSpLocks/>
          </p:cNvCxnSpPr>
          <p:nvPr userDrawn="1"/>
        </p:nvCxnSpPr>
        <p:spPr>
          <a:xfrm>
            <a:off x="9125279" y="3381209"/>
            <a:ext cx="265112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9" name="Text Placeholder 6">
            <a:extLst>
              <a:ext uri="{FF2B5EF4-FFF2-40B4-BE49-F238E27FC236}">
                <a16:creationId xmlns:a16="http://schemas.microsoft.com/office/drawing/2014/main" id="{E7E57963-EA0F-FD1D-56E7-41CF93D89561}"/>
              </a:ext>
            </a:extLst>
          </p:cNvPr>
          <p:cNvSpPr>
            <a:spLocks noGrp="1"/>
          </p:cNvSpPr>
          <p:nvPr>
            <p:ph type="body" sz="quarter" idx="132" hasCustomPrompt="1"/>
          </p:nvPr>
        </p:nvSpPr>
        <p:spPr>
          <a:xfrm>
            <a:off x="9125279" y="1694810"/>
            <a:ext cx="2651125" cy="276999"/>
          </a:xfrm>
        </p:spPr>
        <p:txBody>
          <a:bodyPr>
            <a:noAutofit/>
          </a:bodyPr>
          <a:lstStyle>
            <a:lvl1pPr>
              <a:defRPr sz="1400" b="1" cap="all" baseline="0">
                <a:solidFill>
                  <a:schemeClr val="tx1"/>
                </a:solidFill>
              </a:defRPr>
            </a:lvl1pPr>
          </a:lstStyle>
          <a:p>
            <a:pPr lvl="0"/>
            <a:r>
              <a:rPr lang="en-US"/>
              <a:t>Subtitle</a:t>
            </a:r>
          </a:p>
        </p:txBody>
      </p:sp>
      <p:sp>
        <p:nvSpPr>
          <p:cNvPr id="80" name="Text Placeholder 8">
            <a:extLst>
              <a:ext uri="{FF2B5EF4-FFF2-40B4-BE49-F238E27FC236}">
                <a16:creationId xmlns:a16="http://schemas.microsoft.com/office/drawing/2014/main" id="{26F49B72-DF2F-A6A6-B149-F023B2668F44}"/>
              </a:ext>
            </a:extLst>
          </p:cNvPr>
          <p:cNvSpPr>
            <a:spLocks noGrp="1"/>
          </p:cNvSpPr>
          <p:nvPr>
            <p:ph type="body" sz="quarter" idx="133"/>
          </p:nvPr>
        </p:nvSpPr>
        <p:spPr>
          <a:xfrm>
            <a:off x="9125279" y="2157209"/>
            <a:ext cx="2651125" cy="104644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2"/>
                </a:solidFill>
              </a:defRPr>
            </a:lvl4pPr>
          </a:lstStyle>
          <a:p>
            <a:pPr lvl="0"/>
            <a:r>
              <a:rPr lang="en-US"/>
              <a:t>Click to edit Master text styles</a:t>
            </a:r>
          </a:p>
          <a:p>
            <a:pPr lvl="1"/>
            <a:r>
              <a:rPr lang="en-US"/>
              <a:t>Second level</a:t>
            </a:r>
          </a:p>
          <a:p>
            <a:pPr lvl="2"/>
            <a:r>
              <a:rPr lang="en-US"/>
              <a:t>Third level</a:t>
            </a:r>
          </a:p>
        </p:txBody>
      </p:sp>
      <p:pic>
        <p:nvPicPr>
          <p:cNvPr id="3" name="Google Shape;959;g28b48f0dcfc_0_664" descr="A blurry image of a colorful background&#10;&#10;Description automatically generated">
            <a:extLst>
              <a:ext uri="{FF2B5EF4-FFF2-40B4-BE49-F238E27FC236}">
                <a16:creationId xmlns:a16="http://schemas.microsoft.com/office/drawing/2014/main" id="{447E4632-E4B5-6E4A-9BC1-4816CB52EA9E}"/>
              </a:ext>
            </a:extLst>
          </p:cNvPr>
          <p:cNvPicPr preferRelativeResize="0"/>
          <p:nvPr userDrawn="1"/>
        </p:nvPicPr>
        <p:blipFill rotWithShape="1">
          <a:blip r:embed="rId2">
            <a:alphaModFix/>
          </a:blip>
          <a:srcRect b="97900"/>
          <a:stretch/>
        </p:blipFill>
        <p:spPr>
          <a:xfrm>
            <a:off x="2" y="-19341"/>
            <a:ext cx="12191999" cy="144015"/>
          </a:xfrm>
          <a:prstGeom prst="rect">
            <a:avLst/>
          </a:prstGeom>
          <a:noFill/>
          <a:ln>
            <a:noFill/>
          </a:ln>
        </p:spPr>
      </p:pic>
    </p:spTree>
    <p:extLst>
      <p:ext uri="{BB962C8B-B14F-4D97-AF65-F5344CB8AC3E}">
        <p14:creationId xmlns:p14="http://schemas.microsoft.com/office/powerpoint/2010/main" val="41280829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DO NOT USE - INSTRUCTIONAL 9">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3F3F73B-5A7E-8BBE-68A8-9BD49B10A6BC}"/>
              </a:ext>
            </a:extLst>
          </p:cNvPr>
          <p:cNvSpPr>
            <a:spLocks noGrp="1"/>
          </p:cNvSpPr>
          <p:nvPr>
            <p:ph type="ftr" sz="quarter" idx="11"/>
          </p:nvPr>
        </p:nvSpPr>
        <p:spPr>
          <a:xfrm>
            <a:off x="10447173" y="6356351"/>
            <a:ext cx="956004" cy="365125"/>
          </a:xfrm>
          <a:prstGeom prst="rect">
            <a:avLst/>
          </a:prstGeom>
        </p:spPr>
        <p:txBody>
          <a:bodyPr/>
          <a:lstStyle/>
          <a:p>
            <a:r>
              <a:rPr lang="en-US"/>
              <a:t>© Commvault 2024</a:t>
            </a:r>
          </a:p>
        </p:txBody>
      </p:sp>
      <p:sp>
        <p:nvSpPr>
          <p:cNvPr id="4" name="Slide Number Placeholder 3">
            <a:extLst>
              <a:ext uri="{FF2B5EF4-FFF2-40B4-BE49-F238E27FC236}">
                <a16:creationId xmlns:a16="http://schemas.microsoft.com/office/drawing/2014/main" id="{D481AB5E-0FD8-E0D0-B848-CE488AFA1733}"/>
              </a:ext>
            </a:extLst>
          </p:cNvPr>
          <p:cNvSpPr>
            <a:spLocks noGrp="1"/>
          </p:cNvSpPr>
          <p:nvPr>
            <p:ph type="sldNum" sz="quarter" idx="12"/>
          </p:nvPr>
        </p:nvSpPr>
        <p:spPr/>
        <p:txBody>
          <a:bodyPr/>
          <a:lstStyle/>
          <a:p>
            <a:fld id="{71676EBD-8486-AA4B-82C3-0598DF1E43FA}" type="slidenum">
              <a:rPr lang="en-US" smtClean="0"/>
              <a:t>‹Nr.›</a:t>
            </a:fld>
            <a:endParaRPr lang="en-US"/>
          </a:p>
        </p:txBody>
      </p:sp>
      <p:sp>
        <p:nvSpPr>
          <p:cNvPr id="5" name="Rectangle 4">
            <a:extLst>
              <a:ext uri="{FF2B5EF4-FFF2-40B4-BE49-F238E27FC236}">
                <a16:creationId xmlns:a16="http://schemas.microsoft.com/office/drawing/2014/main" id="{CB32733C-E917-A5A6-1594-5B360FC1919B}"/>
              </a:ext>
            </a:extLst>
          </p:cNvPr>
          <p:cNvSpPr/>
          <p:nvPr userDrawn="1"/>
        </p:nvSpPr>
        <p:spPr>
          <a:xfrm>
            <a:off x="0" y="0"/>
            <a:ext cx="12192000"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 name="TextBox 5">
            <a:extLst>
              <a:ext uri="{FF2B5EF4-FFF2-40B4-BE49-F238E27FC236}">
                <a16:creationId xmlns:a16="http://schemas.microsoft.com/office/drawing/2014/main" id="{6803F741-5B4D-49EC-3B06-5F25CE645285}"/>
              </a:ext>
            </a:extLst>
          </p:cNvPr>
          <p:cNvSpPr txBox="1"/>
          <p:nvPr userDrawn="1"/>
        </p:nvSpPr>
        <p:spPr>
          <a:xfrm>
            <a:off x="415597" y="476250"/>
            <a:ext cx="9315449" cy="1200329"/>
          </a:xfrm>
          <a:prstGeom prst="rect">
            <a:avLst/>
          </a:prstGeom>
          <a:noFill/>
        </p:spPr>
        <p:txBody>
          <a:bodyPr wrap="square" rtlCol="0">
            <a:spAutoFit/>
          </a:bodyPr>
          <a:lstStyle/>
          <a:p>
            <a:r>
              <a:rPr lang="en-US" sz="3200">
                <a:solidFill>
                  <a:schemeClr val="bg1"/>
                </a:solidFill>
              </a:rPr>
              <a:t>THIS IS AN INSTRUCTIONAL SLIDE </a:t>
            </a:r>
          </a:p>
          <a:p>
            <a:r>
              <a:rPr lang="en-US" sz="4000" b="1">
                <a:solidFill>
                  <a:schemeClr val="bg1"/>
                </a:solidFill>
              </a:rPr>
              <a:t>DO NOT USE</a:t>
            </a:r>
            <a:endParaRPr lang="en-US" sz="3200" b="1">
              <a:solidFill>
                <a:schemeClr val="bg1"/>
              </a:solidFill>
            </a:endParaRPr>
          </a:p>
        </p:txBody>
      </p:sp>
      <p:sp>
        <p:nvSpPr>
          <p:cNvPr id="7" name="TextBox 6">
            <a:extLst>
              <a:ext uri="{FF2B5EF4-FFF2-40B4-BE49-F238E27FC236}">
                <a16:creationId xmlns:a16="http://schemas.microsoft.com/office/drawing/2014/main" id="{6BFEBCAE-B9C3-7526-64F5-463C81DE63A2}"/>
              </a:ext>
            </a:extLst>
          </p:cNvPr>
          <p:cNvSpPr txBox="1"/>
          <p:nvPr userDrawn="1"/>
        </p:nvSpPr>
        <p:spPr>
          <a:xfrm>
            <a:off x="329871" y="2451409"/>
            <a:ext cx="10595304" cy="3631763"/>
          </a:xfrm>
          <a:prstGeom prst="rect">
            <a:avLst/>
          </a:prstGeom>
          <a:noFill/>
        </p:spPr>
        <p:txBody>
          <a:bodyPr wrap="square" rtlCol="0">
            <a:spAutoFit/>
          </a:bodyPr>
          <a:lstStyle/>
          <a:p>
            <a:r>
              <a:rPr lang="en-US" sz="11500">
                <a:solidFill>
                  <a:schemeClr val="bg1"/>
                </a:solidFill>
              </a:rPr>
              <a:t>Closing Slide Options</a:t>
            </a:r>
            <a:endParaRPr lang="en-US" sz="11500" b="1">
              <a:solidFill>
                <a:schemeClr val="bg1"/>
              </a:solidFill>
            </a:endParaRPr>
          </a:p>
        </p:txBody>
      </p:sp>
    </p:spTree>
    <p:extLst>
      <p:ext uri="{BB962C8B-B14F-4D97-AF65-F5344CB8AC3E}">
        <p14:creationId xmlns:p14="http://schemas.microsoft.com/office/powerpoint/2010/main" val="123463663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Join the Conversation">
    <p:spTree>
      <p:nvGrpSpPr>
        <p:cNvPr id="1" name=""/>
        <p:cNvGrpSpPr/>
        <p:nvPr/>
      </p:nvGrpSpPr>
      <p:grpSpPr>
        <a:xfrm>
          <a:off x="0" y="0"/>
          <a:ext cx="0" cy="0"/>
          <a:chOff x="0" y="0"/>
          <a:chExt cx="0" cy="0"/>
        </a:xfrm>
      </p:grpSpPr>
      <p:pic>
        <p:nvPicPr>
          <p:cNvPr id="7" name="Picture 6" descr="A blurry image of a red light&#10;&#10;Description automatically generated">
            <a:extLst>
              <a:ext uri="{FF2B5EF4-FFF2-40B4-BE49-F238E27FC236}">
                <a16:creationId xmlns:a16="http://schemas.microsoft.com/office/drawing/2014/main" id="{499618C7-A91E-9E34-27FD-CC7E4CC77007}"/>
              </a:ext>
            </a:extLst>
          </p:cNvPr>
          <p:cNvPicPr>
            <a:picLocks noChangeAspect="1"/>
          </p:cNvPicPr>
          <p:nvPr userDrawn="1"/>
        </p:nvPicPr>
        <p:blipFill rotWithShape="1">
          <a:blip r:embed="rId2"/>
          <a:srcRect l="681" t="596" r="596" b="681"/>
          <a:stretch/>
        </p:blipFill>
        <p:spPr>
          <a:xfrm>
            <a:off x="0" y="0"/>
            <a:ext cx="12192000" cy="6858000"/>
          </a:xfrm>
          <a:prstGeom prst="rect">
            <a:avLst/>
          </a:prstGeom>
        </p:spPr>
      </p:pic>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lvl1pPr>
              <a:defRPr>
                <a:solidFill>
                  <a:schemeClr val="bg1"/>
                </a:solidFill>
              </a:defRPr>
            </a:lvl1p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lvl1pPr>
              <a:defRPr>
                <a:solidFill>
                  <a:schemeClr val="bg1"/>
                </a:solidFill>
              </a:defRPr>
            </a:lvl1pPr>
          </a:lstStyle>
          <a:p>
            <a:fld id="{71676EBD-8486-AA4B-82C3-0598DF1E43FA}" type="slidenum">
              <a:rPr lang="en-US" smtClean="0"/>
              <a:pPr/>
              <a:t>‹Nr.›</a:t>
            </a:fld>
            <a:endParaRPr lang="en-US"/>
          </a:p>
        </p:txBody>
      </p:sp>
      <p:sp>
        <p:nvSpPr>
          <p:cNvPr id="3" name="TextBox 2">
            <a:extLst>
              <a:ext uri="{FF2B5EF4-FFF2-40B4-BE49-F238E27FC236}">
                <a16:creationId xmlns:a16="http://schemas.microsoft.com/office/drawing/2014/main" id="{1D96B41A-F0DE-3C7D-894A-F5BF2BDEFFA5}"/>
              </a:ext>
            </a:extLst>
          </p:cNvPr>
          <p:cNvSpPr txBox="1"/>
          <p:nvPr userDrawn="1"/>
        </p:nvSpPr>
        <p:spPr>
          <a:xfrm>
            <a:off x="831851" y="1320351"/>
            <a:ext cx="7103460" cy="1795363"/>
          </a:xfrm>
          <a:prstGeom prst="rect">
            <a:avLst/>
          </a:prstGeom>
        </p:spPr>
        <p:txBody>
          <a:bodyPr vert="horz" wrap="square" lIns="0" tIns="0" rIns="0" bIns="0" rtlCol="0" anchor="b">
            <a:noAutofit/>
          </a:bodyPr>
          <a:lstStyle/>
          <a:p>
            <a:pPr marL="0" marR="0" lvl="0" indent="0" algn="l" defTabSz="914377" rtl="0" eaLnBrk="1" fontAlgn="auto" latinLnBrk="0" hangingPunct="1">
              <a:lnSpc>
                <a:spcPts val="7000"/>
              </a:lnSpc>
              <a:spcBef>
                <a:spcPts val="0"/>
              </a:spcBef>
              <a:spcAft>
                <a:spcPts val="0"/>
              </a:spcAft>
              <a:buClr>
                <a:srgbClr val="0B2E44"/>
              </a:buClr>
              <a:buSzTx/>
              <a:buFont typeface="Arial"/>
              <a:buNone/>
              <a:tabLst/>
              <a:defRPr/>
            </a:pPr>
            <a:r>
              <a:rPr kumimoji="0" lang="en-US" sz="5400" b="0" i="0" u="none" strike="noStrike" kern="0" cap="none" spc="0" normalizeH="0" baseline="0" noProof="0">
                <a:ln>
                  <a:noFill/>
                </a:ln>
                <a:solidFill>
                  <a:schemeClr val="bg1"/>
                </a:solidFill>
                <a:effectLst/>
                <a:uLnTx/>
                <a:uFillTx/>
                <a:latin typeface="+mj-lt"/>
                <a:cs typeface="Arial"/>
                <a:sym typeface="Arial"/>
              </a:rPr>
              <a:t>Join The Conversation</a:t>
            </a:r>
          </a:p>
        </p:txBody>
      </p:sp>
      <p:sp>
        <p:nvSpPr>
          <p:cNvPr id="4" name="TextBox 3">
            <a:extLst>
              <a:ext uri="{FF2B5EF4-FFF2-40B4-BE49-F238E27FC236}">
                <a16:creationId xmlns:a16="http://schemas.microsoft.com/office/drawing/2014/main" id="{DCCA609E-C6E1-35B1-B935-9D19FA78FD00}"/>
              </a:ext>
            </a:extLst>
          </p:cNvPr>
          <p:cNvSpPr txBox="1">
            <a:spLocks/>
          </p:cNvSpPr>
          <p:nvPr userDrawn="1"/>
        </p:nvSpPr>
        <p:spPr>
          <a:xfrm>
            <a:off x="831854" y="3342602"/>
            <a:ext cx="4321175" cy="430887"/>
          </a:xfrm>
          <a:prstGeom prst="rect">
            <a:avLst/>
          </a:prstGeom>
        </p:spPr>
        <p:txBody>
          <a:bodyPr vert="horz" wrap="square" lIns="0" tIns="0" rIns="0" bIns="0" rtlCol="0">
            <a:noAutofit/>
          </a:bodyPr>
          <a:lstStyle/>
          <a:p>
            <a:pPr marL="0" marR="0" lvl="0" indent="0" algn="l" defTabSz="914377" rtl="0" eaLnBrk="1" fontAlgn="auto" latinLnBrk="0" hangingPunct="1">
              <a:lnSpc>
                <a:spcPct val="100000"/>
              </a:lnSpc>
              <a:spcBef>
                <a:spcPts val="0"/>
              </a:spcBef>
              <a:spcAft>
                <a:spcPts val="600"/>
              </a:spcAft>
              <a:buClr>
                <a:srgbClr val="0B2E44"/>
              </a:buClr>
              <a:buSzTx/>
              <a:buFont typeface="Arial"/>
              <a:buNone/>
              <a:tabLst/>
              <a:defRPr/>
            </a:pPr>
            <a:r>
              <a:rPr kumimoji="0" lang="en-US" sz="1400" b="1" i="0" u="none" strike="noStrike" kern="0" cap="none" spc="0" normalizeH="0" baseline="0" noProof="0">
                <a:ln>
                  <a:noFill/>
                </a:ln>
                <a:solidFill>
                  <a:srgbClr val="F0E5F5"/>
                </a:solidFill>
                <a:effectLst/>
                <a:uLnTx/>
                <a:uFillTx/>
                <a:latin typeface="+mn-lt"/>
                <a:cs typeface="Arial"/>
                <a:sym typeface="Arial"/>
              </a:rPr>
              <a:t>For questions, comments or more information, email us at </a:t>
            </a:r>
            <a:r>
              <a:rPr kumimoji="0" lang="en-US" sz="1400" b="1" i="0" u="none" strike="noStrike" kern="0" cap="none" spc="0" normalizeH="0" baseline="0" noProof="0">
                <a:ln>
                  <a:noFill/>
                </a:ln>
                <a:solidFill>
                  <a:srgbClr val="F0E5F5"/>
                </a:solidFill>
                <a:effectLst/>
                <a:uLnTx/>
                <a:uFillTx/>
                <a:latin typeface="+mn-lt"/>
                <a:cs typeface="Arial"/>
                <a:sym typeface="Arial"/>
                <a:hlinkClick r:id="rId3">
                  <a:extLst>
                    <a:ext uri="{A12FA001-AC4F-418D-AE19-62706E023703}">
                      <ahyp:hlinkClr xmlns:ahyp="http://schemas.microsoft.com/office/drawing/2018/hyperlinkcolor" val="tx"/>
                    </a:ext>
                  </a:extLst>
                </a:hlinkClick>
              </a:rPr>
              <a:t>webinarinfo@commvault.com</a:t>
            </a:r>
            <a:r>
              <a:rPr kumimoji="0" lang="en-US" sz="1400" b="1" i="0" u="none" strike="noStrike" kern="0" cap="none" spc="0" normalizeH="0" baseline="0" noProof="0">
                <a:ln>
                  <a:noFill/>
                </a:ln>
                <a:solidFill>
                  <a:srgbClr val="F0E5F5"/>
                </a:solidFill>
                <a:effectLst/>
                <a:uLnTx/>
                <a:uFillTx/>
                <a:latin typeface="+mn-lt"/>
                <a:cs typeface="Arial"/>
                <a:sym typeface="Arial"/>
              </a:rPr>
              <a:t>.</a:t>
            </a:r>
          </a:p>
        </p:txBody>
      </p:sp>
      <p:sp>
        <p:nvSpPr>
          <p:cNvPr id="6" name="Text Placeholder 6">
            <a:extLst>
              <a:ext uri="{FF2B5EF4-FFF2-40B4-BE49-F238E27FC236}">
                <a16:creationId xmlns:a16="http://schemas.microsoft.com/office/drawing/2014/main" id="{5120B0AA-EA26-50D1-7893-A69FF3F31253}"/>
              </a:ext>
            </a:extLst>
          </p:cNvPr>
          <p:cNvSpPr>
            <a:spLocks noGrp="1"/>
          </p:cNvSpPr>
          <p:nvPr>
            <p:ph type="body" sz="quarter" idx="13" hasCustomPrompt="1"/>
          </p:nvPr>
        </p:nvSpPr>
        <p:spPr>
          <a:xfrm>
            <a:off x="1587503" y="4916651"/>
            <a:ext cx="3789363" cy="246221"/>
          </a:xfrm>
        </p:spPr>
        <p:txBody>
          <a:bodyPr>
            <a:noAutofit/>
          </a:bodyPr>
          <a:lstStyle>
            <a:lvl1pPr>
              <a:defRPr>
                <a:solidFill>
                  <a:schemeClr val="bg1"/>
                </a:solidFill>
              </a:defRPr>
            </a:lvl1pPr>
          </a:lstStyle>
          <a:p>
            <a:pPr lvl="0"/>
            <a:r>
              <a:rPr lang="en-US"/>
              <a:t>Add social link</a:t>
            </a:r>
          </a:p>
        </p:txBody>
      </p:sp>
      <p:sp>
        <p:nvSpPr>
          <p:cNvPr id="8" name="Text Placeholder 6">
            <a:extLst>
              <a:ext uri="{FF2B5EF4-FFF2-40B4-BE49-F238E27FC236}">
                <a16:creationId xmlns:a16="http://schemas.microsoft.com/office/drawing/2014/main" id="{8BE71EA3-601E-D065-8694-7760DD59A752}"/>
              </a:ext>
            </a:extLst>
          </p:cNvPr>
          <p:cNvSpPr>
            <a:spLocks noGrp="1"/>
          </p:cNvSpPr>
          <p:nvPr>
            <p:ph type="body" sz="quarter" idx="24" hasCustomPrompt="1"/>
          </p:nvPr>
        </p:nvSpPr>
        <p:spPr>
          <a:xfrm>
            <a:off x="1587503" y="5580000"/>
            <a:ext cx="3789363" cy="246221"/>
          </a:xfrm>
        </p:spPr>
        <p:txBody>
          <a:bodyPr>
            <a:noAutofit/>
          </a:bodyPr>
          <a:lstStyle>
            <a:lvl1pPr>
              <a:defRPr>
                <a:solidFill>
                  <a:schemeClr val="bg1"/>
                </a:solidFill>
              </a:defRPr>
            </a:lvl1pPr>
          </a:lstStyle>
          <a:p>
            <a:pPr lvl="0"/>
            <a:r>
              <a:rPr lang="en-US"/>
              <a:t>Add social link</a:t>
            </a:r>
          </a:p>
        </p:txBody>
      </p:sp>
      <p:sp>
        <p:nvSpPr>
          <p:cNvPr id="15" name="Text Placeholder 6">
            <a:extLst>
              <a:ext uri="{FF2B5EF4-FFF2-40B4-BE49-F238E27FC236}">
                <a16:creationId xmlns:a16="http://schemas.microsoft.com/office/drawing/2014/main" id="{F9CA403E-89FB-B15F-4066-1F7689FBB259}"/>
              </a:ext>
            </a:extLst>
          </p:cNvPr>
          <p:cNvSpPr>
            <a:spLocks noGrp="1"/>
          </p:cNvSpPr>
          <p:nvPr>
            <p:ph type="body" sz="quarter" idx="25" hasCustomPrompt="1"/>
          </p:nvPr>
        </p:nvSpPr>
        <p:spPr>
          <a:xfrm>
            <a:off x="1587503" y="4253302"/>
            <a:ext cx="3789363" cy="246221"/>
          </a:xfrm>
        </p:spPr>
        <p:txBody>
          <a:bodyPr>
            <a:noAutofit/>
          </a:bodyPr>
          <a:lstStyle>
            <a:lvl1pPr>
              <a:defRPr>
                <a:solidFill>
                  <a:schemeClr val="bg1"/>
                </a:solidFill>
              </a:defRPr>
            </a:lvl1pPr>
          </a:lstStyle>
          <a:p>
            <a:pPr lvl="0"/>
            <a:r>
              <a:rPr lang="en-US"/>
              <a:t>Add social link</a:t>
            </a:r>
          </a:p>
        </p:txBody>
      </p:sp>
      <p:sp>
        <p:nvSpPr>
          <p:cNvPr id="16" name="Picture Placeholder 8">
            <a:extLst>
              <a:ext uri="{FF2B5EF4-FFF2-40B4-BE49-F238E27FC236}">
                <a16:creationId xmlns:a16="http://schemas.microsoft.com/office/drawing/2014/main" id="{762D4AC8-B218-282D-ED9D-91AF85BB3B22}"/>
              </a:ext>
            </a:extLst>
          </p:cNvPr>
          <p:cNvSpPr>
            <a:spLocks noGrp="1"/>
          </p:cNvSpPr>
          <p:nvPr>
            <p:ph type="pic" sz="quarter" idx="16" hasCustomPrompt="1"/>
          </p:nvPr>
        </p:nvSpPr>
        <p:spPr>
          <a:xfrm>
            <a:off x="831851" y="4140000"/>
            <a:ext cx="442800" cy="442047"/>
          </a:xfrm>
        </p:spPr>
        <p:txBody>
          <a:bodyPr anchor="ctr">
            <a:noAutofit/>
          </a:bodyPr>
          <a:lstStyle>
            <a:lvl1pPr algn="ctr">
              <a:defRPr sz="1000">
                <a:solidFill>
                  <a:schemeClr val="bg1"/>
                </a:solidFill>
              </a:defRPr>
            </a:lvl1pPr>
          </a:lstStyle>
          <a:p>
            <a:r>
              <a:rPr lang="en-US"/>
              <a:t>Icon</a:t>
            </a:r>
          </a:p>
        </p:txBody>
      </p:sp>
      <p:sp>
        <p:nvSpPr>
          <p:cNvPr id="17" name="Picture Placeholder 8">
            <a:extLst>
              <a:ext uri="{FF2B5EF4-FFF2-40B4-BE49-F238E27FC236}">
                <a16:creationId xmlns:a16="http://schemas.microsoft.com/office/drawing/2014/main" id="{00EDA48C-F28D-5E25-CE4A-AF1D72B4233D}"/>
              </a:ext>
            </a:extLst>
          </p:cNvPr>
          <p:cNvSpPr>
            <a:spLocks noGrp="1"/>
          </p:cNvSpPr>
          <p:nvPr>
            <p:ph type="pic" sz="quarter" idx="17" hasCustomPrompt="1"/>
          </p:nvPr>
        </p:nvSpPr>
        <p:spPr>
          <a:xfrm>
            <a:off x="831851" y="4803350"/>
            <a:ext cx="442800" cy="442047"/>
          </a:xfrm>
        </p:spPr>
        <p:txBody>
          <a:bodyPr anchor="ctr">
            <a:noAutofit/>
          </a:bodyPr>
          <a:lstStyle>
            <a:lvl1pPr algn="ctr">
              <a:defRPr sz="1000">
                <a:solidFill>
                  <a:schemeClr val="bg1"/>
                </a:solidFill>
              </a:defRPr>
            </a:lvl1pPr>
          </a:lstStyle>
          <a:p>
            <a:r>
              <a:rPr lang="en-US"/>
              <a:t>Icon</a:t>
            </a:r>
          </a:p>
        </p:txBody>
      </p:sp>
      <p:sp>
        <p:nvSpPr>
          <p:cNvPr id="18" name="Picture Placeholder 8">
            <a:extLst>
              <a:ext uri="{FF2B5EF4-FFF2-40B4-BE49-F238E27FC236}">
                <a16:creationId xmlns:a16="http://schemas.microsoft.com/office/drawing/2014/main" id="{62FF89CA-0FA2-2852-D020-F35D6C5F895D}"/>
              </a:ext>
            </a:extLst>
          </p:cNvPr>
          <p:cNvSpPr>
            <a:spLocks noGrp="1"/>
          </p:cNvSpPr>
          <p:nvPr>
            <p:ph type="pic" sz="quarter" idx="18" hasCustomPrompt="1"/>
          </p:nvPr>
        </p:nvSpPr>
        <p:spPr>
          <a:xfrm>
            <a:off x="831851" y="5466699"/>
            <a:ext cx="442800" cy="442047"/>
          </a:xfrm>
        </p:spPr>
        <p:txBody>
          <a:bodyPr anchor="ctr">
            <a:noAutofit/>
          </a:bodyPr>
          <a:lstStyle>
            <a:lvl1pPr algn="ctr">
              <a:defRPr sz="1000">
                <a:solidFill>
                  <a:schemeClr val="bg1"/>
                </a:solidFill>
              </a:defRPr>
            </a:lvl1pPr>
          </a:lstStyle>
          <a:p>
            <a:r>
              <a:rPr lang="en-US"/>
              <a:t>Icon</a:t>
            </a:r>
          </a:p>
        </p:txBody>
      </p:sp>
      <p:pic>
        <p:nvPicPr>
          <p:cNvPr id="2" name="Graphic 1">
            <a:extLst>
              <a:ext uri="{FF2B5EF4-FFF2-40B4-BE49-F238E27FC236}">
                <a16:creationId xmlns:a16="http://schemas.microsoft.com/office/drawing/2014/main" id="{06AAFDE6-9E2A-0B31-D1A7-9D905FF20BF6}"/>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831851" y="6364123"/>
            <a:ext cx="1484309" cy="283368"/>
          </a:xfrm>
          <a:prstGeom prst="rect">
            <a:avLst/>
          </a:prstGeom>
        </p:spPr>
      </p:pic>
    </p:spTree>
    <p:extLst>
      <p:ext uri="{BB962C8B-B14F-4D97-AF65-F5344CB8AC3E}">
        <p14:creationId xmlns:p14="http://schemas.microsoft.com/office/powerpoint/2010/main" val="7963255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4" name="Picture 3" descr="A blurry image of a red light&#10;&#10;Description automatically generated">
            <a:extLst>
              <a:ext uri="{FF2B5EF4-FFF2-40B4-BE49-F238E27FC236}">
                <a16:creationId xmlns:a16="http://schemas.microsoft.com/office/drawing/2014/main" id="{667DAF60-0BAA-1D92-4E23-243F5CC67835}"/>
              </a:ext>
            </a:extLst>
          </p:cNvPr>
          <p:cNvPicPr>
            <a:picLocks noChangeAspect="1"/>
          </p:cNvPicPr>
          <p:nvPr userDrawn="1"/>
        </p:nvPicPr>
        <p:blipFill rotWithShape="1">
          <a:blip r:embed="rId2"/>
          <a:srcRect l="681" t="596" r="596" b="681"/>
          <a:stretch/>
        </p:blipFill>
        <p:spPr>
          <a:xfrm>
            <a:off x="0" y="0"/>
            <a:ext cx="12192000" cy="6858000"/>
          </a:xfrm>
          <a:prstGeom prst="rect">
            <a:avLst/>
          </a:prstGeom>
        </p:spPr>
      </p:pic>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lvl1pPr>
              <a:defRPr>
                <a:solidFill>
                  <a:schemeClr val="bg1"/>
                </a:solidFill>
              </a:defRPr>
            </a:lvl1pPr>
          </a:lstStyle>
          <a:p>
            <a:r>
              <a:rPr lang="en-US"/>
              <a:t>© Commvault 2024</a:t>
            </a:r>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lvl1pPr>
              <a:defRPr>
                <a:solidFill>
                  <a:schemeClr val="bg1"/>
                </a:solidFill>
              </a:defRPr>
            </a:lvl1pPr>
          </a:lstStyle>
          <a:p>
            <a:fld id="{71676EBD-8486-AA4B-82C3-0598DF1E43FA}" type="slidenum">
              <a:rPr lang="en-US" smtClean="0"/>
              <a:pPr/>
              <a:t>‹Nr.›</a:t>
            </a:fld>
            <a:endParaRPr lang="en-US"/>
          </a:p>
        </p:txBody>
      </p:sp>
      <p:sp>
        <p:nvSpPr>
          <p:cNvPr id="3" name="TextBox 2">
            <a:extLst>
              <a:ext uri="{FF2B5EF4-FFF2-40B4-BE49-F238E27FC236}">
                <a16:creationId xmlns:a16="http://schemas.microsoft.com/office/drawing/2014/main" id="{1D96B41A-F0DE-3C7D-894A-F5BF2BDEFFA5}"/>
              </a:ext>
            </a:extLst>
          </p:cNvPr>
          <p:cNvSpPr txBox="1"/>
          <p:nvPr userDrawn="1"/>
        </p:nvSpPr>
        <p:spPr>
          <a:xfrm>
            <a:off x="831849" y="2885437"/>
            <a:ext cx="5492752" cy="1795363"/>
          </a:xfrm>
          <a:prstGeom prst="rect">
            <a:avLst/>
          </a:prstGeom>
        </p:spPr>
        <p:txBody>
          <a:bodyPr vert="horz" wrap="square" lIns="0" tIns="0" rIns="0" bIns="0" rtlCol="0">
            <a:noAutofit/>
          </a:bodyPr>
          <a:lstStyle/>
          <a:p>
            <a:pPr marL="0" marR="0" lvl="0" indent="0" algn="l" defTabSz="914377" rtl="0" eaLnBrk="1" fontAlgn="auto" latinLnBrk="0" hangingPunct="1">
              <a:lnSpc>
                <a:spcPts val="7000"/>
              </a:lnSpc>
              <a:spcBef>
                <a:spcPts val="0"/>
              </a:spcBef>
              <a:spcAft>
                <a:spcPts val="0"/>
              </a:spcAft>
              <a:buClr>
                <a:srgbClr val="0B2E44"/>
              </a:buClr>
              <a:buSzTx/>
              <a:buFont typeface="Arial"/>
              <a:buNone/>
              <a:tabLst/>
              <a:defRPr/>
            </a:pPr>
            <a:r>
              <a:rPr kumimoji="0" lang="en-US" sz="5400" b="0" i="0" u="none" strike="noStrike" kern="0" cap="none" spc="0" normalizeH="0" baseline="0" noProof="0">
                <a:ln>
                  <a:noFill/>
                </a:ln>
                <a:solidFill>
                  <a:schemeClr val="bg1"/>
                </a:solidFill>
                <a:effectLst/>
                <a:uLnTx/>
                <a:uFillTx/>
                <a:latin typeface="+mj-lt"/>
                <a:cs typeface="Arial"/>
                <a:sym typeface="Arial"/>
              </a:rPr>
              <a:t>Q&amp;A</a:t>
            </a:r>
          </a:p>
        </p:txBody>
      </p:sp>
      <p:pic>
        <p:nvPicPr>
          <p:cNvPr id="2" name="Graphic 1">
            <a:extLst>
              <a:ext uri="{FF2B5EF4-FFF2-40B4-BE49-F238E27FC236}">
                <a16:creationId xmlns:a16="http://schemas.microsoft.com/office/drawing/2014/main" id="{FA72A7CC-9228-56F0-AAD4-0DE629FC7CA5}"/>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1851" y="6364123"/>
            <a:ext cx="1484309" cy="283368"/>
          </a:xfrm>
          <a:prstGeom prst="rect">
            <a:avLst/>
          </a:prstGeom>
        </p:spPr>
      </p:pic>
    </p:spTree>
    <p:extLst>
      <p:ext uri="{BB962C8B-B14F-4D97-AF65-F5344CB8AC3E}">
        <p14:creationId xmlns:p14="http://schemas.microsoft.com/office/powerpoint/2010/main" val="2144803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ank You with Contacts">
    <p:spTree>
      <p:nvGrpSpPr>
        <p:cNvPr id="1" name=""/>
        <p:cNvGrpSpPr/>
        <p:nvPr/>
      </p:nvGrpSpPr>
      <p:grpSpPr>
        <a:xfrm>
          <a:off x="0" y="0"/>
          <a:ext cx="0" cy="0"/>
          <a:chOff x="0" y="0"/>
          <a:chExt cx="0" cy="0"/>
        </a:xfrm>
      </p:grpSpPr>
      <p:pic>
        <p:nvPicPr>
          <p:cNvPr id="2" name="Google Shape;959;g28b48f0dcfc_0_664">
            <a:extLst>
              <a:ext uri="{FF2B5EF4-FFF2-40B4-BE49-F238E27FC236}">
                <a16:creationId xmlns:a16="http://schemas.microsoft.com/office/drawing/2014/main" id="{47475FE3-CD1A-8798-A541-F3051D3707D8}"/>
              </a:ext>
            </a:extLst>
          </p:cNvPr>
          <p:cNvPicPr preferRelativeResize="0"/>
          <p:nvPr userDrawn="1"/>
        </p:nvPicPr>
        <p:blipFill>
          <a:blip r:embed="rId2"/>
          <a:srcRect/>
          <a:stretch/>
        </p:blipFill>
        <p:spPr>
          <a:xfrm>
            <a:off x="0" y="-1754"/>
            <a:ext cx="12192000" cy="6860777"/>
          </a:xfrm>
          <a:prstGeom prst="rect">
            <a:avLst/>
          </a:prstGeom>
          <a:noFill/>
          <a:ln>
            <a:noFill/>
          </a:ln>
        </p:spPr>
      </p:pic>
      <p:sp>
        <p:nvSpPr>
          <p:cNvPr id="3" name="TextBox 2">
            <a:extLst>
              <a:ext uri="{FF2B5EF4-FFF2-40B4-BE49-F238E27FC236}">
                <a16:creationId xmlns:a16="http://schemas.microsoft.com/office/drawing/2014/main" id="{1D96B41A-F0DE-3C7D-894A-F5BF2BDEFFA5}"/>
              </a:ext>
            </a:extLst>
          </p:cNvPr>
          <p:cNvSpPr txBox="1"/>
          <p:nvPr userDrawn="1"/>
        </p:nvSpPr>
        <p:spPr>
          <a:xfrm>
            <a:off x="952313" y="2820861"/>
            <a:ext cx="5492752" cy="1795363"/>
          </a:xfrm>
          <a:prstGeom prst="rect">
            <a:avLst/>
          </a:prstGeom>
        </p:spPr>
        <p:txBody>
          <a:bodyPr vert="horz" wrap="square" lIns="0" tIns="0" rIns="0" bIns="0" rtlCol="0">
            <a:noAutofit/>
          </a:bodyPr>
          <a:lstStyle/>
          <a:p>
            <a:pPr marL="0" marR="0" lvl="0" indent="0" algn="l" defTabSz="914377" rtl="0" eaLnBrk="1" fontAlgn="auto" latinLnBrk="0" hangingPunct="1">
              <a:lnSpc>
                <a:spcPts val="7000"/>
              </a:lnSpc>
              <a:spcBef>
                <a:spcPts val="0"/>
              </a:spcBef>
              <a:spcAft>
                <a:spcPts val="0"/>
              </a:spcAft>
              <a:buClr>
                <a:srgbClr val="0B2E44"/>
              </a:buClr>
              <a:buSzTx/>
              <a:buFont typeface="Arial"/>
              <a:buNone/>
              <a:tabLst/>
              <a:defRPr/>
            </a:pPr>
            <a:r>
              <a:rPr kumimoji="0" lang="en-US" sz="5400" b="0" i="0" u="none" strike="noStrike" kern="0" cap="none" spc="0" normalizeH="0" baseline="0" noProof="0">
                <a:ln>
                  <a:noFill/>
                </a:ln>
                <a:solidFill>
                  <a:schemeClr val="bg1"/>
                </a:solidFill>
                <a:effectLst/>
                <a:uLnTx/>
                <a:uFillTx/>
                <a:latin typeface="+mj-lt"/>
                <a:cs typeface="Arial"/>
                <a:sym typeface="Arial"/>
              </a:rPr>
              <a:t>Thank You</a:t>
            </a:r>
          </a:p>
        </p:txBody>
      </p:sp>
      <p:sp>
        <p:nvSpPr>
          <p:cNvPr id="5" name="Footer Placeholder 4">
            <a:extLst>
              <a:ext uri="{FF2B5EF4-FFF2-40B4-BE49-F238E27FC236}">
                <a16:creationId xmlns:a16="http://schemas.microsoft.com/office/drawing/2014/main" id="{DFAEB5E6-A11A-8D91-741A-84C870DEEE89}"/>
              </a:ext>
            </a:extLst>
          </p:cNvPr>
          <p:cNvSpPr txBox="1">
            <a:spLocks/>
          </p:cNvSpPr>
          <p:nvPr userDrawn="1"/>
        </p:nvSpPr>
        <p:spPr>
          <a:xfrm>
            <a:off x="10229851" y="6368875"/>
            <a:ext cx="1009533" cy="255775"/>
          </a:xfrm>
          <a:prstGeom prst="rect">
            <a:avLst/>
          </a:prstGeom>
        </p:spPr>
        <p:txBody>
          <a:bodyPr vert="horz" lIns="0" tIns="0" rIns="0" bIns="0" rtlCol="0" anchor="ctr"/>
          <a:lstStyle>
            <a:defPPr>
              <a:defRPr lang="en-US"/>
            </a:defPPr>
            <a:lvl1pPr marL="0" algn="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t>© Commvault 2024</a:t>
            </a:r>
          </a:p>
        </p:txBody>
      </p:sp>
      <p:sp>
        <p:nvSpPr>
          <p:cNvPr id="8" name="Text Placeholder 6">
            <a:extLst>
              <a:ext uri="{FF2B5EF4-FFF2-40B4-BE49-F238E27FC236}">
                <a16:creationId xmlns:a16="http://schemas.microsoft.com/office/drawing/2014/main" id="{8DC62011-B278-C099-FC18-AA2806A167C9}"/>
              </a:ext>
            </a:extLst>
          </p:cNvPr>
          <p:cNvSpPr>
            <a:spLocks noGrp="1"/>
          </p:cNvSpPr>
          <p:nvPr>
            <p:ph type="body" sz="quarter" idx="13" hasCustomPrompt="1"/>
          </p:nvPr>
        </p:nvSpPr>
        <p:spPr>
          <a:xfrm>
            <a:off x="1707965" y="4954751"/>
            <a:ext cx="3789363" cy="246221"/>
          </a:xfrm>
        </p:spPr>
        <p:txBody>
          <a:bodyPr>
            <a:noAutofit/>
          </a:bodyPr>
          <a:lstStyle>
            <a:lvl1pPr>
              <a:defRPr>
                <a:solidFill>
                  <a:schemeClr val="bg1"/>
                </a:solidFill>
              </a:defRPr>
            </a:lvl1pPr>
          </a:lstStyle>
          <a:p>
            <a:pPr lvl="0"/>
            <a:r>
              <a:rPr lang="en-US"/>
              <a:t>Add social link or delete</a:t>
            </a:r>
          </a:p>
        </p:txBody>
      </p:sp>
      <p:sp>
        <p:nvSpPr>
          <p:cNvPr id="12" name="Text Placeholder 6">
            <a:extLst>
              <a:ext uri="{FF2B5EF4-FFF2-40B4-BE49-F238E27FC236}">
                <a16:creationId xmlns:a16="http://schemas.microsoft.com/office/drawing/2014/main" id="{3EAC2407-6C7B-C5D9-A97E-8EAD255816FA}"/>
              </a:ext>
            </a:extLst>
          </p:cNvPr>
          <p:cNvSpPr>
            <a:spLocks noGrp="1"/>
          </p:cNvSpPr>
          <p:nvPr>
            <p:ph type="body" sz="quarter" idx="14" hasCustomPrompt="1"/>
          </p:nvPr>
        </p:nvSpPr>
        <p:spPr>
          <a:xfrm>
            <a:off x="1707965" y="5618100"/>
            <a:ext cx="3789363" cy="246221"/>
          </a:xfrm>
        </p:spPr>
        <p:txBody>
          <a:bodyPr>
            <a:noAutofit/>
          </a:bodyPr>
          <a:lstStyle>
            <a:lvl1pPr>
              <a:defRPr>
                <a:solidFill>
                  <a:schemeClr val="bg1"/>
                </a:solidFill>
              </a:defRPr>
            </a:lvl1pPr>
          </a:lstStyle>
          <a:p>
            <a:pPr lvl="0"/>
            <a:r>
              <a:rPr lang="en-US"/>
              <a:t>Add social link or delete</a:t>
            </a:r>
          </a:p>
        </p:txBody>
      </p:sp>
      <p:sp>
        <p:nvSpPr>
          <p:cNvPr id="13" name="Text Placeholder 6">
            <a:extLst>
              <a:ext uri="{FF2B5EF4-FFF2-40B4-BE49-F238E27FC236}">
                <a16:creationId xmlns:a16="http://schemas.microsoft.com/office/drawing/2014/main" id="{418E875C-7E3B-E1F0-450F-7D59EC484526}"/>
              </a:ext>
            </a:extLst>
          </p:cNvPr>
          <p:cNvSpPr>
            <a:spLocks noGrp="1"/>
          </p:cNvSpPr>
          <p:nvPr>
            <p:ph type="body" sz="quarter" idx="15" hasCustomPrompt="1"/>
          </p:nvPr>
        </p:nvSpPr>
        <p:spPr>
          <a:xfrm>
            <a:off x="1707965" y="4291402"/>
            <a:ext cx="3789363" cy="246221"/>
          </a:xfrm>
        </p:spPr>
        <p:txBody>
          <a:bodyPr>
            <a:noAutofit/>
          </a:bodyPr>
          <a:lstStyle>
            <a:lvl1pPr>
              <a:defRPr>
                <a:solidFill>
                  <a:schemeClr val="bg1"/>
                </a:solidFill>
              </a:defRPr>
            </a:lvl1pPr>
          </a:lstStyle>
          <a:p>
            <a:pPr lvl="0"/>
            <a:r>
              <a:rPr lang="en-US"/>
              <a:t>Add Email address</a:t>
            </a:r>
          </a:p>
        </p:txBody>
      </p:sp>
      <p:sp>
        <p:nvSpPr>
          <p:cNvPr id="14" name="Picture Placeholder 8">
            <a:extLst>
              <a:ext uri="{FF2B5EF4-FFF2-40B4-BE49-F238E27FC236}">
                <a16:creationId xmlns:a16="http://schemas.microsoft.com/office/drawing/2014/main" id="{8E964943-6AA1-3261-8C83-8FFA83CC9332}"/>
              </a:ext>
            </a:extLst>
          </p:cNvPr>
          <p:cNvSpPr>
            <a:spLocks noGrp="1"/>
          </p:cNvSpPr>
          <p:nvPr>
            <p:ph type="pic" sz="quarter" idx="47" hasCustomPrompt="1"/>
          </p:nvPr>
        </p:nvSpPr>
        <p:spPr>
          <a:xfrm>
            <a:off x="952313" y="4841450"/>
            <a:ext cx="442800" cy="442047"/>
          </a:xfrm>
        </p:spPr>
        <p:txBody>
          <a:bodyPr anchor="ctr">
            <a:noAutofit/>
          </a:bodyPr>
          <a:lstStyle>
            <a:lvl1pPr algn="ctr">
              <a:defRPr sz="1000">
                <a:solidFill>
                  <a:schemeClr val="bg1"/>
                </a:solidFill>
              </a:defRPr>
            </a:lvl1pPr>
          </a:lstStyle>
          <a:p>
            <a:r>
              <a:rPr lang="en-US"/>
              <a:t>Icon</a:t>
            </a:r>
          </a:p>
        </p:txBody>
      </p:sp>
      <p:sp>
        <p:nvSpPr>
          <p:cNvPr id="15" name="Picture Placeholder 8">
            <a:extLst>
              <a:ext uri="{FF2B5EF4-FFF2-40B4-BE49-F238E27FC236}">
                <a16:creationId xmlns:a16="http://schemas.microsoft.com/office/drawing/2014/main" id="{416EECD8-7AAB-06E6-E846-CE511FB983D5}"/>
              </a:ext>
            </a:extLst>
          </p:cNvPr>
          <p:cNvSpPr>
            <a:spLocks noGrp="1"/>
          </p:cNvSpPr>
          <p:nvPr>
            <p:ph type="pic" sz="quarter" idx="48" hasCustomPrompt="1"/>
          </p:nvPr>
        </p:nvSpPr>
        <p:spPr>
          <a:xfrm>
            <a:off x="952313" y="5504799"/>
            <a:ext cx="442800" cy="442047"/>
          </a:xfrm>
        </p:spPr>
        <p:txBody>
          <a:bodyPr anchor="ctr">
            <a:noAutofit/>
          </a:bodyPr>
          <a:lstStyle>
            <a:lvl1pPr algn="ctr">
              <a:defRPr sz="1000">
                <a:solidFill>
                  <a:schemeClr val="bg1"/>
                </a:solidFill>
              </a:defRPr>
            </a:lvl1pPr>
          </a:lstStyle>
          <a:p>
            <a:r>
              <a:rPr lang="en-US"/>
              <a:t>Icon</a:t>
            </a:r>
          </a:p>
        </p:txBody>
      </p:sp>
      <p:pic>
        <p:nvPicPr>
          <p:cNvPr id="4" name="Graphic 3">
            <a:extLst>
              <a:ext uri="{FF2B5EF4-FFF2-40B4-BE49-F238E27FC236}">
                <a16:creationId xmlns:a16="http://schemas.microsoft.com/office/drawing/2014/main" id="{CB6B4A45-9B2F-5F51-1DA8-25AF04F7E9AE}"/>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415597" y="280044"/>
            <a:ext cx="2419871" cy="461975"/>
          </a:xfrm>
          <a:prstGeom prst="rect">
            <a:avLst/>
          </a:prstGeom>
        </p:spPr>
      </p:pic>
      <p:pic>
        <p:nvPicPr>
          <p:cNvPr id="7" name="Picture 6">
            <a:extLst>
              <a:ext uri="{FF2B5EF4-FFF2-40B4-BE49-F238E27FC236}">
                <a16:creationId xmlns:a16="http://schemas.microsoft.com/office/drawing/2014/main" id="{D4AEC584-6510-5734-1488-E07D6F638422}"/>
              </a:ext>
            </a:extLst>
          </p:cNvPr>
          <p:cNvPicPr>
            <a:picLocks noChangeAspect="1"/>
          </p:cNvPicPr>
          <p:nvPr userDrawn="1"/>
        </p:nvPicPr>
        <p:blipFill>
          <a:blip r:embed="rId4"/>
          <a:stretch>
            <a:fillRect/>
          </a:stretch>
        </p:blipFill>
        <p:spPr>
          <a:xfrm>
            <a:off x="1056238" y="4258221"/>
            <a:ext cx="234951" cy="279400"/>
          </a:xfrm>
          <a:prstGeom prst="rect">
            <a:avLst/>
          </a:prstGeom>
        </p:spPr>
      </p:pic>
    </p:spTree>
    <p:extLst>
      <p:ext uri="{BB962C8B-B14F-4D97-AF65-F5344CB8AC3E}">
        <p14:creationId xmlns:p14="http://schemas.microsoft.com/office/powerpoint/2010/main" val="261643548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2" name="Google Shape;959;g28b48f0dcfc_0_664">
            <a:extLst>
              <a:ext uri="{FF2B5EF4-FFF2-40B4-BE49-F238E27FC236}">
                <a16:creationId xmlns:a16="http://schemas.microsoft.com/office/drawing/2014/main" id="{D1751842-501E-372B-09B0-B7AB3DBC93C8}"/>
              </a:ext>
            </a:extLst>
          </p:cNvPr>
          <p:cNvPicPr preferRelativeResize="0"/>
          <p:nvPr userDrawn="1"/>
        </p:nvPicPr>
        <p:blipFill>
          <a:blip r:embed="rId2"/>
          <a:srcRect/>
          <a:stretch/>
        </p:blipFill>
        <p:spPr>
          <a:xfrm>
            <a:off x="0" y="-1754"/>
            <a:ext cx="12192000" cy="6860777"/>
          </a:xfrm>
          <a:prstGeom prst="rect">
            <a:avLst/>
          </a:prstGeom>
          <a:noFill/>
          <a:ln>
            <a:noFill/>
          </a:ln>
        </p:spPr>
      </p:pic>
      <p:sp>
        <p:nvSpPr>
          <p:cNvPr id="3" name="TextBox 2">
            <a:extLst>
              <a:ext uri="{FF2B5EF4-FFF2-40B4-BE49-F238E27FC236}">
                <a16:creationId xmlns:a16="http://schemas.microsoft.com/office/drawing/2014/main" id="{1D96B41A-F0DE-3C7D-894A-F5BF2BDEFFA5}"/>
              </a:ext>
            </a:extLst>
          </p:cNvPr>
          <p:cNvSpPr txBox="1"/>
          <p:nvPr userDrawn="1"/>
        </p:nvSpPr>
        <p:spPr>
          <a:xfrm>
            <a:off x="952313" y="2820861"/>
            <a:ext cx="5492752" cy="1795363"/>
          </a:xfrm>
          <a:prstGeom prst="rect">
            <a:avLst/>
          </a:prstGeom>
        </p:spPr>
        <p:txBody>
          <a:bodyPr vert="horz" wrap="square" lIns="0" tIns="0" rIns="0" bIns="0" rtlCol="0">
            <a:noAutofit/>
          </a:bodyPr>
          <a:lstStyle/>
          <a:p>
            <a:pPr marL="0" marR="0" lvl="0" indent="0" algn="l" defTabSz="914377" rtl="0" eaLnBrk="1" fontAlgn="auto" latinLnBrk="0" hangingPunct="1">
              <a:lnSpc>
                <a:spcPts val="7000"/>
              </a:lnSpc>
              <a:spcBef>
                <a:spcPts val="0"/>
              </a:spcBef>
              <a:spcAft>
                <a:spcPts val="0"/>
              </a:spcAft>
              <a:buClr>
                <a:srgbClr val="0B2E44"/>
              </a:buClr>
              <a:buSzTx/>
              <a:buFont typeface="Arial"/>
              <a:buNone/>
              <a:tabLst/>
              <a:defRPr/>
            </a:pPr>
            <a:r>
              <a:rPr kumimoji="0" lang="en-US" sz="5400" b="0" i="0" u="none" strike="noStrike" kern="0" cap="none" spc="0" normalizeH="0" baseline="0" noProof="0">
                <a:ln>
                  <a:noFill/>
                </a:ln>
                <a:solidFill>
                  <a:schemeClr val="bg1"/>
                </a:solidFill>
                <a:effectLst/>
                <a:uLnTx/>
                <a:uFillTx/>
                <a:latin typeface="+mj-lt"/>
                <a:cs typeface="Arial"/>
                <a:sym typeface="Arial"/>
              </a:rPr>
              <a:t>Thank You</a:t>
            </a:r>
          </a:p>
        </p:txBody>
      </p:sp>
      <p:sp>
        <p:nvSpPr>
          <p:cNvPr id="5" name="Footer Placeholder 4">
            <a:extLst>
              <a:ext uri="{FF2B5EF4-FFF2-40B4-BE49-F238E27FC236}">
                <a16:creationId xmlns:a16="http://schemas.microsoft.com/office/drawing/2014/main" id="{DFAEB5E6-A11A-8D91-741A-84C870DEEE89}"/>
              </a:ext>
            </a:extLst>
          </p:cNvPr>
          <p:cNvSpPr txBox="1">
            <a:spLocks/>
          </p:cNvSpPr>
          <p:nvPr userDrawn="1"/>
        </p:nvSpPr>
        <p:spPr>
          <a:xfrm>
            <a:off x="10229851" y="6368875"/>
            <a:ext cx="1009533" cy="255775"/>
          </a:xfrm>
          <a:prstGeom prst="rect">
            <a:avLst/>
          </a:prstGeom>
        </p:spPr>
        <p:txBody>
          <a:bodyPr vert="horz" lIns="0" tIns="0" rIns="0" bIns="0" rtlCol="0" anchor="ctr"/>
          <a:lstStyle>
            <a:defPPr>
              <a:defRPr lang="en-US"/>
            </a:defPPr>
            <a:lvl1pPr marL="0" algn="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t>© Commvault 2024</a:t>
            </a:r>
          </a:p>
        </p:txBody>
      </p:sp>
      <p:pic>
        <p:nvPicPr>
          <p:cNvPr id="4" name="Graphic 3">
            <a:extLst>
              <a:ext uri="{FF2B5EF4-FFF2-40B4-BE49-F238E27FC236}">
                <a16:creationId xmlns:a16="http://schemas.microsoft.com/office/drawing/2014/main" id="{96C73396-0358-47DA-9E11-8A898BC0529C}"/>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415597" y="280044"/>
            <a:ext cx="2419871" cy="461975"/>
          </a:xfrm>
          <a:prstGeom prst="rect">
            <a:avLst/>
          </a:prstGeom>
        </p:spPr>
      </p:pic>
    </p:spTree>
    <p:extLst>
      <p:ext uri="{BB962C8B-B14F-4D97-AF65-F5344CB8AC3E}">
        <p14:creationId xmlns:p14="http://schemas.microsoft.com/office/powerpoint/2010/main" val="146712147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DO NOT USE - INSTRUCTIONAL 10">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3F3F73B-5A7E-8BBE-68A8-9BD49B10A6BC}"/>
              </a:ext>
            </a:extLst>
          </p:cNvPr>
          <p:cNvSpPr>
            <a:spLocks noGrp="1"/>
          </p:cNvSpPr>
          <p:nvPr>
            <p:ph type="ftr" sz="quarter" idx="11"/>
          </p:nvPr>
        </p:nvSpPr>
        <p:spPr>
          <a:xfrm>
            <a:off x="10447173" y="6356351"/>
            <a:ext cx="956004" cy="365125"/>
          </a:xfrm>
          <a:prstGeom prst="rect">
            <a:avLst/>
          </a:prstGeom>
        </p:spPr>
        <p:txBody>
          <a:bodyPr/>
          <a:lstStyle/>
          <a:p>
            <a:r>
              <a:rPr lang="en-US"/>
              <a:t>© Commvault 2024</a:t>
            </a:r>
          </a:p>
        </p:txBody>
      </p:sp>
      <p:sp>
        <p:nvSpPr>
          <p:cNvPr id="4" name="Slide Number Placeholder 3">
            <a:extLst>
              <a:ext uri="{FF2B5EF4-FFF2-40B4-BE49-F238E27FC236}">
                <a16:creationId xmlns:a16="http://schemas.microsoft.com/office/drawing/2014/main" id="{D481AB5E-0FD8-E0D0-B848-CE488AFA1733}"/>
              </a:ext>
            </a:extLst>
          </p:cNvPr>
          <p:cNvSpPr>
            <a:spLocks noGrp="1"/>
          </p:cNvSpPr>
          <p:nvPr>
            <p:ph type="sldNum" sz="quarter" idx="12"/>
          </p:nvPr>
        </p:nvSpPr>
        <p:spPr/>
        <p:txBody>
          <a:bodyPr/>
          <a:lstStyle/>
          <a:p>
            <a:fld id="{71676EBD-8486-AA4B-82C3-0598DF1E43FA}" type="slidenum">
              <a:rPr lang="en-US" smtClean="0"/>
              <a:t>‹Nr.›</a:t>
            </a:fld>
            <a:endParaRPr lang="en-US"/>
          </a:p>
        </p:txBody>
      </p:sp>
      <p:sp>
        <p:nvSpPr>
          <p:cNvPr id="5" name="Rectangle 4">
            <a:extLst>
              <a:ext uri="{FF2B5EF4-FFF2-40B4-BE49-F238E27FC236}">
                <a16:creationId xmlns:a16="http://schemas.microsoft.com/office/drawing/2014/main" id="{CB32733C-E917-A5A6-1594-5B360FC1919B}"/>
              </a:ext>
            </a:extLst>
          </p:cNvPr>
          <p:cNvSpPr/>
          <p:nvPr userDrawn="1"/>
        </p:nvSpPr>
        <p:spPr>
          <a:xfrm>
            <a:off x="0" y="0"/>
            <a:ext cx="12192000"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 name="TextBox 5">
            <a:extLst>
              <a:ext uri="{FF2B5EF4-FFF2-40B4-BE49-F238E27FC236}">
                <a16:creationId xmlns:a16="http://schemas.microsoft.com/office/drawing/2014/main" id="{6803F741-5B4D-49EC-3B06-5F25CE645285}"/>
              </a:ext>
            </a:extLst>
          </p:cNvPr>
          <p:cNvSpPr txBox="1"/>
          <p:nvPr userDrawn="1"/>
        </p:nvSpPr>
        <p:spPr>
          <a:xfrm>
            <a:off x="415597" y="476250"/>
            <a:ext cx="9315449" cy="1200329"/>
          </a:xfrm>
          <a:prstGeom prst="rect">
            <a:avLst/>
          </a:prstGeom>
          <a:noFill/>
        </p:spPr>
        <p:txBody>
          <a:bodyPr wrap="square" rtlCol="0">
            <a:spAutoFit/>
          </a:bodyPr>
          <a:lstStyle/>
          <a:p>
            <a:r>
              <a:rPr lang="en-US" sz="3200">
                <a:solidFill>
                  <a:schemeClr val="bg1"/>
                </a:solidFill>
              </a:rPr>
              <a:t>THIS IS AN INSTRUCTIONAL SLIDE </a:t>
            </a:r>
          </a:p>
          <a:p>
            <a:r>
              <a:rPr lang="en-US" sz="4000" b="1">
                <a:solidFill>
                  <a:schemeClr val="bg1"/>
                </a:solidFill>
              </a:rPr>
              <a:t>DO NOT USE</a:t>
            </a:r>
            <a:endParaRPr lang="en-US" sz="3200" b="1">
              <a:solidFill>
                <a:schemeClr val="bg1"/>
              </a:solidFill>
            </a:endParaRPr>
          </a:p>
        </p:txBody>
      </p:sp>
      <p:sp>
        <p:nvSpPr>
          <p:cNvPr id="7" name="TextBox 6">
            <a:extLst>
              <a:ext uri="{FF2B5EF4-FFF2-40B4-BE49-F238E27FC236}">
                <a16:creationId xmlns:a16="http://schemas.microsoft.com/office/drawing/2014/main" id="{6BFEBCAE-B9C3-7526-64F5-463C81DE63A2}"/>
              </a:ext>
            </a:extLst>
          </p:cNvPr>
          <p:cNvSpPr txBox="1"/>
          <p:nvPr userDrawn="1"/>
        </p:nvSpPr>
        <p:spPr>
          <a:xfrm>
            <a:off x="329871" y="2451408"/>
            <a:ext cx="10595304" cy="4154984"/>
          </a:xfrm>
          <a:prstGeom prst="rect">
            <a:avLst/>
          </a:prstGeom>
          <a:noFill/>
        </p:spPr>
        <p:txBody>
          <a:bodyPr wrap="square" rtlCol="0">
            <a:spAutoFit/>
          </a:bodyPr>
          <a:lstStyle/>
          <a:p>
            <a:pPr>
              <a:buClrTx/>
              <a:buFontTx/>
            </a:pPr>
            <a:r>
              <a:rPr lang="en-US" sz="6600">
                <a:solidFill>
                  <a:schemeClr val="bg1"/>
                </a:solidFill>
              </a:rPr>
              <a:t>Any slides appearing after this slide are rogue and should NOT be used.</a:t>
            </a:r>
          </a:p>
          <a:p>
            <a:pPr>
              <a:buClrTx/>
              <a:buFontTx/>
            </a:pPr>
            <a:r>
              <a:rPr lang="en-US" sz="6600">
                <a:solidFill>
                  <a:schemeClr val="bg1"/>
                </a:solidFill>
              </a:rPr>
              <a:t>Delete from the master.</a:t>
            </a:r>
          </a:p>
        </p:txBody>
      </p:sp>
      <p:sp>
        <p:nvSpPr>
          <p:cNvPr id="2" name="DO NOT DELETE (BRANDIN)">
            <a:extLst>
              <a:ext uri="{FF2B5EF4-FFF2-40B4-BE49-F238E27FC236}">
                <a16:creationId xmlns:a16="http://schemas.microsoft.com/office/drawing/2014/main" id="{B980F31F-EDBE-46D5-5B53-D339A9E4E50A}"/>
              </a:ext>
            </a:extLst>
          </p:cNvPr>
          <p:cNvSpPr/>
          <p:nvPr userDrawn="1"/>
        </p:nvSpPr>
        <p:spPr>
          <a:xfrm>
            <a:off x="0" y="0"/>
            <a:ext cx="0" cy="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00"/>
          </a:p>
        </p:txBody>
      </p:sp>
    </p:spTree>
    <p:custDataLst>
      <p:custData r:id="rId1"/>
    </p:custDataLst>
    <p:extLst>
      <p:ext uri="{BB962C8B-B14F-4D97-AF65-F5344CB8AC3E}">
        <p14:creationId xmlns:p14="http://schemas.microsoft.com/office/powerpoint/2010/main" val="203550945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Title, Subtitle and Content">
    <p:spTree>
      <p:nvGrpSpPr>
        <p:cNvPr id="1" name=""/>
        <p:cNvGrpSpPr/>
        <p:nvPr/>
      </p:nvGrpSpPr>
      <p:grpSpPr>
        <a:xfrm>
          <a:off x="0" y="0"/>
          <a:ext cx="0" cy="0"/>
          <a:chOff x="0" y="0"/>
          <a:chExt cx="0" cy="0"/>
        </a:xfrm>
      </p:grpSpPr>
      <p:pic>
        <p:nvPicPr>
          <p:cNvPr id="4" name="2" descr="preencoded.png">
            <a:extLst>
              <a:ext uri="{FF2B5EF4-FFF2-40B4-BE49-F238E27FC236}">
                <a16:creationId xmlns:a16="http://schemas.microsoft.com/office/drawing/2014/main" id="{B40AE074-9625-8AF1-8426-8C9051A430FA}"/>
              </a:ext>
            </a:extLst>
          </p:cNvPr>
          <p:cNvPicPr>
            <a:picLocks noChangeAspect="1"/>
          </p:cNvPicPr>
          <p:nvPr userDrawn="1">
            <p:custDataLst>
              <p:tags r:id="rId1"/>
            </p:custDataLst>
          </p:nvPr>
        </p:nvPicPr>
        <p:blipFill>
          <a:blip r:embed="rId3"/>
          <a:srcRect/>
          <a:stretch/>
        </p:blipFill>
        <p:spPr>
          <a:xfrm>
            <a:off x="-38099" y="1"/>
            <a:ext cx="12230100" cy="6896100"/>
          </a:xfrm>
          <a:prstGeom prst="rect">
            <a:avLst/>
          </a:prstGeom>
        </p:spPr>
      </p:pic>
      <p:sp>
        <p:nvSpPr>
          <p:cNvPr id="3" name="Content Placeholder 2">
            <a:extLst>
              <a:ext uri="{FF2B5EF4-FFF2-40B4-BE49-F238E27FC236}">
                <a16:creationId xmlns:a16="http://schemas.microsoft.com/office/drawing/2014/main" id="{FF1D7C0C-9BA2-DCB3-9469-4AF45A12494C}"/>
              </a:ext>
            </a:extLst>
          </p:cNvPr>
          <p:cNvSpPr>
            <a:spLocks noGrp="1"/>
          </p:cNvSpPr>
          <p:nvPr>
            <p:ph idx="1"/>
          </p:nvPr>
        </p:nvSpPr>
        <p:spPr>
          <a:xfrm>
            <a:off x="415596" y="1725497"/>
            <a:ext cx="11360808" cy="4494328"/>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17C63088-FDF0-049A-9B74-7E475F288EAF}"/>
              </a:ext>
            </a:extLst>
          </p:cNvPr>
          <p:cNvSpPr>
            <a:spLocks noGrp="1"/>
          </p:cNvSpPr>
          <p:nvPr>
            <p:ph type="body" sz="quarter" idx="13" hasCustomPrompt="1"/>
          </p:nvPr>
        </p:nvSpPr>
        <p:spPr>
          <a:xfrm>
            <a:off x="415926" y="1246597"/>
            <a:ext cx="11360479" cy="193899"/>
          </a:xfrm>
        </p:spPr>
        <p:txBody>
          <a:bodyPr anchor="t" anchorCtr="0">
            <a:noAutofit/>
          </a:bodyPr>
          <a:lstStyle>
            <a:lvl1pPr marL="0" indent="0">
              <a:buNone/>
              <a:defRPr sz="1400" b="1" cap="all" baseline="0">
                <a:solidFill>
                  <a:schemeClr val="tx1"/>
                </a:solidFill>
              </a:defRPr>
            </a:lvl1pPr>
            <a:lvl4pPr marL="1371566" indent="0">
              <a:buNone/>
              <a:defRPr/>
            </a:lvl4pPr>
          </a:lstStyle>
          <a:p>
            <a:pPr lvl="0"/>
            <a:r>
              <a:rPr lang="en-US"/>
              <a:t>CLICK TO INSERT SUB HEADLINE</a:t>
            </a:r>
          </a:p>
        </p:txBody>
      </p:sp>
      <p:sp>
        <p:nvSpPr>
          <p:cNvPr id="10" name="Footer Placeholder 9">
            <a:extLst>
              <a:ext uri="{FF2B5EF4-FFF2-40B4-BE49-F238E27FC236}">
                <a16:creationId xmlns:a16="http://schemas.microsoft.com/office/drawing/2014/main" id="{299E76A1-29AD-AF28-CB29-D84027765817}"/>
              </a:ext>
            </a:extLst>
          </p:cNvPr>
          <p:cNvSpPr>
            <a:spLocks noGrp="1"/>
          </p:cNvSpPr>
          <p:nvPr>
            <p:ph type="ftr" sz="quarter" idx="14"/>
          </p:nvPr>
        </p:nvSpPr>
        <p:spPr/>
        <p:txBody>
          <a:bodyPr/>
          <a:lstStyle>
            <a:lvl1pPr>
              <a:defRPr>
                <a:solidFill>
                  <a:schemeClr val="bg1"/>
                </a:solidFill>
              </a:defRPr>
            </a:lvl1pPr>
          </a:lstStyle>
          <a:p>
            <a:endParaRPr lang="en-US"/>
          </a:p>
        </p:txBody>
      </p:sp>
      <p:sp>
        <p:nvSpPr>
          <p:cNvPr id="11" name="Slide Number Placeholder 10">
            <a:extLst>
              <a:ext uri="{FF2B5EF4-FFF2-40B4-BE49-F238E27FC236}">
                <a16:creationId xmlns:a16="http://schemas.microsoft.com/office/drawing/2014/main" id="{BD053BDB-5959-1008-1FDB-BD5FE79976E4}"/>
              </a:ext>
            </a:extLst>
          </p:cNvPr>
          <p:cNvSpPr>
            <a:spLocks noGrp="1"/>
          </p:cNvSpPr>
          <p:nvPr>
            <p:ph type="sldNum" sz="quarter" idx="15"/>
          </p:nvPr>
        </p:nvSpPr>
        <p:spPr/>
        <p:txBody>
          <a:bodyPr/>
          <a:lstStyle>
            <a:lvl1pPr>
              <a:defRPr>
                <a:solidFill>
                  <a:schemeClr val="bg1"/>
                </a:solidFill>
              </a:defRPr>
            </a:lvl1pPr>
          </a:lstStyle>
          <a:p>
            <a:fld id="{71676EBD-8486-AA4B-82C3-0598DF1E43FA}" type="slidenum">
              <a:rPr lang="en-US" smtClean="0"/>
              <a:pPr/>
              <a:t>‹Nr.›</a:t>
            </a:fld>
            <a:endParaRPr lang="en-US"/>
          </a:p>
        </p:txBody>
      </p:sp>
      <p:sp>
        <p:nvSpPr>
          <p:cNvPr id="12" name="Title 11">
            <a:extLst>
              <a:ext uri="{FF2B5EF4-FFF2-40B4-BE49-F238E27FC236}">
                <a16:creationId xmlns:a16="http://schemas.microsoft.com/office/drawing/2014/main" id="{7EE9BBB3-9AF9-06F0-77C0-1C60B3151995}"/>
              </a:ext>
            </a:extLst>
          </p:cNvPr>
          <p:cNvSpPr>
            <a:spLocks noGrp="1"/>
          </p:cNvSpPr>
          <p:nvPr>
            <p:ph type="title" hasCustomPrompt="1"/>
          </p:nvPr>
        </p:nvSpPr>
        <p:spPr>
          <a:xfrm>
            <a:off x="415596" y="462506"/>
            <a:ext cx="11360808" cy="430887"/>
          </a:xfrm>
        </p:spPr>
        <p:txBody>
          <a:bodyPr anchor="t" anchorCtr="0">
            <a:spAutoFit/>
          </a:bodyPr>
          <a:lstStyle>
            <a:lvl1pPr>
              <a:defRPr sz="2800" b="0">
                <a:solidFill>
                  <a:schemeClr val="bg1"/>
                </a:solidFill>
              </a:defRPr>
            </a:lvl1pPr>
          </a:lstStyle>
          <a:p>
            <a:r>
              <a:rPr lang="en-US"/>
              <a:t>Click to Insert Headline</a:t>
            </a:r>
          </a:p>
        </p:txBody>
      </p:sp>
      <p:pic>
        <p:nvPicPr>
          <p:cNvPr id="13" name="Graphic 12">
            <a:extLst>
              <a:ext uri="{FF2B5EF4-FFF2-40B4-BE49-F238E27FC236}">
                <a16:creationId xmlns:a16="http://schemas.microsoft.com/office/drawing/2014/main" id="{3B3F0C34-2C50-E34E-97C3-2DB4453A3444}"/>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400017" y="6364123"/>
            <a:ext cx="1484309" cy="283368"/>
          </a:xfrm>
          <a:prstGeom prst="rect">
            <a:avLst/>
          </a:prstGeom>
        </p:spPr>
      </p:pic>
      <p:sp>
        <p:nvSpPr>
          <p:cNvPr id="5" name="Text Placeholder 24">
            <a:extLst>
              <a:ext uri="{FF2B5EF4-FFF2-40B4-BE49-F238E27FC236}">
                <a16:creationId xmlns:a16="http://schemas.microsoft.com/office/drawing/2014/main" id="{51755872-AD10-DAE7-1325-B15BAC4E8117}"/>
              </a:ext>
            </a:extLst>
          </p:cNvPr>
          <p:cNvSpPr>
            <a:spLocks noGrp="1"/>
          </p:cNvSpPr>
          <p:nvPr>
            <p:ph type="body" sz="quarter" idx="4294967295"/>
          </p:nvPr>
        </p:nvSpPr>
        <p:spPr>
          <a:xfrm>
            <a:off x="2037523" y="6415968"/>
            <a:ext cx="8028652" cy="283368"/>
          </a:xfrm>
        </p:spPr>
        <p:txBody>
          <a:bodyPr anchor="t">
            <a:normAutofit/>
          </a:bodyPr>
          <a:lstStyle/>
          <a:p>
            <a:pPr algn="ctr"/>
            <a:r>
              <a:rPr lang="en-US" sz="1000" b="1">
                <a:solidFill>
                  <a:schemeClr val="bg1"/>
                </a:solidFill>
              </a:rPr>
              <a:t>NEWS UNDER EMBARGO UNTIL OCTOBER 29, 2025 AT 8:30 AM ET</a:t>
            </a:r>
          </a:p>
          <a:p>
            <a:endParaRPr lang="en-US" sz="1000">
              <a:solidFill>
                <a:schemeClr val="bg1"/>
              </a:solidFill>
            </a:endParaRPr>
          </a:p>
        </p:txBody>
      </p:sp>
    </p:spTree>
    <p:extLst>
      <p:ext uri="{BB962C8B-B14F-4D97-AF65-F5344CB8AC3E}">
        <p14:creationId xmlns:p14="http://schemas.microsoft.com/office/powerpoint/2010/main" val="2787908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59EFCA9E-83C6-C329-E260-D2C06936583C}"/>
              </a:ext>
            </a:extLst>
          </p:cNvPr>
          <p:cNvSpPr>
            <a:spLocks noGrp="1"/>
          </p:cNvSpPr>
          <p:nvPr>
            <p:ph type="dt" sz="half" idx="10"/>
          </p:nvPr>
        </p:nvSpPr>
        <p:spPr/>
        <p:txBody>
          <a:bodyPr/>
          <a:lstStyle/>
          <a:p>
            <a:fld id="{D0A8EAAB-0451-F345-AAE8-903E658FFCB4}" type="datetimeFigureOut">
              <a:rPr lang="es-ES" smtClean="0"/>
              <a:t>26/04/2026</a:t>
            </a:fld>
            <a:endParaRPr lang="es-ES"/>
          </a:p>
        </p:txBody>
      </p:sp>
      <p:sp>
        <p:nvSpPr>
          <p:cNvPr id="3" name="Marcador de pie de página 2">
            <a:extLst>
              <a:ext uri="{FF2B5EF4-FFF2-40B4-BE49-F238E27FC236}">
                <a16:creationId xmlns:a16="http://schemas.microsoft.com/office/drawing/2014/main" id="{B8CFB337-9C6E-FDF7-75FA-56763D89C83E}"/>
              </a:ext>
            </a:extLst>
          </p:cNvPr>
          <p:cNvSpPr>
            <a:spLocks noGrp="1"/>
          </p:cNvSpPr>
          <p:nvPr>
            <p:ph type="ftr" sz="quarter" idx="11"/>
          </p:nvPr>
        </p:nvSpPr>
        <p:spPr/>
        <p:txBody>
          <a:bodyPr/>
          <a:lstStyle/>
          <a:p>
            <a:endParaRPr lang="es-ES"/>
          </a:p>
        </p:txBody>
      </p:sp>
      <p:sp>
        <p:nvSpPr>
          <p:cNvPr id="4" name="Marcador de número de diapositiva 3">
            <a:extLst>
              <a:ext uri="{FF2B5EF4-FFF2-40B4-BE49-F238E27FC236}">
                <a16:creationId xmlns:a16="http://schemas.microsoft.com/office/drawing/2014/main" id="{1E6EB65B-F4F4-B80B-97D8-07CFB86A81EB}"/>
              </a:ext>
            </a:extLst>
          </p:cNvPr>
          <p:cNvSpPr>
            <a:spLocks noGrp="1"/>
          </p:cNvSpPr>
          <p:nvPr>
            <p:ph type="sldNum" sz="quarter" idx="12"/>
          </p:nvPr>
        </p:nvSpPr>
        <p:spPr/>
        <p:txBody>
          <a:bodyPr/>
          <a:lstStyle/>
          <a:p>
            <a:fld id="{C5C9C0E2-798D-424A-9802-04B7FA7A38FE}" type="slidenum">
              <a:rPr lang="es-ES" smtClean="0"/>
              <a:t>‹Nr.›</a:t>
            </a:fld>
            <a:endParaRPr lang="es-ES"/>
          </a:p>
        </p:txBody>
      </p:sp>
    </p:spTree>
    <p:extLst>
      <p:ext uri="{BB962C8B-B14F-4D97-AF65-F5344CB8AC3E}">
        <p14:creationId xmlns:p14="http://schemas.microsoft.com/office/powerpoint/2010/main" val="327704423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405356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nd Content copy">
    <p:bg>
      <p:bgPr>
        <a:solidFill>
          <a:srgbClr val="FFFFFF"/>
        </a:solidFill>
        <a:effectLst/>
      </p:bgPr>
    </p:bg>
    <p:spTree>
      <p:nvGrpSpPr>
        <p:cNvPr id="1" name=""/>
        <p:cNvGrpSpPr/>
        <p:nvPr/>
      </p:nvGrpSpPr>
      <p:grpSpPr>
        <a:xfrm>
          <a:off x="0" y="0"/>
          <a:ext cx="0" cy="0"/>
          <a:chOff x="0" y="0"/>
          <a:chExt cx="0" cy="0"/>
        </a:xfrm>
      </p:grpSpPr>
      <p:pic>
        <p:nvPicPr>
          <p:cNvPr id="3" name="Picture 2" descr="A blue and pink gradient&#10;&#10;AI-generated content may be incorrect.">
            <a:extLst>
              <a:ext uri="{FF2B5EF4-FFF2-40B4-BE49-F238E27FC236}">
                <a16:creationId xmlns:a16="http://schemas.microsoft.com/office/drawing/2014/main" id="{AA31474D-04A7-E32B-76A4-AF241C21A19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381"/>
            <a:ext cx="12192677" cy="6857620"/>
          </a:xfrm>
          <a:prstGeom prst="rect">
            <a:avLst/>
          </a:prstGeom>
        </p:spPr>
      </p:pic>
    </p:spTree>
    <p:extLst>
      <p:ext uri="{BB962C8B-B14F-4D97-AF65-F5344CB8AC3E}">
        <p14:creationId xmlns:p14="http://schemas.microsoft.com/office/powerpoint/2010/main" val="1403620257"/>
      </p:ext>
    </p:extLst>
  </p:cSld>
  <p:clrMapOvr>
    <a:masterClrMapping/>
  </p:clrMapOvr>
  <p:transition spd="med"/>
  <p:extLst>
    <p:ext uri="{DCECCB84-F9BA-43D5-87BE-67443E8EF086}">
      <p15:sldGuideLst xmlns:p15="http://schemas.microsoft.com/office/powerpoint/2012/main">
        <p15:guide id="1" orient="horz" pos="4224">
          <p15:clr>
            <a:srgbClr val="FBAE40"/>
          </p15:clr>
        </p15:guide>
        <p15:guide id="2" pos="750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593A369-93A7-BDF1-A229-ADFC4650EC1E}"/>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4906AA7E-623C-AE83-395B-F7040906B47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a:extLst>
              <a:ext uri="{FF2B5EF4-FFF2-40B4-BE49-F238E27FC236}">
                <a16:creationId xmlns:a16="http://schemas.microsoft.com/office/drawing/2014/main" id="{916BA2F6-BB7D-469B-603D-BDA0B333BC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46A7BCFF-EB6B-B7CF-889C-F4DBCA9766E3}"/>
              </a:ext>
            </a:extLst>
          </p:cNvPr>
          <p:cNvSpPr>
            <a:spLocks noGrp="1"/>
          </p:cNvSpPr>
          <p:nvPr>
            <p:ph type="dt" sz="half" idx="10"/>
          </p:nvPr>
        </p:nvSpPr>
        <p:spPr/>
        <p:txBody>
          <a:bodyPr/>
          <a:lstStyle/>
          <a:p>
            <a:fld id="{D0A8EAAB-0451-F345-AAE8-903E658FFCB4}" type="datetimeFigureOut">
              <a:rPr lang="es-ES" smtClean="0"/>
              <a:t>26/04/2026</a:t>
            </a:fld>
            <a:endParaRPr lang="es-ES"/>
          </a:p>
        </p:txBody>
      </p:sp>
      <p:sp>
        <p:nvSpPr>
          <p:cNvPr id="6" name="Marcador de pie de página 5">
            <a:extLst>
              <a:ext uri="{FF2B5EF4-FFF2-40B4-BE49-F238E27FC236}">
                <a16:creationId xmlns:a16="http://schemas.microsoft.com/office/drawing/2014/main" id="{B1CBCBFC-2E5B-F995-91FA-4DC3CBFB9C11}"/>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CBA39976-1E01-6026-5DA4-04C2AED241EC}"/>
              </a:ext>
            </a:extLst>
          </p:cNvPr>
          <p:cNvSpPr>
            <a:spLocks noGrp="1"/>
          </p:cNvSpPr>
          <p:nvPr>
            <p:ph type="sldNum" sz="quarter" idx="12"/>
          </p:nvPr>
        </p:nvSpPr>
        <p:spPr/>
        <p:txBody>
          <a:bodyPr/>
          <a:lstStyle/>
          <a:p>
            <a:fld id="{C5C9C0E2-798D-424A-9802-04B7FA7A38FE}" type="slidenum">
              <a:rPr lang="es-ES" smtClean="0"/>
              <a:t>‹Nr.›</a:t>
            </a:fld>
            <a:endParaRPr lang="es-ES"/>
          </a:p>
        </p:txBody>
      </p:sp>
    </p:spTree>
    <p:extLst>
      <p:ext uri="{BB962C8B-B14F-4D97-AF65-F5344CB8AC3E}">
        <p14:creationId xmlns:p14="http://schemas.microsoft.com/office/powerpoint/2010/main" val="24838193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EAC83F3-F68F-7FC8-5E0D-92DAC9AA96EB}"/>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a:extLst>
              <a:ext uri="{FF2B5EF4-FFF2-40B4-BE49-F238E27FC236}">
                <a16:creationId xmlns:a16="http://schemas.microsoft.com/office/drawing/2014/main" id="{6556FC44-AA0A-B1DD-F8A2-29610D9C913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a:extLst>
              <a:ext uri="{FF2B5EF4-FFF2-40B4-BE49-F238E27FC236}">
                <a16:creationId xmlns:a16="http://schemas.microsoft.com/office/drawing/2014/main" id="{2B06F21E-BD7D-7DB1-06EF-A70C0F91F2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398578D3-3054-5F84-245D-ADD8E21F4C92}"/>
              </a:ext>
            </a:extLst>
          </p:cNvPr>
          <p:cNvSpPr>
            <a:spLocks noGrp="1"/>
          </p:cNvSpPr>
          <p:nvPr>
            <p:ph type="dt" sz="half" idx="10"/>
          </p:nvPr>
        </p:nvSpPr>
        <p:spPr/>
        <p:txBody>
          <a:bodyPr/>
          <a:lstStyle/>
          <a:p>
            <a:fld id="{D0A8EAAB-0451-F345-AAE8-903E658FFCB4}" type="datetimeFigureOut">
              <a:rPr lang="es-ES" smtClean="0"/>
              <a:t>26/04/2026</a:t>
            </a:fld>
            <a:endParaRPr lang="es-ES"/>
          </a:p>
        </p:txBody>
      </p:sp>
      <p:sp>
        <p:nvSpPr>
          <p:cNvPr id="6" name="Marcador de pie de página 5">
            <a:extLst>
              <a:ext uri="{FF2B5EF4-FFF2-40B4-BE49-F238E27FC236}">
                <a16:creationId xmlns:a16="http://schemas.microsoft.com/office/drawing/2014/main" id="{C04DC743-D9B0-B849-1A68-865FFE20D5BE}"/>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7FF783B0-D511-AB22-0347-1B7ADCFD3EC6}"/>
              </a:ext>
            </a:extLst>
          </p:cNvPr>
          <p:cNvSpPr>
            <a:spLocks noGrp="1"/>
          </p:cNvSpPr>
          <p:nvPr>
            <p:ph type="sldNum" sz="quarter" idx="12"/>
          </p:nvPr>
        </p:nvSpPr>
        <p:spPr/>
        <p:txBody>
          <a:bodyPr/>
          <a:lstStyle/>
          <a:p>
            <a:fld id="{C5C9C0E2-798D-424A-9802-04B7FA7A38FE}" type="slidenum">
              <a:rPr lang="es-ES" smtClean="0"/>
              <a:t>‹Nr.›</a:t>
            </a:fld>
            <a:endParaRPr lang="es-ES"/>
          </a:p>
        </p:txBody>
      </p:sp>
    </p:spTree>
    <p:extLst>
      <p:ext uri="{BB962C8B-B14F-4D97-AF65-F5344CB8AC3E}">
        <p14:creationId xmlns:p14="http://schemas.microsoft.com/office/powerpoint/2010/main" val="28379119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slideLayout" Target="../slideLayouts/slideLayout59.xml"/><Relationship Id="rId50" Type="http://schemas.openxmlformats.org/officeDocument/2006/relationships/slideLayout" Target="../slideLayouts/slideLayout62.xml"/><Relationship Id="rId55" Type="http://schemas.openxmlformats.org/officeDocument/2006/relationships/slideLayout" Target="../slideLayouts/slideLayout67.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9" Type="http://schemas.openxmlformats.org/officeDocument/2006/relationships/slideLayout" Target="../slideLayouts/slideLayout41.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3" Type="http://schemas.openxmlformats.org/officeDocument/2006/relationships/slideLayout" Target="../slideLayouts/slideLayout65.xml"/><Relationship Id="rId58" Type="http://schemas.openxmlformats.org/officeDocument/2006/relationships/slideLayout" Target="../slideLayouts/slideLayout70.xml"/><Relationship Id="rId5" Type="http://schemas.openxmlformats.org/officeDocument/2006/relationships/slideLayout" Target="../slideLayouts/slideLayout17.xml"/><Relationship Id="rId61" Type="http://schemas.openxmlformats.org/officeDocument/2006/relationships/image" Target="../media/image2.svg"/><Relationship Id="rId19" Type="http://schemas.openxmlformats.org/officeDocument/2006/relationships/slideLayout" Target="../slideLayouts/slideLayout3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slideLayout" Target="../slideLayouts/slideLayout60.xml"/><Relationship Id="rId56" Type="http://schemas.openxmlformats.org/officeDocument/2006/relationships/slideLayout" Target="../slideLayouts/slideLayout68.xml"/><Relationship Id="rId8" Type="http://schemas.openxmlformats.org/officeDocument/2006/relationships/slideLayout" Target="../slideLayouts/slideLayout20.xml"/><Relationship Id="rId51" Type="http://schemas.openxmlformats.org/officeDocument/2006/relationships/slideLayout" Target="../slideLayouts/slideLayout63.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slideLayout" Target="../slideLayouts/slideLayout58.xml"/><Relationship Id="rId59" Type="http://schemas.openxmlformats.org/officeDocument/2006/relationships/slideLayout" Target="../slideLayouts/slideLayout71.xml"/><Relationship Id="rId20" Type="http://schemas.openxmlformats.org/officeDocument/2006/relationships/slideLayout" Target="../slideLayouts/slideLayout32.xml"/><Relationship Id="rId41" Type="http://schemas.openxmlformats.org/officeDocument/2006/relationships/slideLayout" Target="../slideLayouts/slideLayout53.xml"/><Relationship Id="rId54" Type="http://schemas.openxmlformats.org/officeDocument/2006/relationships/slideLayout" Target="../slideLayouts/slideLayout6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49" Type="http://schemas.openxmlformats.org/officeDocument/2006/relationships/slideLayout" Target="../slideLayouts/slideLayout61.xml"/><Relationship Id="rId57" Type="http://schemas.openxmlformats.org/officeDocument/2006/relationships/slideLayout" Target="../slideLayouts/slideLayout69.xml"/><Relationship Id="rId10" Type="http://schemas.openxmlformats.org/officeDocument/2006/relationships/slideLayout" Target="../slideLayouts/slideLayout22.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52" Type="http://schemas.openxmlformats.org/officeDocument/2006/relationships/slideLayout" Target="../slideLayouts/slideLayout64.xml"/><Relationship Id="rId60"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5E8857C9-FD2B-831E-5AA0-8614BAE6356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89019DDC-148B-366C-844B-1D80A257143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06D33DA1-7477-A84F-7473-9A378A5EF58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0A8EAAB-0451-F345-AAE8-903E658FFCB4}" type="datetimeFigureOut">
              <a:rPr lang="es-ES" smtClean="0"/>
              <a:t>26/04/2026</a:t>
            </a:fld>
            <a:endParaRPr lang="es-ES"/>
          </a:p>
        </p:txBody>
      </p:sp>
      <p:sp>
        <p:nvSpPr>
          <p:cNvPr id="5" name="Marcador de pie de página 4">
            <a:extLst>
              <a:ext uri="{FF2B5EF4-FFF2-40B4-BE49-F238E27FC236}">
                <a16:creationId xmlns:a16="http://schemas.microsoft.com/office/drawing/2014/main" id="{EEE18040-6F32-434F-9C5B-9C28279C41D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s-ES"/>
          </a:p>
        </p:txBody>
      </p:sp>
      <p:sp>
        <p:nvSpPr>
          <p:cNvPr id="6" name="Marcador de número de diapositiva 5">
            <a:extLst>
              <a:ext uri="{FF2B5EF4-FFF2-40B4-BE49-F238E27FC236}">
                <a16:creationId xmlns:a16="http://schemas.microsoft.com/office/drawing/2014/main" id="{8F9B6BCB-E0A7-B39E-9B57-FE95EE291E2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5C9C0E2-798D-424A-9802-04B7FA7A38FE}" type="slidenum">
              <a:rPr lang="es-ES" smtClean="0"/>
              <a:t>‹Nr.›</a:t>
            </a:fld>
            <a:endParaRPr lang="es-ES"/>
          </a:p>
        </p:txBody>
      </p:sp>
    </p:spTree>
    <p:extLst>
      <p:ext uri="{BB962C8B-B14F-4D97-AF65-F5344CB8AC3E}">
        <p14:creationId xmlns:p14="http://schemas.microsoft.com/office/powerpoint/2010/main" val="269577378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2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6AB005-9916-0511-A331-004663D477C9}"/>
              </a:ext>
            </a:extLst>
          </p:cNvPr>
          <p:cNvSpPr>
            <a:spLocks noGrp="1"/>
          </p:cNvSpPr>
          <p:nvPr>
            <p:ph type="title"/>
          </p:nvPr>
        </p:nvSpPr>
        <p:spPr>
          <a:xfrm>
            <a:off x="415596" y="275833"/>
            <a:ext cx="11360808" cy="676667"/>
          </a:xfrm>
          <a:prstGeom prst="rect">
            <a:avLst/>
          </a:prstGeom>
        </p:spPr>
        <p:txBody>
          <a:bodyPr vert="horz" lIns="0" tIns="0" rIns="0" bIns="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0507F49-6AF4-B67F-7632-5D21221FD0D2}"/>
              </a:ext>
            </a:extLst>
          </p:cNvPr>
          <p:cNvSpPr>
            <a:spLocks noGrp="1"/>
          </p:cNvSpPr>
          <p:nvPr>
            <p:ph type="body" idx="1"/>
          </p:nvPr>
        </p:nvSpPr>
        <p:spPr>
          <a:xfrm>
            <a:off x="415596" y="1076325"/>
            <a:ext cx="11360808" cy="504864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4326FB5A-9226-59F0-8E9C-5D19D33A6228}"/>
              </a:ext>
            </a:extLst>
          </p:cNvPr>
          <p:cNvSpPr>
            <a:spLocks noGrp="1"/>
          </p:cNvSpPr>
          <p:nvPr>
            <p:ph type="sldNum" sz="quarter" idx="4"/>
          </p:nvPr>
        </p:nvSpPr>
        <p:spPr>
          <a:xfrm>
            <a:off x="11403177" y="6377922"/>
            <a:ext cx="373227" cy="255775"/>
          </a:xfrm>
          <a:prstGeom prst="rect">
            <a:avLst/>
          </a:prstGeom>
        </p:spPr>
        <p:txBody>
          <a:bodyPr vert="horz" lIns="91440" tIns="0" rIns="0" bIns="0" rtlCol="0" anchor="ctr"/>
          <a:lstStyle>
            <a:lvl1pPr algn="r">
              <a:defRPr sz="800">
                <a:solidFill>
                  <a:srgbClr val="3D3F48"/>
                </a:solidFill>
              </a:defRPr>
            </a:lvl1pPr>
          </a:lstStyle>
          <a:p>
            <a:fld id="{71676EBD-8486-AA4B-82C3-0598DF1E43FA}" type="slidenum">
              <a:rPr lang="en-US" smtClean="0"/>
              <a:pPr/>
              <a:t>‹Nr.›</a:t>
            </a:fld>
            <a:endParaRPr lang="en-US"/>
          </a:p>
        </p:txBody>
      </p:sp>
      <p:pic>
        <p:nvPicPr>
          <p:cNvPr id="18" name="Graphic 17">
            <a:extLst>
              <a:ext uri="{FF2B5EF4-FFF2-40B4-BE49-F238E27FC236}">
                <a16:creationId xmlns:a16="http://schemas.microsoft.com/office/drawing/2014/main" id="{0BC7F962-E75E-658F-0295-785C2D5BF876}"/>
              </a:ext>
            </a:extLst>
          </p:cNvPr>
          <p:cNvPicPr>
            <a:picLocks noChangeAspect="1"/>
          </p:cNvPicPr>
          <p:nvPr userDrawn="1"/>
        </p:nvPicPr>
        <p:blipFill>
          <a:blip>
            <a:extLst>
              <a:ext uri="{96DAC541-7B7A-43D3-8B79-37D633B846F1}">
                <asvg:svgBlip xmlns:asvg="http://schemas.microsoft.com/office/drawing/2016/SVG/main" r:embed="rId61"/>
              </a:ext>
            </a:extLst>
          </a:blip>
          <a:stretch>
            <a:fillRect/>
          </a:stretch>
        </p:blipFill>
        <p:spPr>
          <a:xfrm>
            <a:off x="415596" y="6364123"/>
            <a:ext cx="1484309" cy="283368"/>
          </a:xfrm>
          <a:prstGeom prst="rect">
            <a:avLst/>
          </a:prstGeom>
        </p:spPr>
      </p:pic>
      <p:sp>
        <p:nvSpPr>
          <p:cNvPr id="19" name="Footer Placeholder 18">
            <a:extLst>
              <a:ext uri="{FF2B5EF4-FFF2-40B4-BE49-F238E27FC236}">
                <a16:creationId xmlns:a16="http://schemas.microsoft.com/office/drawing/2014/main" id="{B03E44F2-C348-B058-0818-DFE70D0D79A5}"/>
              </a:ext>
            </a:extLst>
          </p:cNvPr>
          <p:cNvSpPr>
            <a:spLocks noGrp="1"/>
          </p:cNvSpPr>
          <p:nvPr>
            <p:ph type="ftr" sz="quarter" idx="3"/>
          </p:nvPr>
        </p:nvSpPr>
        <p:spPr>
          <a:xfrm>
            <a:off x="10172701" y="6364123"/>
            <a:ext cx="1123951" cy="283368"/>
          </a:xfrm>
          <a:prstGeom prst="rect">
            <a:avLst/>
          </a:prstGeom>
        </p:spPr>
        <p:txBody>
          <a:bodyPr vert="horz" lIns="91440" tIns="45720" rIns="91440" bIns="45720" rtlCol="0" anchor="ctr"/>
          <a:lstStyle>
            <a:lvl1pPr algn="r">
              <a:defRPr sz="800">
                <a:solidFill>
                  <a:srgbClr val="3D3F48"/>
                </a:solidFill>
              </a:defRPr>
            </a:lvl1pPr>
          </a:lstStyle>
          <a:p>
            <a:r>
              <a:rPr lang="en-US"/>
              <a:t>© Commvault 2024</a:t>
            </a:r>
          </a:p>
        </p:txBody>
      </p:sp>
    </p:spTree>
    <p:extLst>
      <p:ext uri="{BB962C8B-B14F-4D97-AF65-F5344CB8AC3E}">
        <p14:creationId xmlns:p14="http://schemas.microsoft.com/office/powerpoint/2010/main" val="30071211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20" r:id="rId59"/>
  </p:sldLayoutIdLst>
  <p:hf hdr="0" dt="0"/>
  <p:txStyles>
    <p:titleStyle>
      <a:lvl1pPr algn="l" defTabSz="914377" rtl="0" eaLnBrk="1" latinLnBrk="0" hangingPunct="1">
        <a:lnSpc>
          <a:spcPct val="100000"/>
        </a:lnSpc>
        <a:spcBef>
          <a:spcPct val="0"/>
        </a:spcBef>
        <a:buNone/>
        <a:defRPr sz="3600" b="0" kern="1200">
          <a:solidFill>
            <a:schemeClr val="tx1"/>
          </a:solidFill>
          <a:latin typeface="+mj-lt"/>
          <a:ea typeface="+mj-ea"/>
          <a:cs typeface="+mj-cs"/>
        </a:defRPr>
      </a:lvl1pPr>
    </p:titleStyle>
    <p:bodyStyle>
      <a:lvl1pPr marL="0" indent="0" algn="l" defTabSz="914377"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70" indent="-283457" algn="l" defTabSz="914377"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083" indent="-283457" algn="l" defTabSz="914377"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2971" indent="-283457" algn="l" defTabSz="914377"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285" indent="-283457" algn="l" defTabSz="914377"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4.xml"/><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slideLayout" Target="../slideLayouts/slideLayout69.xml"/><Relationship Id="rId7" Type="http://schemas.openxmlformats.org/officeDocument/2006/relationships/image" Target="../media/image13.jpe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9.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slideLayout" Target="../slideLayouts/slideLayout69.xml"/><Relationship Id="rId7" Type="http://schemas.openxmlformats.org/officeDocument/2006/relationships/image" Target="../media/image13.jpe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9.emf"/><Relationship Id="rId5" Type="http://schemas.openxmlformats.org/officeDocument/2006/relationships/oleObject" Target="../embeddings/oleObject3.bin"/><Relationship Id="rId4" Type="http://schemas.openxmlformats.org/officeDocument/2006/relationships/notesSlide" Target="../notesSlides/notesSlide5.xml"/><Relationship Id="rId9" Type="http://schemas.openxmlformats.org/officeDocument/2006/relationships/image" Target="../media/image30.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slideLayout" Target="../slideLayouts/slideLayout69.xml"/><Relationship Id="rId7" Type="http://schemas.openxmlformats.org/officeDocument/2006/relationships/image" Target="../media/image13.jpe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9.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slideLayout" Target="../slideLayouts/slideLayout69.xml"/><Relationship Id="rId7" Type="http://schemas.openxmlformats.org/officeDocument/2006/relationships/image" Target="../media/image13.jpe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9.emf"/><Relationship Id="rId5" Type="http://schemas.openxmlformats.org/officeDocument/2006/relationships/oleObject" Target="../embeddings/oleObject2.bin"/><Relationship Id="rId4" Type="http://schemas.openxmlformats.org/officeDocument/2006/relationships/notesSlide" Target="../notesSlides/notesSlide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7.xml"/><Relationship Id="rId1" Type="http://schemas.openxmlformats.org/officeDocument/2006/relationships/tags" Target="../tags/tag19.xml"/><Relationship Id="rId5" Type="http://schemas.openxmlformats.org/officeDocument/2006/relationships/image" Target="../media/image29.emf"/><Relationship Id="rId4" Type="http://schemas.openxmlformats.org/officeDocument/2006/relationships/oleObject" Target="../embeddings/oleObject5.bin"/></Relationships>
</file>

<file path=ppt/slides/_rels/slide18.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38.svg"/><Relationship Id="rId3" Type="http://schemas.openxmlformats.org/officeDocument/2006/relationships/notesSlide" Target="../notesSlides/notesSlide10.xml"/><Relationship Id="rId7" Type="http://schemas.openxmlformats.org/officeDocument/2006/relationships/image" Target="../media/image33.svg"/><Relationship Id="rId12" Type="http://schemas.openxmlformats.org/officeDocument/2006/relationships/image" Target="../media/image37.svg"/><Relationship Id="rId17" Type="http://schemas.openxmlformats.org/officeDocument/2006/relationships/image" Target="../media/image14.svg"/><Relationship Id="rId2" Type="http://schemas.openxmlformats.org/officeDocument/2006/relationships/slideLayout" Target="../slideLayouts/slideLayout70.xml"/><Relationship Id="rId16" Type="http://schemas.openxmlformats.org/officeDocument/2006/relationships/image" Target="../media/image41.svg"/><Relationship Id="rId1" Type="http://schemas.openxmlformats.org/officeDocument/2006/relationships/tags" Target="../tags/tag20.xml"/><Relationship Id="rId6" Type="http://schemas.openxmlformats.org/officeDocument/2006/relationships/image" Target="../media/image32.svg"/><Relationship Id="rId11" Type="http://schemas.openxmlformats.org/officeDocument/2006/relationships/image" Target="../media/image36.svg"/><Relationship Id="rId5" Type="http://schemas.openxmlformats.org/officeDocument/2006/relationships/image" Target="../media/image31.svg"/><Relationship Id="rId15" Type="http://schemas.openxmlformats.org/officeDocument/2006/relationships/image" Target="../media/image40.svg"/><Relationship Id="rId10" Type="http://schemas.openxmlformats.org/officeDocument/2006/relationships/image" Target="../media/image35.svg"/><Relationship Id="rId4" Type="http://schemas.openxmlformats.org/officeDocument/2006/relationships/image" Target="../media/image13.jpeg"/><Relationship Id="rId9" Type="http://schemas.openxmlformats.org/officeDocument/2006/relationships/image" Target="../media/image34.svg"/><Relationship Id="rId14" Type="http://schemas.openxmlformats.org/officeDocument/2006/relationships/image" Target="../media/image39.sv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9.xml"/><Relationship Id="rId1" Type="http://schemas.openxmlformats.org/officeDocument/2006/relationships/tags" Target="../tags/tag21.xml"/><Relationship Id="rId6" Type="http://schemas.openxmlformats.org/officeDocument/2006/relationships/image" Target="../media/image42.png"/><Relationship Id="rId5" Type="http://schemas.openxmlformats.org/officeDocument/2006/relationships/image" Target="../media/image29.emf"/><Relationship Id="rId4" Type="http://schemas.openxmlformats.org/officeDocument/2006/relationships/oleObject" Target="../embeddings/oleObject6.bin"/></Relationships>
</file>

<file path=ppt/slides/_rels/slide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3.xml"/><Relationship Id="rId1" Type="http://schemas.openxmlformats.org/officeDocument/2006/relationships/slideLayout" Target="../slideLayouts/slideLayout70.xml"/><Relationship Id="rId5" Type="http://schemas.openxmlformats.org/officeDocument/2006/relationships/image" Target="../media/image47.svg"/><Relationship Id="rId4" Type="http://schemas.openxmlformats.org/officeDocument/2006/relationships/image" Target="../media/image46.gif"/></Relationships>
</file>

<file path=ppt/slides/_rels/slide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2.jpeg"/><Relationship Id="rId13" Type="http://schemas.openxmlformats.org/officeDocument/2006/relationships/image" Target="../media/image26.png"/><Relationship Id="rId3" Type="http://schemas.openxmlformats.org/officeDocument/2006/relationships/tags" Target="../tags/tag7.xml"/><Relationship Id="rId7" Type="http://schemas.openxmlformats.org/officeDocument/2006/relationships/notesSlide" Target="../notesSlides/notesSlide2.xml"/><Relationship Id="rId12" Type="http://schemas.openxmlformats.org/officeDocument/2006/relationships/image" Target="../media/image25.sv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Layout" Target="../slideLayouts/slideLayout70.xml"/><Relationship Id="rId11" Type="http://schemas.microsoft.com/office/2007/relationships/hdphoto" Target="../media/hdphoto1.wdp"/><Relationship Id="rId5" Type="http://schemas.openxmlformats.org/officeDocument/2006/relationships/tags" Target="../tags/tag9.xml"/><Relationship Id="rId10" Type="http://schemas.openxmlformats.org/officeDocument/2006/relationships/image" Target="../media/image24.png"/><Relationship Id="rId4" Type="http://schemas.openxmlformats.org/officeDocument/2006/relationships/tags" Target="../tags/tag8.xml"/><Relationship Id="rId9" Type="http://schemas.openxmlformats.org/officeDocument/2006/relationships/image" Target="../media/image23.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9.xml"/><Relationship Id="rId1" Type="http://schemas.openxmlformats.org/officeDocument/2006/relationships/tags" Target="../tags/tag10.xml"/><Relationship Id="rId6" Type="http://schemas.openxmlformats.org/officeDocument/2006/relationships/image" Target="../media/image28.png"/><Relationship Id="rId5" Type="http://schemas.openxmlformats.org/officeDocument/2006/relationships/image" Target="../media/image27.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2565DC-27C7-833D-D485-6C3C71D0D03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6C22E75-44AF-864B-CBA9-C0EF9E843AF0}"/>
              </a:ext>
            </a:extLst>
          </p:cNvPr>
          <p:cNvSpPr>
            <a:spLocks noGrp="1"/>
          </p:cNvSpPr>
          <p:nvPr>
            <p:ph type="ctrTitle"/>
          </p:nvPr>
        </p:nvSpPr>
        <p:spPr/>
        <p:txBody>
          <a:bodyPr/>
          <a:lstStyle/>
          <a:p>
            <a:r>
              <a:rPr lang="en-US" sz="4800" b="0" dirty="0">
                <a:latin typeface="Arial" panose="020B0604020202020204" pitchFamily="34" charset="0"/>
                <a:cs typeface="Arial" panose="020B0604020202020204" pitchFamily="34" charset="0"/>
              </a:rPr>
              <a:t>Commvault Cloud Unity</a:t>
            </a:r>
          </a:p>
        </p:txBody>
      </p:sp>
      <p:sp>
        <p:nvSpPr>
          <p:cNvPr id="2" name="Text Placeholder 1">
            <a:extLst>
              <a:ext uri="{FF2B5EF4-FFF2-40B4-BE49-F238E27FC236}">
                <a16:creationId xmlns:a16="http://schemas.microsoft.com/office/drawing/2014/main" id="{4BB55FA7-6BB3-88E3-AC68-0842F51249D1}"/>
              </a:ext>
            </a:extLst>
          </p:cNvPr>
          <p:cNvSpPr>
            <a:spLocks noGrp="1"/>
          </p:cNvSpPr>
          <p:nvPr>
            <p:ph type="body" sz="quarter" idx="12"/>
          </p:nvPr>
        </p:nvSpPr>
        <p:spPr/>
        <p:txBody>
          <a:bodyPr/>
          <a:lstStyle/>
          <a:p>
            <a:r>
              <a:rPr lang="en-US" dirty="0"/>
              <a:t>Frank Dehne</a:t>
            </a:r>
          </a:p>
        </p:txBody>
      </p:sp>
      <p:sp>
        <p:nvSpPr>
          <p:cNvPr id="51" name="Text Placeholder 50">
            <a:extLst>
              <a:ext uri="{FF2B5EF4-FFF2-40B4-BE49-F238E27FC236}">
                <a16:creationId xmlns:a16="http://schemas.microsoft.com/office/drawing/2014/main" id="{5E969369-E88B-A3A9-2A98-80B0A97A974E}"/>
              </a:ext>
            </a:extLst>
          </p:cNvPr>
          <p:cNvSpPr>
            <a:spLocks noGrp="1"/>
          </p:cNvSpPr>
          <p:nvPr>
            <p:ph type="body" sz="quarter" idx="13"/>
          </p:nvPr>
        </p:nvSpPr>
        <p:spPr/>
        <p:txBody>
          <a:bodyPr/>
          <a:lstStyle/>
          <a:p>
            <a:r>
              <a:rPr lang="en-US" dirty="0"/>
              <a:t>Managing Director Germany</a:t>
            </a:r>
          </a:p>
        </p:txBody>
      </p:sp>
      <p:sp>
        <p:nvSpPr>
          <p:cNvPr id="52" name="Text Placeholder 51">
            <a:extLst>
              <a:ext uri="{FF2B5EF4-FFF2-40B4-BE49-F238E27FC236}">
                <a16:creationId xmlns:a16="http://schemas.microsoft.com/office/drawing/2014/main" id="{ECAD9D30-530B-0A5F-520B-9F097DA3D30B}"/>
              </a:ext>
            </a:extLst>
          </p:cNvPr>
          <p:cNvSpPr>
            <a:spLocks noGrp="1"/>
          </p:cNvSpPr>
          <p:nvPr>
            <p:ph type="body" sz="quarter" idx="14"/>
          </p:nvPr>
        </p:nvSpPr>
        <p:spPr/>
        <p:txBody>
          <a:bodyPr/>
          <a:lstStyle/>
          <a:p>
            <a:r>
              <a:rPr lang="en-US" dirty="0"/>
              <a:t>April, 2026</a:t>
            </a:r>
          </a:p>
        </p:txBody>
      </p:sp>
      <p:pic>
        <p:nvPicPr>
          <p:cNvPr id="6" name="Google Shape;574;g28d2d8661e3_9_1046">
            <a:extLst>
              <a:ext uri="{FF2B5EF4-FFF2-40B4-BE49-F238E27FC236}">
                <a16:creationId xmlns:a16="http://schemas.microsoft.com/office/drawing/2014/main" id="{B947DB25-46B6-4206-774C-ADE5A624A902}"/>
              </a:ext>
            </a:extLst>
          </p:cNvPr>
          <p:cNvPicPr preferRelativeResize="0"/>
          <p:nvPr>
            <p:custDataLst>
              <p:tags r:id="rId1"/>
            </p:custDataLst>
          </p:nvPr>
        </p:nvPicPr>
        <p:blipFill rotWithShape="1">
          <a:blip r:embed="rId4">
            <a:alphaModFix/>
          </a:blip>
          <a:srcRect/>
          <a:stretch/>
        </p:blipFill>
        <p:spPr>
          <a:xfrm>
            <a:off x="484048" y="599045"/>
            <a:ext cx="2324830" cy="1264169"/>
          </a:xfrm>
          <a:prstGeom prst="rect">
            <a:avLst/>
          </a:prstGeom>
          <a:noFill/>
          <a:ln>
            <a:noFill/>
          </a:ln>
        </p:spPr>
      </p:pic>
      <p:sp>
        <p:nvSpPr>
          <p:cNvPr id="7" name="Subtítulo 6">
            <a:extLst>
              <a:ext uri="{FF2B5EF4-FFF2-40B4-BE49-F238E27FC236}">
                <a16:creationId xmlns:a16="http://schemas.microsoft.com/office/drawing/2014/main" id="{8C032FE0-9D0B-AD08-3A78-E9E1448BBA9D}"/>
              </a:ext>
            </a:extLst>
          </p:cNvPr>
          <p:cNvSpPr>
            <a:spLocks noGrp="1"/>
          </p:cNvSpPr>
          <p:nvPr>
            <p:ph type="subTitle" idx="1"/>
          </p:nvPr>
        </p:nvSpPr>
        <p:spPr/>
        <p:txBody>
          <a:bodyPr/>
          <a:lstStyle/>
          <a:p>
            <a:r>
              <a:rPr lang="en-US" dirty="0"/>
              <a:t>Five Platform Services for A Unified Cyber Resilience</a:t>
            </a:r>
            <a:endParaRPr lang="es-ES" dirty="0"/>
          </a:p>
        </p:txBody>
      </p:sp>
    </p:spTree>
    <p:extLst>
      <p:ext uri="{BB962C8B-B14F-4D97-AF65-F5344CB8AC3E}">
        <p14:creationId xmlns:p14="http://schemas.microsoft.com/office/powerpoint/2010/main" val="18959113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197473-C7FD-6548-1B16-BD1921C2C573}"/>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616EB6B8-1D84-EC20-7395-76B0DEF407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1" name="think-cell data - do not delete" hidden="1">
                        <a:extLst>
                          <a:ext uri="{FF2B5EF4-FFF2-40B4-BE49-F238E27FC236}">
                            <a16:creationId xmlns:a16="http://schemas.microsoft.com/office/drawing/2014/main" id="{616EB6B8-1D84-EC20-7395-76B0DEF407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0" name="2" descr="preencoded.png">
            <a:extLst>
              <a:ext uri="{FF2B5EF4-FFF2-40B4-BE49-F238E27FC236}">
                <a16:creationId xmlns:a16="http://schemas.microsoft.com/office/drawing/2014/main" id="{A395DBB7-7AA7-020A-7126-1BD7B4D853B9}"/>
              </a:ext>
            </a:extLst>
          </p:cNvPr>
          <p:cNvPicPr>
            <a:picLocks/>
          </p:cNvPicPr>
          <p:nvPr>
            <p:custDataLst>
              <p:tags r:id="rId2"/>
            </p:custDataLst>
          </p:nvPr>
        </p:nvPicPr>
        <p:blipFill>
          <a:blip r:embed="rId7">
            <a:alphaModFix amt="80000"/>
          </a:blip>
          <a:srcRect/>
          <a:stretch/>
        </p:blipFill>
        <p:spPr>
          <a:xfrm>
            <a:off x="0" y="0"/>
            <a:ext cx="12192000" cy="6858000"/>
          </a:xfrm>
          <a:prstGeom prst="rect">
            <a:avLst/>
          </a:prstGeom>
        </p:spPr>
      </p:pic>
      <p:sp>
        <p:nvSpPr>
          <p:cNvPr id="19" name="Title 18">
            <a:extLst>
              <a:ext uri="{FF2B5EF4-FFF2-40B4-BE49-F238E27FC236}">
                <a16:creationId xmlns:a16="http://schemas.microsoft.com/office/drawing/2014/main" id="{02F98D5E-1FAD-21E2-2143-C733EA6DC8F6}"/>
              </a:ext>
            </a:extLst>
          </p:cNvPr>
          <p:cNvSpPr>
            <a:spLocks noGrp="1"/>
          </p:cNvSpPr>
          <p:nvPr>
            <p:ph type="title"/>
          </p:nvPr>
        </p:nvSpPr>
        <p:spPr>
          <a:xfrm>
            <a:off x="415596" y="462505"/>
            <a:ext cx="11360808" cy="430887"/>
          </a:xfrm>
        </p:spPr>
        <p:txBody>
          <a:bodyPr vert="horz"/>
          <a:lstStyle/>
          <a:p>
            <a:r>
              <a:rPr lang="en-US" spc="-10"/>
              <a:t>One Platform for Multi-Cloud Protection, Visibility, and Cost Optimization</a:t>
            </a:r>
          </a:p>
        </p:txBody>
      </p:sp>
      <p:sp>
        <p:nvSpPr>
          <p:cNvPr id="62" name="Footer Placeholder 2">
            <a:extLst>
              <a:ext uri="{FF2B5EF4-FFF2-40B4-BE49-F238E27FC236}">
                <a16:creationId xmlns:a16="http://schemas.microsoft.com/office/drawing/2014/main" id="{17EB0216-0910-66D4-9776-DC787634636C}"/>
              </a:ext>
            </a:extLst>
          </p:cNvPr>
          <p:cNvSpPr>
            <a:spLocks noGrp="1"/>
          </p:cNvSpPr>
          <p:nvPr>
            <p:ph type="ftr" sz="quarter" idx="14"/>
          </p:nvPr>
        </p:nvSpPr>
        <p:spPr>
          <a:xfrm>
            <a:off x="10172700" y="6364123"/>
            <a:ext cx="1123950" cy="28336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mn-ea"/>
                <a:cs typeface="+mn-cs"/>
              </a:rPr>
              <a:t>© Commvault 2025</a:t>
            </a:r>
          </a:p>
        </p:txBody>
      </p:sp>
      <p:sp>
        <p:nvSpPr>
          <p:cNvPr id="63" name="Slide Number Placeholder 4">
            <a:extLst>
              <a:ext uri="{FF2B5EF4-FFF2-40B4-BE49-F238E27FC236}">
                <a16:creationId xmlns:a16="http://schemas.microsoft.com/office/drawing/2014/main" id="{77D10CA5-75C7-87FD-8FB1-6C74A89680F3}"/>
              </a:ext>
            </a:extLst>
          </p:cNvPr>
          <p:cNvSpPr>
            <a:spLocks noGrp="1"/>
          </p:cNvSpPr>
          <p:nvPr>
            <p:ph type="sldNum" sz="quarter" idx="15"/>
          </p:nvPr>
        </p:nvSpPr>
        <p:spPr>
          <a:xfrm>
            <a:off x="11403176" y="6377920"/>
            <a:ext cx="373227" cy="25577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676EBD-8486-AA4B-82C3-0598DF1E43FA}" type="slidenum">
              <a:rPr kumimoji="0" lang="en-US" sz="8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4" name="Graphic 63">
            <a:extLst>
              <a:ext uri="{FF2B5EF4-FFF2-40B4-BE49-F238E27FC236}">
                <a16:creationId xmlns:a16="http://schemas.microsoft.com/office/drawing/2014/main" id="{DD318106-E8A4-ADED-B48E-932347268A74}"/>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400017" y="6364123"/>
            <a:ext cx="1484309" cy="283368"/>
          </a:xfrm>
          <a:prstGeom prst="rect">
            <a:avLst/>
          </a:prstGeom>
        </p:spPr>
      </p:pic>
      <p:sp>
        <p:nvSpPr>
          <p:cNvPr id="73" name="Rectangle 72">
            <a:extLst>
              <a:ext uri="{FF2B5EF4-FFF2-40B4-BE49-F238E27FC236}">
                <a16:creationId xmlns:a16="http://schemas.microsoft.com/office/drawing/2014/main" id="{DEB44B43-FEE8-B91F-0CF7-4FFF92C00AA4}"/>
              </a:ext>
            </a:extLst>
          </p:cNvPr>
          <p:cNvSpPr>
            <a:spLocks/>
          </p:cNvSpPr>
          <p:nvPr/>
        </p:nvSpPr>
        <p:spPr>
          <a:xfrm>
            <a:off x="415595" y="1000700"/>
            <a:ext cx="4148170" cy="33823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561" rIns="0" bIns="45561"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Customer Challenges</a:t>
            </a:r>
          </a:p>
        </p:txBody>
      </p:sp>
      <p:sp>
        <p:nvSpPr>
          <p:cNvPr id="5" name="Google Shape;4891;p434">
            <a:extLst>
              <a:ext uri="{FF2B5EF4-FFF2-40B4-BE49-F238E27FC236}">
                <a16:creationId xmlns:a16="http://schemas.microsoft.com/office/drawing/2014/main" id="{FD54FB16-6515-0707-A2D4-A251935D4CD7}"/>
              </a:ext>
            </a:extLst>
          </p:cNvPr>
          <p:cNvSpPr txBox="1">
            <a:spLocks/>
          </p:cNvSpPr>
          <p:nvPr/>
        </p:nvSpPr>
        <p:spPr>
          <a:xfrm>
            <a:off x="572433" y="1912141"/>
            <a:ext cx="5229646"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ct val="0"/>
              </a:spcAft>
              <a:buClr>
                <a:srgbClr val="000000"/>
              </a:buClr>
              <a:buSzPts val="1100"/>
              <a:buFont typeface="Arial"/>
              <a:buNone/>
              <a:tabLst/>
              <a:defRPr/>
            </a:pPr>
            <a:r>
              <a:rPr kumimoji="0" lang="en-US" sz="1400" b="1" i="0" u="none" strike="noStrike" kern="1200" cap="none" spc="0" normalizeH="0" baseline="0" noProof="0">
                <a:ln>
                  <a:noFill/>
                </a:ln>
                <a:solidFill>
                  <a:srgbClr val="834895">
                    <a:lumMod val="60000"/>
                    <a:lumOff val="40000"/>
                  </a:srgbClr>
                </a:solidFill>
                <a:effectLst/>
                <a:uLnTx/>
                <a:uFillTx/>
                <a:latin typeface="Arial" panose="020B0604020202020204"/>
                <a:ea typeface="+mn-ea"/>
                <a:cs typeface="+mn-cs"/>
              </a:rPr>
              <a:t>Inconsistent Recovery = Broken Applications</a:t>
            </a:r>
          </a:p>
        </p:txBody>
      </p:sp>
      <p:sp>
        <p:nvSpPr>
          <p:cNvPr id="65" name="Rectangle 64">
            <a:extLst>
              <a:ext uri="{FF2B5EF4-FFF2-40B4-BE49-F238E27FC236}">
                <a16:creationId xmlns:a16="http://schemas.microsoft.com/office/drawing/2014/main" id="{5D59ADF6-5143-98B4-7C28-BE4769D35EDD}"/>
              </a:ext>
            </a:extLst>
          </p:cNvPr>
          <p:cNvSpPr>
            <a:spLocks/>
          </p:cNvSpPr>
          <p:nvPr/>
        </p:nvSpPr>
        <p:spPr>
          <a:xfrm>
            <a:off x="572433" y="2181564"/>
            <a:ext cx="5316619"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When back-ups across databases, Kubernetes, and storage don’t align, restores fail, leaving teams with corrupted data and hours of manual rebuilds instead of a clean, consistent recovery</a:t>
            </a:r>
          </a:p>
        </p:txBody>
      </p:sp>
      <p:cxnSp>
        <p:nvCxnSpPr>
          <p:cNvPr id="6" name="Straight Connector 5">
            <a:extLst>
              <a:ext uri="{FF2B5EF4-FFF2-40B4-BE49-F238E27FC236}">
                <a16:creationId xmlns:a16="http://schemas.microsoft.com/office/drawing/2014/main" id="{A7F4FD97-CAE4-3A64-AE30-A8B6745EBD09}"/>
              </a:ext>
            </a:extLst>
          </p:cNvPr>
          <p:cNvCxnSpPr>
            <a:cxnSpLocks/>
          </p:cNvCxnSpPr>
          <p:nvPr/>
        </p:nvCxnSpPr>
        <p:spPr>
          <a:xfrm>
            <a:off x="415595" y="1421150"/>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6F089C7-4B52-0B1E-2CED-68696F259BA2}"/>
              </a:ext>
            </a:extLst>
          </p:cNvPr>
          <p:cNvCxnSpPr>
            <a:cxnSpLocks/>
          </p:cNvCxnSpPr>
          <p:nvPr/>
        </p:nvCxnSpPr>
        <p:spPr>
          <a:xfrm>
            <a:off x="415595" y="1881314"/>
            <a:ext cx="0" cy="946581"/>
          </a:xfrm>
          <a:prstGeom prst="line">
            <a:avLst/>
          </a:prstGeom>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3E97FDD1-375F-6FCE-0BF0-3CF224BCEC27}"/>
              </a:ext>
            </a:extLst>
          </p:cNvPr>
          <p:cNvSpPr>
            <a:spLocks/>
          </p:cNvSpPr>
          <p:nvPr/>
        </p:nvSpPr>
        <p:spPr>
          <a:xfrm>
            <a:off x="6283324" y="1000700"/>
            <a:ext cx="4148170" cy="33823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561" rIns="0" bIns="45561"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Commvault Cloud Capability</a:t>
            </a:r>
          </a:p>
        </p:txBody>
      </p:sp>
      <p:grpSp>
        <p:nvGrpSpPr>
          <p:cNvPr id="144" name="Group 143">
            <a:extLst>
              <a:ext uri="{FF2B5EF4-FFF2-40B4-BE49-F238E27FC236}">
                <a16:creationId xmlns:a16="http://schemas.microsoft.com/office/drawing/2014/main" id="{26815A55-E08E-0A0E-2A3D-844A71C7A41B}"/>
              </a:ext>
            </a:extLst>
          </p:cNvPr>
          <p:cNvGrpSpPr/>
          <p:nvPr/>
        </p:nvGrpSpPr>
        <p:grpSpPr>
          <a:xfrm>
            <a:off x="572433" y="1506398"/>
            <a:ext cx="317772" cy="289669"/>
            <a:chOff x="686086" y="2436883"/>
            <a:chExt cx="317772" cy="289669"/>
          </a:xfrm>
          <a:solidFill>
            <a:schemeClr val="bg1"/>
          </a:solidFill>
        </p:grpSpPr>
        <p:sp>
          <p:nvSpPr>
            <p:cNvPr id="149" name="Freeform: Shape 148">
              <a:extLst>
                <a:ext uri="{FF2B5EF4-FFF2-40B4-BE49-F238E27FC236}">
                  <a16:creationId xmlns:a16="http://schemas.microsoft.com/office/drawing/2014/main" id="{6C637192-5C81-05CF-9E90-AD90574BCD2D}"/>
                </a:ext>
              </a:extLst>
            </p:cNvPr>
            <p:cNvSpPr/>
            <p:nvPr/>
          </p:nvSpPr>
          <p:spPr>
            <a:xfrm>
              <a:off x="727374" y="2436883"/>
              <a:ext cx="276484" cy="278948"/>
            </a:xfrm>
            <a:custGeom>
              <a:avLst/>
              <a:gdLst>
                <a:gd name="connsiteX0" fmla="*/ 45054 w 50210"/>
                <a:gd name="connsiteY0" fmla="*/ 50660 h 50659"/>
                <a:gd name="connsiteX1" fmla="*/ 21785 w 50210"/>
                <a:gd name="connsiteY1" fmla="*/ 50660 h 50659"/>
                <a:gd name="connsiteX2" fmla="*/ 21125 w 50210"/>
                <a:gd name="connsiteY2" fmla="*/ 49999 h 50659"/>
                <a:gd name="connsiteX3" fmla="*/ 21785 w 50210"/>
                <a:gd name="connsiteY3" fmla="*/ 49338 h 50659"/>
                <a:gd name="connsiteX4" fmla="*/ 45054 w 50210"/>
                <a:gd name="connsiteY4" fmla="*/ 49338 h 50659"/>
                <a:gd name="connsiteX5" fmla="*/ 48889 w 50210"/>
                <a:gd name="connsiteY5" fmla="*/ 45503 h 50659"/>
                <a:gd name="connsiteX6" fmla="*/ 48889 w 50210"/>
                <a:gd name="connsiteY6" fmla="*/ 5157 h 50659"/>
                <a:gd name="connsiteX7" fmla="*/ 45054 w 50210"/>
                <a:gd name="connsiteY7" fmla="*/ 1322 h 50659"/>
                <a:gd name="connsiteX8" fmla="*/ 5157 w 50210"/>
                <a:gd name="connsiteY8" fmla="*/ 1321 h 50659"/>
                <a:gd name="connsiteX9" fmla="*/ 1321 w 50210"/>
                <a:gd name="connsiteY9" fmla="*/ 5157 h 50659"/>
                <a:gd name="connsiteX10" fmla="*/ 1321 w 50210"/>
                <a:gd name="connsiteY10" fmla="*/ 36312 h 50659"/>
                <a:gd name="connsiteX11" fmla="*/ 661 w 50210"/>
                <a:gd name="connsiteY11" fmla="*/ 36972 h 50659"/>
                <a:gd name="connsiteX12" fmla="*/ 0 w 50210"/>
                <a:gd name="connsiteY12" fmla="*/ 36312 h 50659"/>
                <a:gd name="connsiteX13" fmla="*/ 0 w 50210"/>
                <a:gd name="connsiteY13" fmla="*/ 5157 h 50659"/>
                <a:gd name="connsiteX14" fmla="*/ 5157 w 50210"/>
                <a:gd name="connsiteY14" fmla="*/ 0 h 50659"/>
                <a:gd name="connsiteX15" fmla="*/ 45054 w 50210"/>
                <a:gd name="connsiteY15" fmla="*/ 0 h 50659"/>
                <a:gd name="connsiteX16" fmla="*/ 50211 w 50210"/>
                <a:gd name="connsiteY16" fmla="*/ 5157 h 50659"/>
                <a:gd name="connsiteX17" fmla="*/ 50211 w 50210"/>
                <a:gd name="connsiteY17" fmla="*/ 45503 h 50659"/>
                <a:gd name="connsiteX18" fmla="*/ 45054 w 50210"/>
                <a:gd name="connsiteY18" fmla="*/ 50660 h 5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210" h="50659">
                  <a:moveTo>
                    <a:pt x="45054" y="50660"/>
                  </a:moveTo>
                  <a:lnTo>
                    <a:pt x="21785" y="50660"/>
                  </a:lnTo>
                  <a:cubicBezTo>
                    <a:pt x="21421" y="50660"/>
                    <a:pt x="21125" y="50364"/>
                    <a:pt x="21125" y="49999"/>
                  </a:cubicBezTo>
                  <a:cubicBezTo>
                    <a:pt x="21125" y="49634"/>
                    <a:pt x="21421" y="49338"/>
                    <a:pt x="21785" y="49338"/>
                  </a:cubicBezTo>
                  <a:lnTo>
                    <a:pt x="45054" y="49338"/>
                  </a:lnTo>
                  <a:cubicBezTo>
                    <a:pt x="47169" y="49338"/>
                    <a:pt x="48889" y="47618"/>
                    <a:pt x="48889" y="45503"/>
                  </a:cubicBezTo>
                  <a:lnTo>
                    <a:pt x="48889" y="5157"/>
                  </a:lnTo>
                  <a:cubicBezTo>
                    <a:pt x="48889" y="3042"/>
                    <a:pt x="47169" y="1322"/>
                    <a:pt x="45054" y="1322"/>
                  </a:cubicBezTo>
                  <a:lnTo>
                    <a:pt x="5157" y="1321"/>
                  </a:lnTo>
                  <a:cubicBezTo>
                    <a:pt x="3042" y="1321"/>
                    <a:pt x="1321" y="3042"/>
                    <a:pt x="1321" y="5157"/>
                  </a:cubicBezTo>
                  <a:lnTo>
                    <a:pt x="1321" y="36312"/>
                  </a:lnTo>
                  <a:cubicBezTo>
                    <a:pt x="1321" y="36676"/>
                    <a:pt x="1026" y="36972"/>
                    <a:pt x="661" y="36972"/>
                  </a:cubicBezTo>
                  <a:cubicBezTo>
                    <a:pt x="296" y="36972"/>
                    <a:pt x="0" y="36676"/>
                    <a:pt x="0" y="36312"/>
                  </a:cubicBezTo>
                  <a:lnTo>
                    <a:pt x="0" y="5157"/>
                  </a:lnTo>
                  <a:cubicBezTo>
                    <a:pt x="0" y="2314"/>
                    <a:pt x="2313" y="0"/>
                    <a:pt x="5157" y="0"/>
                  </a:cubicBezTo>
                  <a:lnTo>
                    <a:pt x="45054" y="0"/>
                  </a:lnTo>
                  <a:cubicBezTo>
                    <a:pt x="47897" y="0"/>
                    <a:pt x="50211" y="2314"/>
                    <a:pt x="50211" y="5157"/>
                  </a:cubicBezTo>
                  <a:lnTo>
                    <a:pt x="50211" y="45503"/>
                  </a:lnTo>
                  <a:cubicBezTo>
                    <a:pt x="50211" y="48346"/>
                    <a:pt x="47897" y="50660"/>
                    <a:pt x="45054" y="5066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0" name="Freeform: Shape 149">
              <a:extLst>
                <a:ext uri="{FF2B5EF4-FFF2-40B4-BE49-F238E27FC236}">
                  <a16:creationId xmlns:a16="http://schemas.microsoft.com/office/drawing/2014/main" id="{7FECC337-C7E2-7856-7819-7269142DA1CA}"/>
                </a:ext>
              </a:extLst>
            </p:cNvPr>
            <p:cNvSpPr/>
            <p:nvPr/>
          </p:nvSpPr>
          <p:spPr>
            <a:xfrm>
              <a:off x="727374" y="2495405"/>
              <a:ext cx="276484" cy="7274"/>
            </a:xfrm>
            <a:custGeom>
              <a:avLst/>
              <a:gdLst>
                <a:gd name="connsiteX0" fmla="*/ 49550 w 50210"/>
                <a:gd name="connsiteY0" fmla="*/ 1321 h 1321"/>
                <a:gd name="connsiteX1" fmla="*/ 661 w 50210"/>
                <a:gd name="connsiteY1" fmla="*/ 1321 h 1321"/>
                <a:gd name="connsiteX2" fmla="*/ 0 w 50210"/>
                <a:gd name="connsiteY2" fmla="*/ 661 h 1321"/>
                <a:gd name="connsiteX3" fmla="*/ 661 w 50210"/>
                <a:gd name="connsiteY3" fmla="*/ 0 h 1321"/>
                <a:gd name="connsiteX4" fmla="*/ 49550 w 50210"/>
                <a:gd name="connsiteY4" fmla="*/ 0 h 1321"/>
                <a:gd name="connsiteX5" fmla="*/ 50211 w 50210"/>
                <a:gd name="connsiteY5" fmla="*/ 661 h 1321"/>
                <a:gd name="connsiteX6" fmla="*/ 49550 w 50210"/>
                <a:gd name="connsiteY6" fmla="*/ 1321 h 1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10" h="1321">
                  <a:moveTo>
                    <a:pt x="49550" y="1321"/>
                  </a:moveTo>
                  <a:lnTo>
                    <a:pt x="661" y="1321"/>
                  </a:lnTo>
                  <a:cubicBezTo>
                    <a:pt x="296" y="1321"/>
                    <a:pt x="0" y="1026"/>
                    <a:pt x="0" y="661"/>
                  </a:cubicBezTo>
                  <a:cubicBezTo>
                    <a:pt x="0" y="296"/>
                    <a:pt x="296" y="0"/>
                    <a:pt x="661" y="0"/>
                  </a:cubicBezTo>
                  <a:lnTo>
                    <a:pt x="49550" y="0"/>
                  </a:lnTo>
                  <a:cubicBezTo>
                    <a:pt x="49915" y="0"/>
                    <a:pt x="50211" y="296"/>
                    <a:pt x="50211" y="661"/>
                  </a:cubicBezTo>
                  <a:cubicBezTo>
                    <a:pt x="50211" y="1026"/>
                    <a:pt x="49915" y="1321"/>
                    <a:pt x="49550" y="132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1" name="Freeform: Shape 150">
              <a:extLst>
                <a:ext uri="{FF2B5EF4-FFF2-40B4-BE49-F238E27FC236}">
                  <a16:creationId xmlns:a16="http://schemas.microsoft.com/office/drawing/2014/main" id="{56B24346-A123-868A-4EFA-75C3C6B4EF1A}"/>
                </a:ext>
              </a:extLst>
            </p:cNvPr>
            <p:cNvSpPr/>
            <p:nvPr/>
          </p:nvSpPr>
          <p:spPr>
            <a:xfrm>
              <a:off x="757946" y="2458116"/>
              <a:ext cx="34565" cy="23342"/>
            </a:xfrm>
            <a:custGeom>
              <a:avLst/>
              <a:gdLst>
                <a:gd name="connsiteX0" fmla="*/ 1321 w 6277"/>
                <a:gd name="connsiteY0" fmla="*/ 2918 h 4239"/>
                <a:gd name="connsiteX1" fmla="*/ 4956 w 6277"/>
                <a:gd name="connsiteY1" fmla="*/ 2918 h 4239"/>
                <a:gd name="connsiteX2" fmla="*/ 4956 w 6277"/>
                <a:gd name="connsiteY2" fmla="*/ 1321 h 4239"/>
                <a:gd name="connsiteX3" fmla="*/ 1321 w 6277"/>
                <a:gd name="connsiteY3" fmla="*/ 1321 h 4239"/>
                <a:gd name="connsiteX4" fmla="*/ 1321 w 6277"/>
                <a:gd name="connsiteY4" fmla="*/ 2918 h 4239"/>
                <a:gd name="connsiteX5" fmla="*/ 5617 w 6277"/>
                <a:gd name="connsiteY5" fmla="*/ 4240 h 4239"/>
                <a:gd name="connsiteX6" fmla="*/ 661 w 6277"/>
                <a:gd name="connsiteY6" fmla="*/ 4240 h 4239"/>
                <a:gd name="connsiteX7" fmla="*/ 0 w 6277"/>
                <a:gd name="connsiteY7" fmla="*/ 3579 h 4239"/>
                <a:gd name="connsiteX8" fmla="*/ 0 w 6277"/>
                <a:gd name="connsiteY8" fmla="*/ 661 h 4239"/>
                <a:gd name="connsiteX9" fmla="*/ 661 w 6277"/>
                <a:gd name="connsiteY9" fmla="*/ 0 h 4239"/>
                <a:gd name="connsiteX10" fmla="*/ 5617 w 6277"/>
                <a:gd name="connsiteY10" fmla="*/ 0 h 4239"/>
                <a:gd name="connsiteX11" fmla="*/ 6277 w 6277"/>
                <a:gd name="connsiteY11" fmla="*/ 661 h 4239"/>
                <a:gd name="connsiteX12" fmla="*/ 6277 w 6277"/>
                <a:gd name="connsiteY12" fmla="*/ 3579 h 4239"/>
                <a:gd name="connsiteX13" fmla="*/ 5617 w 6277"/>
                <a:gd name="connsiteY13" fmla="*/ 4240 h 4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77" h="4239">
                  <a:moveTo>
                    <a:pt x="1321" y="2918"/>
                  </a:moveTo>
                  <a:lnTo>
                    <a:pt x="4956" y="2918"/>
                  </a:lnTo>
                  <a:lnTo>
                    <a:pt x="4956" y="1321"/>
                  </a:lnTo>
                  <a:lnTo>
                    <a:pt x="1321" y="1321"/>
                  </a:lnTo>
                  <a:lnTo>
                    <a:pt x="1321" y="2918"/>
                  </a:lnTo>
                  <a:close/>
                  <a:moveTo>
                    <a:pt x="5617" y="4240"/>
                  </a:moveTo>
                  <a:lnTo>
                    <a:pt x="661" y="4240"/>
                  </a:lnTo>
                  <a:cubicBezTo>
                    <a:pt x="296" y="4240"/>
                    <a:pt x="0" y="3944"/>
                    <a:pt x="0" y="3579"/>
                  </a:cubicBezTo>
                  <a:lnTo>
                    <a:pt x="0" y="661"/>
                  </a:lnTo>
                  <a:cubicBezTo>
                    <a:pt x="0" y="296"/>
                    <a:pt x="296" y="0"/>
                    <a:pt x="661" y="0"/>
                  </a:cubicBezTo>
                  <a:lnTo>
                    <a:pt x="5617" y="0"/>
                  </a:lnTo>
                  <a:cubicBezTo>
                    <a:pt x="5981" y="0"/>
                    <a:pt x="6277" y="296"/>
                    <a:pt x="6277" y="661"/>
                  </a:cubicBezTo>
                  <a:lnTo>
                    <a:pt x="6277" y="3579"/>
                  </a:lnTo>
                  <a:cubicBezTo>
                    <a:pt x="6277" y="3944"/>
                    <a:pt x="5981" y="4240"/>
                    <a:pt x="5617" y="424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2" name="Freeform: Shape 151">
              <a:extLst>
                <a:ext uri="{FF2B5EF4-FFF2-40B4-BE49-F238E27FC236}">
                  <a16:creationId xmlns:a16="http://schemas.microsoft.com/office/drawing/2014/main" id="{A9FA473A-1348-C97A-CB40-AE8F32AD5BAD}"/>
                </a:ext>
              </a:extLst>
            </p:cNvPr>
            <p:cNvSpPr/>
            <p:nvPr/>
          </p:nvSpPr>
          <p:spPr>
            <a:xfrm>
              <a:off x="805793" y="2458116"/>
              <a:ext cx="34565" cy="23342"/>
            </a:xfrm>
            <a:custGeom>
              <a:avLst/>
              <a:gdLst>
                <a:gd name="connsiteX0" fmla="*/ 1321 w 6277"/>
                <a:gd name="connsiteY0" fmla="*/ 2918 h 4239"/>
                <a:gd name="connsiteX1" fmla="*/ 4956 w 6277"/>
                <a:gd name="connsiteY1" fmla="*/ 2918 h 4239"/>
                <a:gd name="connsiteX2" fmla="*/ 4956 w 6277"/>
                <a:gd name="connsiteY2" fmla="*/ 1321 h 4239"/>
                <a:gd name="connsiteX3" fmla="*/ 1321 w 6277"/>
                <a:gd name="connsiteY3" fmla="*/ 1321 h 4239"/>
                <a:gd name="connsiteX4" fmla="*/ 1321 w 6277"/>
                <a:gd name="connsiteY4" fmla="*/ 2918 h 4239"/>
                <a:gd name="connsiteX5" fmla="*/ 5617 w 6277"/>
                <a:gd name="connsiteY5" fmla="*/ 4240 h 4239"/>
                <a:gd name="connsiteX6" fmla="*/ 661 w 6277"/>
                <a:gd name="connsiteY6" fmla="*/ 4240 h 4239"/>
                <a:gd name="connsiteX7" fmla="*/ 0 w 6277"/>
                <a:gd name="connsiteY7" fmla="*/ 3579 h 4239"/>
                <a:gd name="connsiteX8" fmla="*/ 0 w 6277"/>
                <a:gd name="connsiteY8" fmla="*/ 661 h 4239"/>
                <a:gd name="connsiteX9" fmla="*/ 661 w 6277"/>
                <a:gd name="connsiteY9" fmla="*/ 0 h 4239"/>
                <a:gd name="connsiteX10" fmla="*/ 5617 w 6277"/>
                <a:gd name="connsiteY10" fmla="*/ 0 h 4239"/>
                <a:gd name="connsiteX11" fmla="*/ 6277 w 6277"/>
                <a:gd name="connsiteY11" fmla="*/ 661 h 4239"/>
                <a:gd name="connsiteX12" fmla="*/ 6277 w 6277"/>
                <a:gd name="connsiteY12" fmla="*/ 3579 h 4239"/>
                <a:gd name="connsiteX13" fmla="*/ 5617 w 6277"/>
                <a:gd name="connsiteY13" fmla="*/ 4240 h 4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77" h="4239">
                  <a:moveTo>
                    <a:pt x="1321" y="2918"/>
                  </a:moveTo>
                  <a:lnTo>
                    <a:pt x="4956" y="2918"/>
                  </a:lnTo>
                  <a:lnTo>
                    <a:pt x="4956" y="1321"/>
                  </a:lnTo>
                  <a:lnTo>
                    <a:pt x="1321" y="1321"/>
                  </a:lnTo>
                  <a:lnTo>
                    <a:pt x="1321" y="2918"/>
                  </a:lnTo>
                  <a:close/>
                  <a:moveTo>
                    <a:pt x="5617" y="4240"/>
                  </a:moveTo>
                  <a:lnTo>
                    <a:pt x="661" y="4240"/>
                  </a:lnTo>
                  <a:cubicBezTo>
                    <a:pt x="296" y="4240"/>
                    <a:pt x="0" y="3944"/>
                    <a:pt x="0" y="3579"/>
                  </a:cubicBezTo>
                  <a:lnTo>
                    <a:pt x="0" y="661"/>
                  </a:lnTo>
                  <a:cubicBezTo>
                    <a:pt x="0" y="296"/>
                    <a:pt x="296" y="0"/>
                    <a:pt x="661" y="0"/>
                  </a:cubicBezTo>
                  <a:lnTo>
                    <a:pt x="5617" y="0"/>
                  </a:lnTo>
                  <a:cubicBezTo>
                    <a:pt x="5981" y="0"/>
                    <a:pt x="6277" y="296"/>
                    <a:pt x="6277" y="661"/>
                  </a:cubicBezTo>
                  <a:lnTo>
                    <a:pt x="6277" y="3579"/>
                  </a:lnTo>
                  <a:cubicBezTo>
                    <a:pt x="6277" y="3944"/>
                    <a:pt x="5981" y="4240"/>
                    <a:pt x="5617" y="424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3" name="Freeform: Shape 152">
              <a:extLst>
                <a:ext uri="{FF2B5EF4-FFF2-40B4-BE49-F238E27FC236}">
                  <a16:creationId xmlns:a16="http://schemas.microsoft.com/office/drawing/2014/main" id="{03901842-FD44-0582-2D1F-114C6690A513}"/>
                </a:ext>
              </a:extLst>
            </p:cNvPr>
            <p:cNvSpPr/>
            <p:nvPr/>
          </p:nvSpPr>
          <p:spPr>
            <a:xfrm>
              <a:off x="853645" y="2458116"/>
              <a:ext cx="34565" cy="23342"/>
            </a:xfrm>
            <a:custGeom>
              <a:avLst/>
              <a:gdLst>
                <a:gd name="connsiteX0" fmla="*/ 1321 w 6277"/>
                <a:gd name="connsiteY0" fmla="*/ 2918 h 4239"/>
                <a:gd name="connsiteX1" fmla="*/ 4956 w 6277"/>
                <a:gd name="connsiteY1" fmla="*/ 2918 h 4239"/>
                <a:gd name="connsiteX2" fmla="*/ 4956 w 6277"/>
                <a:gd name="connsiteY2" fmla="*/ 1321 h 4239"/>
                <a:gd name="connsiteX3" fmla="*/ 1321 w 6277"/>
                <a:gd name="connsiteY3" fmla="*/ 1321 h 4239"/>
                <a:gd name="connsiteX4" fmla="*/ 1321 w 6277"/>
                <a:gd name="connsiteY4" fmla="*/ 2918 h 4239"/>
                <a:gd name="connsiteX5" fmla="*/ 5616 w 6277"/>
                <a:gd name="connsiteY5" fmla="*/ 4240 h 4239"/>
                <a:gd name="connsiteX6" fmla="*/ 661 w 6277"/>
                <a:gd name="connsiteY6" fmla="*/ 4240 h 4239"/>
                <a:gd name="connsiteX7" fmla="*/ 0 w 6277"/>
                <a:gd name="connsiteY7" fmla="*/ 3579 h 4239"/>
                <a:gd name="connsiteX8" fmla="*/ 0 w 6277"/>
                <a:gd name="connsiteY8" fmla="*/ 661 h 4239"/>
                <a:gd name="connsiteX9" fmla="*/ 661 w 6277"/>
                <a:gd name="connsiteY9" fmla="*/ 0 h 4239"/>
                <a:gd name="connsiteX10" fmla="*/ 5616 w 6277"/>
                <a:gd name="connsiteY10" fmla="*/ 0 h 4239"/>
                <a:gd name="connsiteX11" fmla="*/ 6277 w 6277"/>
                <a:gd name="connsiteY11" fmla="*/ 661 h 4239"/>
                <a:gd name="connsiteX12" fmla="*/ 6277 w 6277"/>
                <a:gd name="connsiteY12" fmla="*/ 3579 h 4239"/>
                <a:gd name="connsiteX13" fmla="*/ 5616 w 6277"/>
                <a:gd name="connsiteY13" fmla="*/ 4240 h 4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77" h="4239">
                  <a:moveTo>
                    <a:pt x="1321" y="2918"/>
                  </a:moveTo>
                  <a:lnTo>
                    <a:pt x="4956" y="2918"/>
                  </a:lnTo>
                  <a:lnTo>
                    <a:pt x="4956" y="1321"/>
                  </a:lnTo>
                  <a:lnTo>
                    <a:pt x="1321" y="1321"/>
                  </a:lnTo>
                  <a:lnTo>
                    <a:pt x="1321" y="2918"/>
                  </a:lnTo>
                  <a:close/>
                  <a:moveTo>
                    <a:pt x="5616" y="4240"/>
                  </a:moveTo>
                  <a:lnTo>
                    <a:pt x="661" y="4240"/>
                  </a:lnTo>
                  <a:cubicBezTo>
                    <a:pt x="296" y="4240"/>
                    <a:pt x="0" y="3944"/>
                    <a:pt x="0" y="3579"/>
                  </a:cubicBezTo>
                  <a:lnTo>
                    <a:pt x="0" y="661"/>
                  </a:lnTo>
                  <a:cubicBezTo>
                    <a:pt x="0" y="296"/>
                    <a:pt x="296" y="0"/>
                    <a:pt x="661" y="0"/>
                  </a:cubicBezTo>
                  <a:lnTo>
                    <a:pt x="5616" y="0"/>
                  </a:lnTo>
                  <a:cubicBezTo>
                    <a:pt x="5982" y="0"/>
                    <a:pt x="6277" y="296"/>
                    <a:pt x="6277" y="661"/>
                  </a:cubicBezTo>
                  <a:lnTo>
                    <a:pt x="6277" y="3579"/>
                  </a:lnTo>
                  <a:cubicBezTo>
                    <a:pt x="6277" y="3944"/>
                    <a:pt x="5981" y="4240"/>
                    <a:pt x="5616" y="424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56" name="Group 155">
              <a:extLst>
                <a:ext uri="{FF2B5EF4-FFF2-40B4-BE49-F238E27FC236}">
                  <a16:creationId xmlns:a16="http://schemas.microsoft.com/office/drawing/2014/main" id="{4B416E2D-D03F-D49C-5286-E89226DF762A}"/>
                </a:ext>
              </a:extLst>
            </p:cNvPr>
            <p:cNvGrpSpPr/>
            <p:nvPr/>
          </p:nvGrpSpPr>
          <p:grpSpPr>
            <a:xfrm>
              <a:off x="820700" y="2566786"/>
              <a:ext cx="110163" cy="37730"/>
              <a:chOff x="768343" y="2525855"/>
              <a:chExt cx="110163" cy="37730"/>
            </a:xfrm>
            <a:grpFill/>
          </p:grpSpPr>
          <p:sp>
            <p:nvSpPr>
              <p:cNvPr id="166" name="Freeform: Shape 165">
                <a:extLst>
                  <a:ext uri="{FF2B5EF4-FFF2-40B4-BE49-F238E27FC236}">
                    <a16:creationId xmlns:a16="http://schemas.microsoft.com/office/drawing/2014/main" id="{ED54BD68-E0CC-FE4B-343A-6906E47CE1A4}"/>
                  </a:ext>
                </a:extLst>
              </p:cNvPr>
              <p:cNvSpPr/>
              <p:nvPr/>
            </p:nvSpPr>
            <p:spPr>
              <a:xfrm>
                <a:off x="809234" y="2526610"/>
                <a:ext cx="28375" cy="36975"/>
              </a:xfrm>
              <a:custGeom>
                <a:avLst/>
                <a:gdLst>
                  <a:gd name="connsiteX0" fmla="*/ 4493 w 5153"/>
                  <a:gd name="connsiteY0" fmla="*/ 6715 h 6715"/>
                  <a:gd name="connsiteX1" fmla="*/ 3954 w 5153"/>
                  <a:gd name="connsiteY1" fmla="*/ 6436 h 6715"/>
                  <a:gd name="connsiteX2" fmla="*/ 122 w 5153"/>
                  <a:gd name="connsiteY2" fmla="*/ 1044 h 6715"/>
                  <a:gd name="connsiteX3" fmla="*/ 278 w 5153"/>
                  <a:gd name="connsiteY3" fmla="*/ 123 h 6715"/>
                  <a:gd name="connsiteX4" fmla="*/ 1199 w 5153"/>
                  <a:gd name="connsiteY4" fmla="*/ 279 h 6715"/>
                  <a:gd name="connsiteX5" fmla="*/ 5031 w 5153"/>
                  <a:gd name="connsiteY5" fmla="*/ 5671 h 6715"/>
                  <a:gd name="connsiteX6" fmla="*/ 4875 w 5153"/>
                  <a:gd name="connsiteY6" fmla="*/ 6592 h 6715"/>
                  <a:gd name="connsiteX7" fmla="*/ 4493 w 5153"/>
                  <a:gd name="connsiteY7" fmla="*/ 6715 h 6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53" h="6715">
                    <a:moveTo>
                      <a:pt x="4493" y="6715"/>
                    </a:moveTo>
                    <a:cubicBezTo>
                      <a:pt x="4286" y="6715"/>
                      <a:pt x="4083" y="6618"/>
                      <a:pt x="3954" y="6436"/>
                    </a:cubicBezTo>
                    <a:lnTo>
                      <a:pt x="122" y="1044"/>
                    </a:lnTo>
                    <a:cubicBezTo>
                      <a:pt x="-89" y="746"/>
                      <a:pt x="-19" y="334"/>
                      <a:pt x="278" y="123"/>
                    </a:cubicBezTo>
                    <a:cubicBezTo>
                      <a:pt x="576" y="-89"/>
                      <a:pt x="988" y="-19"/>
                      <a:pt x="1199" y="279"/>
                    </a:cubicBezTo>
                    <a:lnTo>
                      <a:pt x="5031" y="5671"/>
                    </a:lnTo>
                    <a:cubicBezTo>
                      <a:pt x="5242" y="5968"/>
                      <a:pt x="5172" y="6381"/>
                      <a:pt x="4875" y="6592"/>
                    </a:cubicBezTo>
                    <a:cubicBezTo>
                      <a:pt x="4759" y="6675"/>
                      <a:pt x="4625" y="6715"/>
                      <a:pt x="4493" y="671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7" name="Freeform: Shape 166">
                <a:extLst>
                  <a:ext uri="{FF2B5EF4-FFF2-40B4-BE49-F238E27FC236}">
                    <a16:creationId xmlns:a16="http://schemas.microsoft.com/office/drawing/2014/main" id="{0A2E191A-A3C8-E7BD-1129-FAB716CABBA5}"/>
                  </a:ext>
                </a:extLst>
              </p:cNvPr>
              <p:cNvSpPr/>
              <p:nvPr/>
            </p:nvSpPr>
            <p:spPr>
              <a:xfrm>
                <a:off x="768343" y="2525855"/>
                <a:ext cx="33182" cy="37724"/>
              </a:xfrm>
              <a:custGeom>
                <a:avLst/>
                <a:gdLst>
                  <a:gd name="connsiteX0" fmla="*/ 5365 w 6026"/>
                  <a:gd name="connsiteY0" fmla="*/ 6852 h 6851"/>
                  <a:gd name="connsiteX1" fmla="*/ 5031 w 6026"/>
                  <a:gd name="connsiteY1" fmla="*/ 6760 h 6851"/>
                  <a:gd name="connsiteX2" fmla="*/ 326 w 6026"/>
                  <a:gd name="connsiteY2" fmla="*/ 3996 h 6851"/>
                  <a:gd name="connsiteX3" fmla="*/ 0 w 6026"/>
                  <a:gd name="connsiteY3" fmla="*/ 3426 h 6851"/>
                  <a:gd name="connsiteX4" fmla="*/ 326 w 6026"/>
                  <a:gd name="connsiteY4" fmla="*/ 2857 h 6851"/>
                  <a:gd name="connsiteX5" fmla="*/ 5031 w 6026"/>
                  <a:gd name="connsiteY5" fmla="*/ 91 h 6851"/>
                  <a:gd name="connsiteX6" fmla="*/ 5935 w 6026"/>
                  <a:gd name="connsiteY6" fmla="*/ 326 h 6851"/>
                  <a:gd name="connsiteX7" fmla="*/ 5700 w 6026"/>
                  <a:gd name="connsiteY7" fmla="*/ 1230 h 6851"/>
                  <a:gd name="connsiteX8" fmla="*/ 1965 w 6026"/>
                  <a:gd name="connsiteY8" fmla="*/ 3426 h 6851"/>
                  <a:gd name="connsiteX9" fmla="*/ 5700 w 6026"/>
                  <a:gd name="connsiteY9" fmla="*/ 5621 h 6851"/>
                  <a:gd name="connsiteX10" fmla="*/ 5935 w 6026"/>
                  <a:gd name="connsiteY10" fmla="*/ 6525 h 6851"/>
                  <a:gd name="connsiteX11" fmla="*/ 5365 w 6026"/>
                  <a:gd name="connsiteY11" fmla="*/ 6852 h 6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26" h="6851">
                    <a:moveTo>
                      <a:pt x="5365" y="6852"/>
                    </a:moveTo>
                    <a:cubicBezTo>
                      <a:pt x="5251" y="6852"/>
                      <a:pt x="5136" y="6822"/>
                      <a:pt x="5031" y="6760"/>
                    </a:cubicBezTo>
                    <a:lnTo>
                      <a:pt x="326" y="3996"/>
                    </a:lnTo>
                    <a:cubicBezTo>
                      <a:pt x="124" y="3876"/>
                      <a:pt x="0" y="3660"/>
                      <a:pt x="0" y="3426"/>
                    </a:cubicBezTo>
                    <a:cubicBezTo>
                      <a:pt x="0" y="3192"/>
                      <a:pt x="124" y="2975"/>
                      <a:pt x="326" y="2857"/>
                    </a:cubicBezTo>
                    <a:lnTo>
                      <a:pt x="5031" y="91"/>
                    </a:lnTo>
                    <a:cubicBezTo>
                      <a:pt x="5345" y="-94"/>
                      <a:pt x="5750" y="12"/>
                      <a:pt x="5935" y="326"/>
                    </a:cubicBezTo>
                    <a:cubicBezTo>
                      <a:pt x="6120" y="640"/>
                      <a:pt x="6015" y="1045"/>
                      <a:pt x="5700" y="1230"/>
                    </a:cubicBezTo>
                    <a:lnTo>
                      <a:pt x="1965" y="3426"/>
                    </a:lnTo>
                    <a:lnTo>
                      <a:pt x="5700" y="5621"/>
                    </a:lnTo>
                    <a:cubicBezTo>
                      <a:pt x="6015" y="5806"/>
                      <a:pt x="6120" y="6211"/>
                      <a:pt x="5935" y="6525"/>
                    </a:cubicBezTo>
                    <a:cubicBezTo>
                      <a:pt x="5812" y="6735"/>
                      <a:pt x="5591" y="6852"/>
                      <a:pt x="5365" y="685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8" name="Freeform: Shape 167">
                <a:extLst>
                  <a:ext uri="{FF2B5EF4-FFF2-40B4-BE49-F238E27FC236}">
                    <a16:creationId xmlns:a16="http://schemas.microsoft.com/office/drawing/2014/main" id="{D1845F38-A565-3EE0-DFC5-5C1427F26ACF}"/>
                  </a:ext>
                </a:extLst>
              </p:cNvPr>
              <p:cNvSpPr/>
              <p:nvPr/>
            </p:nvSpPr>
            <p:spPr>
              <a:xfrm>
                <a:off x="845324" y="2525855"/>
                <a:ext cx="33182" cy="37724"/>
              </a:xfrm>
              <a:custGeom>
                <a:avLst/>
                <a:gdLst>
                  <a:gd name="connsiteX0" fmla="*/ 661 w 6026"/>
                  <a:gd name="connsiteY0" fmla="*/ 6852 h 6851"/>
                  <a:gd name="connsiteX1" fmla="*/ 91 w 6026"/>
                  <a:gd name="connsiteY1" fmla="*/ 6525 h 6851"/>
                  <a:gd name="connsiteX2" fmla="*/ 326 w 6026"/>
                  <a:gd name="connsiteY2" fmla="*/ 5621 h 6851"/>
                  <a:gd name="connsiteX3" fmla="*/ 4061 w 6026"/>
                  <a:gd name="connsiteY3" fmla="*/ 3426 h 6851"/>
                  <a:gd name="connsiteX4" fmla="*/ 326 w 6026"/>
                  <a:gd name="connsiteY4" fmla="*/ 1230 h 6851"/>
                  <a:gd name="connsiteX5" fmla="*/ 91 w 6026"/>
                  <a:gd name="connsiteY5" fmla="*/ 326 h 6851"/>
                  <a:gd name="connsiteX6" fmla="*/ 996 w 6026"/>
                  <a:gd name="connsiteY6" fmla="*/ 91 h 6851"/>
                  <a:gd name="connsiteX7" fmla="*/ 5700 w 6026"/>
                  <a:gd name="connsiteY7" fmla="*/ 2857 h 6851"/>
                  <a:gd name="connsiteX8" fmla="*/ 6026 w 6026"/>
                  <a:gd name="connsiteY8" fmla="*/ 3426 h 6851"/>
                  <a:gd name="connsiteX9" fmla="*/ 5700 w 6026"/>
                  <a:gd name="connsiteY9" fmla="*/ 3996 h 6851"/>
                  <a:gd name="connsiteX10" fmla="*/ 996 w 6026"/>
                  <a:gd name="connsiteY10" fmla="*/ 6760 h 6851"/>
                  <a:gd name="connsiteX11" fmla="*/ 661 w 6026"/>
                  <a:gd name="connsiteY11" fmla="*/ 6852 h 6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26" h="6851">
                    <a:moveTo>
                      <a:pt x="661" y="6852"/>
                    </a:moveTo>
                    <a:cubicBezTo>
                      <a:pt x="435" y="6852"/>
                      <a:pt x="214" y="6735"/>
                      <a:pt x="91" y="6525"/>
                    </a:cubicBezTo>
                    <a:cubicBezTo>
                      <a:pt x="-94" y="6211"/>
                      <a:pt x="11" y="5806"/>
                      <a:pt x="326" y="5621"/>
                    </a:cubicBezTo>
                    <a:lnTo>
                      <a:pt x="4061" y="3426"/>
                    </a:lnTo>
                    <a:lnTo>
                      <a:pt x="326" y="1230"/>
                    </a:lnTo>
                    <a:cubicBezTo>
                      <a:pt x="11" y="1045"/>
                      <a:pt x="-94" y="640"/>
                      <a:pt x="91" y="326"/>
                    </a:cubicBezTo>
                    <a:cubicBezTo>
                      <a:pt x="276" y="12"/>
                      <a:pt x="681" y="-94"/>
                      <a:pt x="996" y="91"/>
                    </a:cubicBezTo>
                    <a:lnTo>
                      <a:pt x="5700" y="2857"/>
                    </a:lnTo>
                    <a:cubicBezTo>
                      <a:pt x="5902" y="2975"/>
                      <a:pt x="6026" y="3192"/>
                      <a:pt x="6026" y="3426"/>
                    </a:cubicBezTo>
                    <a:cubicBezTo>
                      <a:pt x="6026" y="3660"/>
                      <a:pt x="5902" y="3876"/>
                      <a:pt x="5700" y="3996"/>
                    </a:cubicBezTo>
                    <a:lnTo>
                      <a:pt x="996" y="6760"/>
                    </a:lnTo>
                    <a:cubicBezTo>
                      <a:pt x="890" y="6822"/>
                      <a:pt x="775" y="6852"/>
                      <a:pt x="661" y="685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57" name="Freeform: Shape 156">
              <a:extLst>
                <a:ext uri="{FF2B5EF4-FFF2-40B4-BE49-F238E27FC236}">
                  <a16:creationId xmlns:a16="http://schemas.microsoft.com/office/drawing/2014/main" id="{E4B43DE9-7466-66B8-37A1-69F16B459CBA}"/>
                </a:ext>
              </a:extLst>
            </p:cNvPr>
            <p:cNvSpPr/>
            <p:nvPr/>
          </p:nvSpPr>
          <p:spPr>
            <a:xfrm>
              <a:off x="686086" y="2579741"/>
              <a:ext cx="164932" cy="146811"/>
            </a:xfrm>
            <a:custGeom>
              <a:avLst/>
              <a:gdLst>
                <a:gd name="connsiteX0" fmla="*/ 14976 w 29952"/>
                <a:gd name="connsiteY0" fmla="*/ 1321 h 26662"/>
                <a:gd name="connsiteX1" fmla="*/ 13729 w 29952"/>
                <a:gd name="connsiteY1" fmla="*/ 2042 h 26662"/>
                <a:gd name="connsiteX2" fmla="*/ 1525 w 29952"/>
                <a:gd name="connsiteY2" fmla="*/ 23181 h 26662"/>
                <a:gd name="connsiteX3" fmla="*/ 1525 w 29952"/>
                <a:gd name="connsiteY3" fmla="*/ 24620 h 26662"/>
                <a:gd name="connsiteX4" fmla="*/ 2772 w 29952"/>
                <a:gd name="connsiteY4" fmla="*/ 25341 h 26662"/>
                <a:gd name="connsiteX5" fmla="*/ 27181 w 29952"/>
                <a:gd name="connsiteY5" fmla="*/ 25341 h 26662"/>
                <a:gd name="connsiteX6" fmla="*/ 28428 w 29952"/>
                <a:gd name="connsiteY6" fmla="*/ 24622 h 26662"/>
                <a:gd name="connsiteX7" fmla="*/ 28428 w 29952"/>
                <a:gd name="connsiteY7" fmla="*/ 23181 h 26662"/>
                <a:gd name="connsiteX8" fmla="*/ 16224 w 29952"/>
                <a:gd name="connsiteY8" fmla="*/ 2042 h 26662"/>
                <a:gd name="connsiteX9" fmla="*/ 14976 w 29952"/>
                <a:gd name="connsiteY9" fmla="*/ 1321 h 26662"/>
                <a:gd name="connsiteX10" fmla="*/ 27181 w 29952"/>
                <a:gd name="connsiteY10" fmla="*/ 26662 h 26662"/>
                <a:gd name="connsiteX11" fmla="*/ 2772 w 29952"/>
                <a:gd name="connsiteY11" fmla="*/ 26662 h 26662"/>
                <a:gd name="connsiteX12" fmla="*/ 380 w 29952"/>
                <a:gd name="connsiteY12" fmla="*/ 25282 h 26662"/>
                <a:gd name="connsiteX13" fmla="*/ 0 w 29952"/>
                <a:gd name="connsiteY13" fmla="*/ 23901 h 26662"/>
                <a:gd name="connsiteX14" fmla="*/ 380 w 29952"/>
                <a:gd name="connsiteY14" fmla="*/ 22520 h 26662"/>
                <a:gd name="connsiteX15" fmla="*/ 12584 w 29952"/>
                <a:gd name="connsiteY15" fmla="*/ 1381 h 26662"/>
                <a:gd name="connsiteX16" fmla="*/ 14976 w 29952"/>
                <a:gd name="connsiteY16" fmla="*/ 0 h 26662"/>
                <a:gd name="connsiteX17" fmla="*/ 17369 w 29952"/>
                <a:gd name="connsiteY17" fmla="*/ 1381 h 26662"/>
                <a:gd name="connsiteX18" fmla="*/ 29573 w 29952"/>
                <a:gd name="connsiteY18" fmla="*/ 22520 h 26662"/>
                <a:gd name="connsiteX19" fmla="*/ 29573 w 29952"/>
                <a:gd name="connsiteY19" fmla="*/ 25282 h 26662"/>
                <a:gd name="connsiteX20" fmla="*/ 27181 w 29952"/>
                <a:gd name="connsiteY20" fmla="*/ 26662 h 26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952" h="26662">
                  <a:moveTo>
                    <a:pt x="14976" y="1321"/>
                  </a:moveTo>
                  <a:cubicBezTo>
                    <a:pt x="14440" y="1321"/>
                    <a:pt x="13997" y="1577"/>
                    <a:pt x="13729" y="2042"/>
                  </a:cubicBezTo>
                  <a:lnTo>
                    <a:pt x="1525" y="23181"/>
                  </a:lnTo>
                  <a:cubicBezTo>
                    <a:pt x="1256" y="23645"/>
                    <a:pt x="1256" y="24157"/>
                    <a:pt x="1525" y="24620"/>
                  </a:cubicBezTo>
                  <a:cubicBezTo>
                    <a:pt x="1793" y="25085"/>
                    <a:pt x="2236" y="25341"/>
                    <a:pt x="2772" y="25341"/>
                  </a:cubicBezTo>
                  <a:lnTo>
                    <a:pt x="27181" y="25341"/>
                  </a:lnTo>
                  <a:cubicBezTo>
                    <a:pt x="27717" y="25341"/>
                    <a:pt x="28160" y="25085"/>
                    <a:pt x="28428" y="24622"/>
                  </a:cubicBezTo>
                  <a:cubicBezTo>
                    <a:pt x="28696" y="24157"/>
                    <a:pt x="28696" y="23645"/>
                    <a:pt x="28428" y="23181"/>
                  </a:cubicBezTo>
                  <a:lnTo>
                    <a:pt x="16224" y="2042"/>
                  </a:lnTo>
                  <a:cubicBezTo>
                    <a:pt x="15956" y="1577"/>
                    <a:pt x="15513" y="1322"/>
                    <a:pt x="14976" y="1321"/>
                  </a:cubicBezTo>
                  <a:close/>
                  <a:moveTo>
                    <a:pt x="27181" y="26662"/>
                  </a:moveTo>
                  <a:lnTo>
                    <a:pt x="2772" y="26662"/>
                  </a:lnTo>
                  <a:cubicBezTo>
                    <a:pt x="1759" y="26662"/>
                    <a:pt x="887" y="26160"/>
                    <a:pt x="380" y="25282"/>
                  </a:cubicBezTo>
                  <a:cubicBezTo>
                    <a:pt x="127" y="24843"/>
                    <a:pt x="0" y="24372"/>
                    <a:pt x="0" y="23901"/>
                  </a:cubicBezTo>
                  <a:cubicBezTo>
                    <a:pt x="0" y="23430"/>
                    <a:pt x="127" y="22959"/>
                    <a:pt x="380" y="22520"/>
                  </a:cubicBezTo>
                  <a:lnTo>
                    <a:pt x="12584" y="1381"/>
                  </a:lnTo>
                  <a:cubicBezTo>
                    <a:pt x="13091" y="504"/>
                    <a:pt x="13963" y="0"/>
                    <a:pt x="14976" y="0"/>
                  </a:cubicBezTo>
                  <a:cubicBezTo>
                    <a:pt x="15990" y="0"/>
                    <a:pt x="16862" y="504"/>
                    <a:pt x="17369" y="1381"/>
                  </a:cubicBezTo>
                  <a:lnTo>
                    <a:pt x="29573" y="22520"/>
                  </a:lnTo>
                  <a:cubicBezTo>
                    <a:pt x="30080" y="23397"/>
                    <a:pt x="30080" y="24404"/>
                    <a:pt x="29573" y="25282"/>
                  </a:cubicBezTo>
                  <a:cubicBezTo>
                    <a:pt x="29066" y="26160"/>
                    <a:pt x="28194" y="26662"/>
                    <a:pt x="27181" y="2666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8" name="Freeform: Shape 157">
              <a:extLst>
                <a:ext uri="{FF2B5EF4-FFF2-40B4-BE49-F238E27FC236}">
                  <a16:creationId xmlns:a16="http://schemas.microsoft.com/office/drawing/2014/main" id="{D05872A7-433F-0ABB-89D3-1D96238591C0}"/>
                </a:ext>
              </a:extLst>
            </p:cNvPr>
            <p:cNvSpPr/>
            <p:nvPr/>
          </p:nvSpPr>
          <p:spPr>
            <a:xfrm>
              <a:off x="754753" y="2618924"/>
              <a:ext cx="27593" cy="56986"/>
            </a:xfrm>
            <a:custGeom>
              <a:avLst/>
              <a:gdLst>
                <a:gd name="connsiteX0" fmla="*/ 1356 w 5011"/>
                <a:gd name="connsiteY0" fmla="*/ 9028 h 10349"/>
                <a:gd name="connsiteX1" fmla="*/ 3656 w 5011"/>
                <a:gd name="connsiteY1" fmla="*/ 9028 h 10349"/>
                <a:gd name="connsiteX2" fmla="*/ 3269 w 5011"/>
                <a:gd name="connsiteY2" fmla="*/ 1321 h 10349"/>
                <a:gd name="connsiteX3" fmla="*/ 1743 w 5011"/>
                <a:gd name="connsiteY3" fmla="*/ 1321 h 10349"/>
                <a:gd name="connsiteX4" fmla="*/ 1356 w 5011"/>
                <a:gd name="connsiteY4" fmla="*/ 9028 h 10349"/>
                <a:gd name="connsiteX5" fmla="*/ 4351 w 5011"/>
                <a:gd name="connsiteY5" fmla="*/ 10349 h 10349"/>
                <a:gd name="connsiteX6" fmla="*/ 661 w 5011"/>
                <a:gd name="connsiteY6" fmla="*/ 10349 h 10349"/>
                <a:gd name="connsiteX7" fmla="*/ 182 w 5011"/>
                <a:gd name="connsiteY7" fmla="*/ 10144 h 10349"/>
                <a:gd name="connsiteX8" fmla="*/ 1 w 5011"/>
                <a:gd name="connsiteY8" fmla="*/ 9655 h 10349"/>
                <a:gd name="connsiteX9" fmla="*/ 455 w 5011"/>
                <a:gd name="connsiteY9" fmla="*/ 627 h 10349"/>
                <a:gd name="connsiteX10" fmla="*/ 1115 w 5011"/>
                <a:gd name="connsiteY10" fmla="*/ 0 h 10349"/>
                <a:gd name="connsiteX11" fmla="*/ 3897 w 5011"/>
                <a:gd name="connsiteY11" fmla="*/ 0 h 10349"/>
                <a:gd name="connsiteX12" fmla="*/ 4557 w 5011"/>
                <a:gd name="connsiteY12" fmla="*/ 627 h 10349"/>
                <a:gd name="connsiteX13" fmla="*/ 5011 w 5011"/>
                <a:gd name="connsiteY13" fmla="*/ 9655 h 10349"/>
                <a:gd name="connsiteX14" fmla="*/ 4830 w 5011"/>
                <a:gd name="connsiteY14" fmla="*/ 10144 h 10349"/>
                <a:gd name="connsiteX15" fmla="*/ 4351 w 5011"/>
                <a:gd name="connsiteY15" fmla="*/ 10349 h 10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11" h="10349">
                  <a:moveTo>
                    <a:pt x="1356" y="9028"/>
                  </a:moveTo>
                  <a:lnTo>
                    <a:pt x="3656" y="9028"/>
                  </a:lnTo>
                  <a:lnTo>
                    <a:pt x="3269" y="1321"/>
                  </a:lnTo>
                  <a:lnTo>
                    <a:pt x="1743" y="1321"/>
                  </a:lnTo>
                  <a:lnTo>
                    <a:pt x="1356" y="9028"/>
                  </a:lnTo>
                  <a:close/>
                  <a:moveTo>
                    <a:pt x="4351" y="10349"/>
                  </a:moveTo>
                  <a:lnTo>
                    <a:pt x="661" y="10349"/>
                  </a:lnTo>
                  <a:cubicBezTo>
                    <a:pt x="480" y="10349"/>
                    <a:pt x="307" y="10275"/>
                    <a:pt x="182" y="10144"/>
                  </a:cubicBezTo>
                  <a:cubicBezTo>
                    <a:pt x="57" y="10012"/>
                    <a:pt x="-8" y="9835"/>
                    <a:pt x="1" y="9655"/>
                  </a:cubicBezTo>
                  <a:lnTo>
                    <a:pt x="455" y="627"/>
                  </a:lnTo>
                  <a:cubicBezTo>
                    <a:pt x="473" y="276"/>
                    <a:pt x="763" y="0"/>
                    <a:pt x="1115" y="0"/>
                  </a:cubicBezTo>
                  <a:lnTo>
                    <a:pt x="3897" y="0"/>
                  </a:lnTo>
                  <a:cubicBezTo>
                    <a:pt x="4249" y="0"/>
                    <a:pt x="4539" y="276"/>
                    <a:pt x="4557" y="627"/>
                  </a:cubicBezTo>
                  <a:lnTo>
                    <a:pt x="5011" y="9655"/>
                  </a:lnTo>
                  <a:cubicBezTo>
                    <a:pt x="5020" y="9835"/>
                    <a:pt x="4955" y="10012"/>
                    <a:pt x="4830" y="10144"/>
                  </a:cubicBezTo>
                  <a:cubicBezTo>
                    <a:pt x="4705" y="10275"/>
                    <a:pt x="4532" y="10349"/>
                    <a:pt x="4351" y="103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4" name="Freeform: Shape 163">
              <a:extLst>
                <a:ext uri="{FF2B5EF4-FFF2-40B4-BE49-F238E27FC236}">
                  <a16:creationId xmlns:a16="http://schemas.microsoft.com/office/drawing/2014/main" id="{0B4E8585-CFE5-E9D9-DD19-CC46107D5E02}"/>
                </a:ext>
              </a:extLst>
            </p:cNvPr>
            <p:cNvSpPr/>
            <p:nvPr/>
          </p:nvSpPr>
          <p:spPr>
            <a:xfrm>
              <a:off x="754753" y="2683795"/>
              <a:ext cx="27593" cy="25406"/>
            </a:xfrm>
            <a:custGeom>
              <a:avLst/>
              <a:gdLst>
                <a:gd name="connsiteX0" fmla="*/ 1321 w 5011"/>
                <a:gd name="connsiteY0" fmla="*/ 3293 h 4614"/>
                <a:gd name="connsiteX1" fmla="*/ 3690 w 5011"/>
                <a:gd name="connsiteY1" fmla="*/ 3293 h 4614"/>
                <a:gd name="connsiteX2" fmla="*/ 3690 w 5011"/>
                <a:gd name="connsiteY2" fmla="*/ 1322 h 4614"/>
                <a:gd name="connsiteX3" fmla="*/ 1321 w 5011"/>
                <a:gd name="connsiteY3" fmla="*/ 1322 h 4614"/>
                <a:gd name="connsiteX4" fmla="*/ 1321 w 5011"/>
                <a:gd name="connsiteY4" fmla="*/ 3293 h 4614"/>
                <a:gd name="connsiteX5" fmla="*/ 4351 w 5011"/>
                <a:gd name="connsiteY5" fmla="*/ 4615 h 4614"/>
                <a:gd name="connsiteX6" fmla="*/ 661 w 5011"/>
                <a:gd name="connsiteY6" fmla="*/ 4615 h 4614"/>
                <a:gd name="connsiteX7" fmla="*/ 0 w 5011"/>
                <a:gd name="connsiteY7" fmla="*/ 3954 h 4614"/>
                <a:gd name="connsiteX8" fmla="*/ 0 w 5011"/>
                <a:gd name="connsiteY8" fmla="*/ 661 h 4614"/>
                <a:gd name="connsiteX9" fmla="*/ 661 w 5011"/>
                <a:gd name="connsiteY9" fmla="*/ 0 h 4614"/>
                <a:gd name="connsiteX10" fmla="*/ 4351 w 5011"/>
                <a:gd name="connsiteY10" fmla="*/ 0 h 4614"/>
                <a:gd name="connsiteX11" fmla="*/ 5012 w 5011"/>
                <a:gd name="connsiteY11" fmla="*/ 661 h 4614"/>
                <a:gd name="connsiteX12" fmla="*/ 5012 w 5011"/>
                <a:gd name="connsiteY12" fmla="*/ 3954 h 4614"/>
                <a:gd name="connsiteX13" fmla="*/ 4351 w 5011"/>
                <a:gd name="connsiteY13" fmla="*/ 4615 h 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11" h="4614">
                  <a:moveTo>
                    <a:pt x="1321" y="3293"/>
                  </a:moveTo>
                  <a:lnTo>
                    <a:pt x="3690" y="3293"/>
                  </a:lnTo>
                  <a:lnTo>
                    <a:pt x="3690" y="1322"/>
                  </a:lnTo>
                  <a:lnTo>
                    <a:pt x="1321" y="1322"/>
                  </a:lnTo>
                  <a:lnTo>
                    <a:pt x="1321" y="3293"/>
                  </a:lnTo>
                  <a:close/>
                  <a:moveTo>
                    <a:pt x="4351" y="4615"/>
                  </a:moveTo>
                  <a:lnTo>
                    <a:pt x="661" y="4615"/>
                  </a:lnTo>
                  <a:cubicBezTo>
                    <a:pt x="296" y="4615"/>
                    <a:pt x="0" y="4319"/>
                    <a:pt x="0" y="3954"/>
                  </a:cubicBezTo>
                  <a:lnTo>
                    <a:pt x="0" y="661"/>
                  </a:lnTo>
                  <a:cubicBezTo>
                    <a:pt x="0" y="296"/>
                    <a:pt x="296" y="0"/>
                    <a:pt x="661" y="0"/>
                  </a:cubicBezTo>
                  <a:lnTo>
                    <a:pt x="4351" y="0"/>
                  </a:lnTo>
                  <a:cubicBezTo>
                    <a:pt x="4716" y="0"/>
                    <a:pt x="5012" y="296"/>
                    <a:pt x="5012" y="661"/>
                  </a:cubicBezTo>
                  <a:lnTo>
                    <a:pt x="5012" y="3954"/>
                  </a:lnTo>
                  <a:cubicBezTo>
                    <a:pt x="5012" y="4319"/>
                    <a:pt x="4716" y="4615"/>
                    <a:pt x="4351" y="461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3" name="Group 2">
            <a:extLst>
              <a:ext uri="{FF2B5EF4-FFF2-40B4-BE49-F238E27FC236}">
                <a16:creationId xmlns:a16="http://schemas.microsoft.com/office/drawing/2014/main" id="{E8A8BE48-CB79-A079-ABE6-D3E2B8A0B867}"/>
              </a:ext>
            </a:extLst>
          </p:cNvPr>
          <p:cNvGrpSpPr/>
          <p:nvPr/>
        </p:nvGrpSpPr>
        <p:grpSpPr>
          <a:xfrm>
            <a:off x="413881" y="3051925"/>
            <a:ext cx="5617207" cy="1384504"/>
            <a:chOff x="4308083" y="1565034"/>
            <a:chExt cx="5617207" cy="1384504"/>
          </a:xfrm>
        </p:grpSpPr>
        <p:sp>
          <p:nvSpPr>
            <p:cNvPr id="110" name="Google Shape;4891;p434">
              <a:extLst>
                <a:ext uri="{FF2B5EF4-FFF2-40B4-BE49-F238E27FC236}">
                  <a16:creationId xmlns:a16="http://schemas.microsoft.com/office/drawing/2014/main" id="{7B9F8B1F-D8B1-16C3-F68F-8FABB6B5948A}"/>
                </a:ext>
              </a:extLst>
            </p:cNvPr>
            <p:cNvSpPr txBox="1">
              <a:spLocks/>
            </p:cNvSpPr>
            <p:nvPr/>
          </p:nvSpPr>
          <p:spPr>
            <a:xfrm>
              <a:off x="4464921" y="2033784"/>
              <a:ext cx="5247874"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ct val="0"/>
                </a:spcAft>
                <a:buClr>
                  <a:srgbClr val="000000"/>
                </a:buClr>
                <a:buSzPts val="1100"/>
                <a:buFont typeface="Arial"/>
                <a:buNone/>
                <a:tabLst/>
                <a:defRPr/>
              </a:pPr>
              <a:r>
                <a:rPr kumimoji="0" lang="en-US" sz="1400" b="1" i="0" u="none" strike="noStrike" kern="1200" cap="none" spc="0" normalizeH="0" baseline="0" noProof="0">
                  <a:ln>
                    <a:noFill/>
                  </a:ln>
                  <a:solidFill>
                    <a:srgbClr val="834895">
                      <a:lumMod val="60000"/>
                      <a:lumOff val="40000"/>
                    </a:srgbClr>
                  </a:solidFill>
                  <a:effectLst/>
                  <a:uLnTx/>
                  <a:uFillTx/>
                  <a:latin typeface="Arial" panose="020B0604020202020204"/>
                  <a:ea typeface="+mn-ea"/>
                  <a:cs typeface="+mn-cs"/>
                </a:rPr>
                <a:t>Fragmented Tools = Rising Cost and Complexity</a:t>
              </a:r>
            </a:p>
          </p:txBody>
        </p:sp>
        <p:sp>
          <p:nvSpPr>
            <p:cNvPr id="111" name="Rectangle 110">
              <a:extLst>
                <a:ext uri="{FF2B5EF4-FFF2-40B4-BE49-F238E27FC236}">
                  <a16:creationId xmlns:a16="http://schemas.microsoft.com/office/drawing/2014/main" id="{66FCD196-68A9-22EB-F76C-5CC4B3AF47F0}"/>
                </a:ext>
              </a:extLst>
            </p:cNvPr>
            <p:cNvSpPr>
              <a:spLocks/>
            </p:cNvSpPr>
            <p:nvPr/>
          </p:nvSpPr>
          <p:spPr>
            <a:xfrm>
              <a:off x="4464921" y="2303207"/>
              <a:ext cx="5460369"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Managing a patchwork of point tools, scripts, and credentials across multiple platforms creates operational chaos – slowing recovery, inflating costs, and increasing risk</a:t>
              </a:r>
            </a:p>
          </p:txBody>
        </p:sp>
        <p:cxnSp>
          <p:nvCxnSpPr>
            <p:cNvPr id="112" name="Straight Connector 111">
              <a:extLst>
                <a:ext uri="{FF2B5EF4-FFF2-40B4-BE49-F238E27FC236}">
                  <a16:creationId xmlns:a16="http://schemas.microsoft.com/office/drawing/2014/main" id="{9188D2A8-67E4-91E4-6B17-753A6C5234AE}"/>
                </a:ext>
              </a:extLst>
            </p:cNvPr>
            <p:cNvCxnSpPr>
              <a:cxnSpLocks/>
            </p:cNvCxnSpPr>
            <p:nvPr/>
          </p:nvCxnSpPr>
          <p:spPr>
            <a:xfrm>
              <a:off x="4308083" y="1565034"/>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58DD9184-C957-D708-0B74-2B8A675F38BB}"/>
                </a:ext>
              </a:extLst>
            </p:cNvPr>
            <p:cNvCxnSpPr>
              <a:cxnSpLocks/>
            </p:cNvCxnSpPr>
            <p:nvPr/>
          </p:nvCxnSpPr>
          <p:spPr>
            <a:xfrm>
              <a:off x="4308083" y="2025198"/>
              <a:ext cx="0" cy="924340"/>
            </a:xfrm>
            <a:prstGeom prst="line">
              <a:avLst/>
            </a:prstGeom>
          </p:spPr>
          <p:style>
            <a:lnRef idx="1">
              <a:schemeClr val="accent1"/>
            </a:lnRef>
            <a:fillRef idx="0">
              <a:schemeClr val="accent1"/>
            </a:fillRef>
            <a:effectRef idx="0">
              <a:schemeClr val="accent1"/>
            </a:effectRef>
            <a:fontRef idx="minor">
              <a:schemeClr val="tx1"/>
            </a:fontRef>
          </p:style>
        </p:cxnSp>
        <p:grpSp>
          <p:nvGrpSpPr>
            <p:cNvPr id="170" name="Graphic 156">
              <a:extLst>
                <a:ext uri="{FF2B5EF4-FFF2-40B4-BE49-F238E27FC236}">
                  <a16:creationId xmlns:a16="http://schemas.microsoft.com/office/drawing/2014/main" id="{0591797A-2D8C-072C-1BE1-F06DD0521CD0}"/>
                </a:ext>
              </a:extLst>
            </p:cNvPr>
            <p:cNvGrpSpPr/>
            <p:nvPr/>
          </p:nvGrpSpPr>
          <p:grpSpPr>
            <a:xfrm>
              <a:off x="4464921" y="1666426"/>
              <a:ext cx="327508" cy="257380"/>
              <a:chOff x="-1802062" y="2190146"/>
              <a:chExt cx="952976" cy="748918"/>
            </a:xfrm>
            <a:solidFill>
              <a:schemeClr val="bg1"/>
            </a:solidFill>
          </p:grpSpPr>
          <p:sp>
            <p:nvSpPr>
              <p:cNvPr id="171" name="Freeform: Shape 170">
                <a:extLst>
                  <a:ext uri="{FF2B5EF4-FFF2-40B4-BE49-F238E27FC236}">
                    <a16:creationId xmlns:a16="http://schemas.microsoft.com/office/drawing/2014/main" id="{F3B18231-FF52-CC70-B6D0-8D3AAB1931B3}"/>
                  </a:ext>
                </a:extLst>
              </p:cNvPr>
              <p:cNvSpPr/>
              <p:nvPr/>
            </p:nvSpPr>
            <p:spPr>
              <a:xfrm>
                <a:off x="-1802062" y="2190146"/>
                <a:ext cx="952976" cy="748918"/>
              </a:xfrm>
              <a:custGeom>
                <a:avLst/>
                <a:gdLst>
                  <a:gd name="connsiteX0" fmla="*/ 950119 w 952976"/>
                  <a:gd name="connsiteY0" fmla="*/ 3111 h 748918"/>
                  <a:gd name="connsiteX1" fmla="*/ 941546 w 952976"/>
                  <a:gd name="connsiteY1" fmla="*/ 253 h 748918"/>
                  <a:gd name="connsiteX2" fmla="*/ 503396 w 952976"/>
                  <a:gd name="connsiteY2" fmla="*/ 47878 h 748918"/>
                  <a:gd name="connsiteX3" fmla="*/ 493871 w 952976"/>
                  <a:gd name="connsiteY3" fmla="*/ 55498 h 748918"/>
                  <a:gd name="connsiteX4" fmla="*/ 496729 w 952976"/>
                  <a:gd name="connsiteY4" fmla="*/ 66928 h 748918"/>
                  <a:gd name="connsiteX5" fmla="*/ 612934 w 952976"/>
                  <a:gd name="connsiteY5" fmla="*/ 184086 h 748918"/>
                  <a:gd name="connsiteX6" fmla="*/ 552926 w 952976"/>
                  <a:gd name="connsiteY6" fmla="*/ 244093 h 748918"/>
                  <a:gd name="connsiteX7" fmla="*/ 474821 w 952976"/>
                  <a:gd name="connsiteY7" fmla="*/ 87883 h 748918"/>
                  <a:gd name="connsiteX8" fmla="*/ 81439 w 952976"/>
                  <a:gd name="connsiteY8" fmla="*/ 87883 h 748918"/>
                  <a:gd name="connsiteX9" fmla="*/ 81439 w 952976"/>
                  <a:gd name="connsiteY9" fmla="*/ 480313 h 748918"/>
                  <a:gd name="connsiteX10" fmla="*/ 237649 w 952976"/>
                  <a:gd name="connsiteY10" fmla="*/ 558418 h 748918"/>
                  <a:gd name="connsiteX11" fmla="*/ 206216 w 952976"/>
                  <a:gd name="connsiteY11" fmla="*/ 589851 h 748918"/>
                  <a:gd name="connsiteX12" fmla="*/ 206216 w 952976"/>
                  <a:gd name="connsiteY12" fmla="*/ 605091 h 748918"/>
                  <a:gd name="connsiteX13" fmla="*/ 347186 w 952976"/>
                  <a:gd name="connsiteY13" fmla="*/ 746061 h 748918"/>
                  <a:gd name="connsiteX14" fmla="*/ 354806 w 952976"/>
                  <a:gd name="connsiteY14" fmla="*/ 748918 h 748918"/>
                  <a:gd name="connsiteX15" fmla="*/ 362426 w 952976"/>
                  <a:gd name="connsiteY15" fmla="*/ 746061 h 748918"/>
                  <a:gd name="connsiteX16" fmla="*/ 769144 w 952976"/>
                  <a:gd name="connsiteY16" fmla="*/ 340296 h 748918"/>
                  <a:gd name="connsiteX17" fmla="*/ 886301 w 952976"/>
                  <a:gd name="connsiteY17" fmla="*/ 457453 h 748918"/>
                  <a:gd name="connsiteX18" fmla="*/ 897731 w 952976"/>
                  <a:gd name="connsiteY18" fmla="*/ 460311 h 748918"/>
                  <a:gd name="connsiteX19" fmla="*/ 905351 w 952976"/>
                  <a:gd name="connsiteY19" fmla="*/ 450786 h 748918"/>
                  <a:gd name="connsiteX20" fmla="*/ 952976 w 952976"/>
                  <a:gd name="connsiteY20" fmla="*/ 12636 h 748918"/>
                  <a:gd name="connsiteX21" fmla="*/ 950119 w 952976"/>
                  <a:gd name="connsiteY21" fmla="*/ 3111 h 748918"/>
                  <a:gd name="connsiteX22" fmla="*/ 97631 w 952976"/>
                  <a:gd name="connsiteY22" fmla="*/ 103123 h 748918"/>
                  <a:gd name="connsiteX23" fmla="*/ 97631 w 952976"/>
                  <a:gd name="connsiteY23" fmla="*/ 103123 h 748918"/>
                  <a:gd name="connsiteX24" fmla="*/ 459581 w 952976"/>
                  <a:gd name="connsiteY24" fmla="*/ 103123 h 748918"/>
                  <a:gd name="connsiteX25" fmla="*/ 459581 w 952976"/>
                  <a:gd name="connsiteY25" fmla="*/ 465073 h 748918"/>
                  <a:gd name="connsiteX26" fmla="*/ 278606 w 952976"/>
                  <a:gd name="connsiteY26" fmla="*/ 539368 h 748918"/>
                  <a:gd name="connsiteX27" fmla="*/ 97631 w 952976"/>
                  <a:gd name="connsiteY27" fmla="*/ 465073 h 748918"/>
                  <a:gd name="connsiteX28" fmla="*/ 97631 w 952976"/>
                  <a:gd name="connsiteY28" fmla="*/ 103123 h 748918"/>
                  <a:gd name="connsiteX29" fmla="*/ 885349 w 952976"/>
                  <a:gd name="connsiteY29" fmla="*/ 425068 h 748918"/>
                  <a:gd name="connsiteX30" fmla="*/ 776764 w 952976"/>
                  <a:gd name="connsiteY30" fmla="*/ 316483 h 748918"/>
                  <a:gd name="connsiteX31" fmla="*/ 761524 w 952976"/>
                  <a:gd name="connsiteY31" fmla="*/ 316483 h 748918"/>
                  <a:gd name="connsiteX32" fmla="*/ 354806 w 952976"/>
                  <a:gd name="connsiteY32" fmla="*/ 723201 h 748918"/>
                  <a:gd name="connsiteX33" fmla="*/ 230029 w 952976"/>
                  <a:gd name="connsiteY33" fmla="*/ 597471 h 748918"/>
                  <a:gd name="connsiteX34" fmla="*/ 266224 w 952976"/>
                  <a:gd name="connsiteY34" fmla="*/ 561276 h 748918"/>
                  <a:gd name="connsiteX35" fmla="*/ 277654 w 952976"/>
                  <a:gd name="connsiteY35" fmla="*/ 561276 h 748918"/>
                  <a:gd name="connsiteX36" fmla="*/ 473869 w 952976"/>
                  <a:gd name="connsiteY36" fmla="*/ 480313 h 748918"/>
                  <a:gd name="connsiteX37" fmla="*/ 554831 w 952976"/>
                  <a:gd name="connsiteY37" fmla="*/ 272668 h 748918"/>
                  <a:gd name="connsiteX38" fmla="*/ 635794 w 952976"/>
                  <a:gd name="connsiteY38" fmla="*/ 191706 h 748918"/>
                  <a:gd name="connsiteX39" fmla="*/ 638651 w 952976"/>
                  <a:gd name="connsiteY39" fmla="*/ 184086 h 748918"/>
                  <a:gd name="connsiteX40" fmla="*/ 635794 w 952976"/>
                  <a:gd name="connsiteY40" fmla="*/ 176466 h 748918"/>
                  <a:gd name="connsiteX41" fmla="*/ 527209 w 952976"/>
                  <a:gd name="connsiteY41" fmla="*/ 66928 h 748918"/>
                  <a:gd name="connsiteX42" fmla="*/ 929164 w 952976"/>
                  <a:gd name="connsiteY42" fmla="*/ 23113 h 748918"/>
                  <a:gd name="connsiteX43" fmla="*/ 885349 w 952976"/>
                  <a:gd name="connsiteY43" fmla="*/ 425068 h 74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952976" h="748918">
                    <a:moveTo>
                      <a:pt x="950119" y="3111"/>
                    </a:moveTo>
                    <a:cubicBezTo>
                      <a:pt x="948214" y="1206"/>
                      <a:pt x="944404" y="-699"/>
                      <a:pt x="941546" y="253"/>
                    </a:cubicBezTo>
                    <a:lnTo>
                      <a:pt x="503396" y="47878"/>
                    </a:lnTo>
                    <a:cubicBezTo>
                      <a:pt x="499586" y="47878"/>
                      <a:pt x="495776" y="50736"/>
                      <a:pt x="493871" y="55498"/>
                    </a:cubicBezTo>
                    <a:cubicBezTo>
                      <a:pt x="492919" y="59308"/>
                      <a:pt x="493871" y="64071"/>
                      <a:pt x="496729" y="66928"/>
                    </a:cubicBezTo>
                    <a:lnTo>
                      <a:pt x="612934" y="184086"/>
                    </a:lnTo>
                    <a:lnTo>
                      <a:pt x="552926" y="244093"/>
                    </a:lnTo>
                    <a:cubicBezTo>
                      <a:pt x="544354" y="186943"/>
                      <a:pt x="518636" y="131698"/>
                      <a:pt x="474821" y="87883"/>
                    </a:cubicBezTo>
                    <a:cubicBezTo>
                      <a:pt x="366236" y="-20702"/>
                      <a:pt x="190024" y="-20702"/>
                      <a:pt x="81439" y="87883"/>
                    </a:cubicBezTo>
                    <a:cubicBezTo>
                      <a:pt x="-27146" y="196468"/>
                      <a:pt x="-27146" y="372681"/>
                      <a:pt x="81439" y="480313"/>
                    </a:cubicBezTo>
                    <a:cubicBezTo>
                      <a:pt x="125254" y="524128"/>
                      <a:pt x="180499" y="549846"/>
                      <a:pt x="237649" y="558418"/>
                    </a:cubicBezTo>
                    <a:lnTo>
                      <a:pt x="206216" y="589851"/>
                    </a:lnTo>
                    <a:cubicBezTo>
                      <a:pt x="201454" y="594613"/>
                      <a:pt x="201454" y="601281"/>
                      <a:pt x="206216" y="605091"/>
                    </a:cubicBezTo>
                    <a:lnTo>
                      <a:pt x="347186" y="746061"/>
                    </a:lnTo>
                    <a:cubicBezTo>
                      <a:pt x="349091" y="747966"/>
                      <a:pt x="351949" y="748918"/>
                      <a:pt x="354806" y="748918"/>
                    </a:cubicBezTo>
                    <a:cubicBezTo>
                      <a:pt x="357664" y="748918"/>
                      <a:pt x="360521" y="747966"/>
                      <a:pt x="362426" y="746061"/>
                    </a:cubicBezTo>
                    <a:lnTo>
                      <a:pt x="769144" y="340296"/>
                    </a:lnTo>
                    <a:lnTo>
                      <a:pt x="886301" y="457453"/>
                    </a:lnTo>
                    <a:cubicBezTo>
                      <a:pt x="889159" y="460311"/>
                      <a:pt x="893921" y="461263"/>
                      <a:pt x="897731" y="460311"/>
                    </a:cubicBezTo>
                    <a:cubicBezTo>
                      <a:pt x="901541" y="459358"/>
                      <a:pt x="904399" y="455548"/>
                      <a:pt x="905351" y="450786"/>
                    </a:cubicBezTo>
                    <a:lnTo>
                      <a:pt x="952976" y="12636"/>
                    </a:lnTo>
                    <a:cubicBezTo>
                      <a:pt x="952976" y="8826"/>
                      <a:pt x="952024" y="5016"/>
                      <a:pt x="950119" y="3111"/>
                    </a:cubicBezTo>
                    <a:close/>
                    <a:moveTo>
                      <a:pt x="97631" y="103123"/>
                    </a:moveTo>
                    <a:lnTo>
                      <a:pt x="97631" y="103123"/>
                    </a:lnTo>
                    <a:cubicBezTo>
                      <a:pt x="197644" y="3111"/>
                      <a:pt x="359569" y="3111"/>
                      <a:pt x="459581" y="103123"/>
                    </a:cubicBezTo>
                    <a:cubicBezTo>
                      <a:pt x="559594" y="203136"/>
                      <a:pt x="559594" y="365061"/>
                      <a:pt x="459581" y="465073"/>
                    </a:cubicBezTo>
                    <a:cubicBezTo>
                      <a:pt x="410051" y="514603"/>
                      <a:pt x="344329" y="539368"/>
                      <a:pt x="278606" y="539368"/>
                    </a:cubicBezTo>
                    <a:cubicBezTo>
                      <a:pt x="212884" y="539368"/>
                      <a:pt x="148114" y="514603"/>
                      <a:pt x="97631" y="465073"/>
                    </a:cubicBezTo>
                    <a:cubicBezTo>
                      <a:pt x="-2381" y="365061"/>
                      <a:pt x="-2381" y="203136"/>
                      <a:pt x="97631" y="103123"/>
                    </a:cubicBezTo>
                    <a:close/>
                    <a:moveTo>
                      <a:pt x="885349" y="425068"/>
                    </a:moveTo>
                    <a:lnTo>
                      <a:pt x="776764" y="316483"/>
                    </a:lnTo>
                    <a:cubicBezTo>
                      <a:pt x="772954" y="312673"/>
                      <a:pt x="765334" y="312673"/>
                      <a:pt x="761524" y="316483"/>
                    </a:cubicBezTo>
                    <a:lnTo>
                      <a:pt x="354806" y="723201"/>
                    </a:lnTo>
                    <a:lnTo>
                      <a:pt x="230029" y="597471"/>
                    </a:lnTo>
                    <a:lnTo>
                      <a:pt x="266224" y="561276"/>
                    </a:lnTo>
                    <a:cubicBezTo>
                      <a:pt x="270034" y="561276"/>
                      <a:pt x="273844" y="561276"/>
                      <a:pt x="277654" y="561276"/>
                    </a:cubicBezTo>
                    <a:cubicBezTo>
                      <a:pt x="349091" y="561276"/>
                      <a:pt x="419576" y="534606"/>
                      <a:pt x="473869" y="480313"/>
                    </a:cubicBezTo>
                    <a:cubicBezTo>
                      <a:pt x="531019" y="423163"/>
                      <a:pt x="557689" y="346963"/>
                      <a:pt x="554831" y="272668"/>
                    </a:cubicBezTo>
                    <a:lnTo>
                      <a:pt x="635794" y="191706"/>
                    </a:lnTo>
                    <a:cubicBezTo>
                      <a:pt x="637699" y="189801"/>
                      <a:pt x="638651" y="186943"/>
                      <a:pt x="638651" y="184086"/>
                    </a:cubicBezTo>
                    <a:cubicBezTo>
                      <a:pt x="638651" y="181228"/>
                      <a:pt x="637699" y="178371"/>
                      <a:pt x="635794" y="176466"/>
                    </a:cubicBezTo>
                    <a:lnTo>
                      <a:pt x="527209" y="66928"/>
                    </a:lnTo>
                    <a:lnTo>
                      <a:pt x="929164" y="23113"/>
                    </a:lnTo>
                    <a:lnTo>
                      <a:pt x="885349" y="42506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2" name="Freeform: Shape 171">
                <a:extLst>
                  <a:ext uri="{FF2B5EF4-FFF2-40B4-BE49-F238E27FC236}">
                    <a16:creationId xmlns:a16="http://schemas.microsoft.com/office/drawing/2014/main" id="{C5D26A52-D03F-C7E2-8795-3F1B6D4C8623}"/>
                  </a:ext>
                </a:extLst>
              </p:cNvPr>
              <p:cNvSpPr/>
              <p:nvPr/>
            </p:nvSpPr>
            <p:spPr>
              <a:xfrm>
                <a:off x="-1670140" y="2484721"/>
                <a:ext cx="134540" cy="135255"/>
              </a:xfrm>
              <a:custGeom>
                <a:avLst/>
                <a:gdLst>
                  <a:gd name="connsiteX0" fmla="*/ 115252 w 134540"/>
                  <a:gd name="connsiteY0" fmla="*/ 20003 h 135255"/>
                  <a:gd name="connsiteX1" fmla="*/ 67627 w 134540"/>
                  <a:gd name="connsiteY1" fmla="*/ 0 h 135255"/>
                  <a:gd name="connsiteX2" fmla="*/ 20002 w 134540"/>
                  <a:gd name="connsiteY2" fmla="*/ 20003 h 135255"/>
                  <a:gd name="connsiteX3" fmla="*/ 0 w 134540"/>
                  <a:gd name="connsiteY3" fmla="*/ 67628 h 135255"/>
                  <a:gd name="connsiteX4" fmla="*/ 20002 w 134540"/>
                  <a:gd name="connsiteY4" fmla="*/ 115253 h 135255"/>
                  <a:gd name="connsiteX5" fmla="*/ 67627 w 134540"/>
                  <a:gd name="connsiteY5" fmla="*/ 135255 h 135255"/>
                  <a:gd name="connsiteX6" fmla="*/ 115252 w 134540"/>
                  <a:gd name="connsiteY6" fmla="*/ 115253 h 135255"/>
                  <a:gd name="connsiteX7" fmla="*/ 115252 w 134540"/>
                  <a:gd name="connsiteY7" fmla="*/ 20003 h 135255"/>
                  <a:gd name="connsiteX8" fmla="*/ 115252 w 134540"/>
                  <a:gd name="connsiteY8" fmla="*/ 20003 h 135255"/>
                  <a:gd name="connsiteX9" fmla="*/ 100012 w 134540"/>
                  <a:gd name="connsiteY9" fmla="*/ 100013 h 135255"/>
                  <a:gd name="connsiteX10" fmla="*/ 36195 w 134540"/>
                  <a:gd name="connsiteY10" fmla="*/ 100013 h 135255"/>
                  <a:gd name="connsiteX11" fmla="*/ 22860 w 134540"/>
                  <a:gd name="connsiteY11" fmla="*/ 68580 h 135255"/>
                  <a:gd name="connsiteX12" fmla="*/ 36195 w 134540"/>
                  <a:gd name="connsiteY12" fmla="*/ 37148 h 135255"/>
                  <a:gd name="connsiteX13" fmla="*/ 67627 w 134540"/>
                  <a:gd name="connsiteY13" fmla="*/ 23813 h 135255"/>
                  <a:gd name="connsiteX14" fmla="*/ 99060 w 134540"/>
                  <a:gd name="connsiteY14" fmla="*/ 37148 h 135255"/>
                  <a:gd name="connsiteX15" fmla="*/ 99060 w 134540"/>
                  <a:gd name="connsiteY15" fmla="*/ 37148 h 135255"/>
                  <a:gd name="connsiteX16" fmla="*/ 100012 w 134540"/>
                  <a:gd name="connsiteY16" fmla="*/ 100013 h 135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4540" h="135255">
                    <a:moveTo>
                      <a:pt x="115252" y="20003"/>
                    </a:moveTo>
                    <a:cubicBezTo>
                      <a:pt x="102870" y="7620"/>
                      <a:pt x="85725" y="0"/>
                      <a:pt x="67627" y="0"/>
                    </a:cubicBezTo>
                    <a:cubicBezTo>
                      <a:pt x="49530" y="0"/>
                      <a:pt x="33337" y="6668"/>
                      <a:pt x="20002" y="20003"/>
                    </a:cubicBezTo>
                    <a:cubicBezTo>
                      <a:pt x="7620" y="32385"/>
                      <a:pt x="0" y="49530"/>
                      <a:pt x="0" y="67628"/>
                    </a:cubicBezTo>
                    <a:cubicBezTo>
                      <a:pt x="0" y="85725"/>
                      <a:pt x="6667" y="101918"/>
                      <a:pt x="20002" y="115253"/>
                    </a:cubicBezTo>
                    <a:cubicBezTo>
                      <a:pt x="33337" y="128588"/>
                      <a:pt x="50483" y="135255"/>
                      <a:pt x="67627" y="135255"/>
                    </a:cubicBezTo>
                    <a:cubicBezTo>
                      <a:pt x="84773" y="135255"/>
                      <a:pt x="101918" y="128588"/>
                      <a:pt x="115252" y="115253"/>
                    </a:cubicBezTo>
                    <a:cubicBezTo>
                      <a:pt x="140970" y="88583"/>
                      <a:pt x="140970" y="46673"/>
                      <a:pt x="115252" y="20003"/>
                    </a:cubicBezTo>
                    <a:lnTo>
                      <a:pt x="115252" y="20003"/>
                    </a:lnTo>
                    <a:close/>
                    <a:moveTo>
                      <a:pt x="100012" y="100013"/>
                    </a:moveTo>
                    <a:cubicBezTo>
                      <a:pt x="82868" y="117158"/>
                      <a:pt x="54293" y="117158"/>
                      <a:pt x="36195" y="100013"/>
                    </a:cubicBezTo>
                    <a:cubicBezTo>
                      <a:pt x="27623" y="91440"/>
                      <a:pt x="22860" y="80010"/>
                      <a:pt x="22860" y="68580"/>
                    </a:cubicBezTo>
                    <a:cubicBezTo>
                      <a:pt x="22860" y="56198"/>
                      <a:pt x="27623" y="45720"/>
                      <a:pt x="36195" y="37148"/>
                    </a:cubicBezTo>
                    <a:cubicBezTo>
                      <a:pt x="44768" y="28575"/>
                      <a:pt x="56198" y="23813"/>
                      <a:pt x="67627" y="23813"/>
                    </a:cubicBezTo>
                    <a:cubicBezTo>
                      <a:pt x="79058" y="23813"/>
                      <a:pt x="90487" y="28575"/>
                      <a:pt x="99060" y="37148"/>
                    </a:cubicBezTo>
                    <a:cubicBezTo>
                      <a:pt x="99060" y="37148"/>
                      <a:pt x="99060" y="37148"/>
                      <a:pt x="99060" y="37148"/>
                    </a:cubicBezTo>
                    <a:cubicBezTo>
                      <a:pt x="117158" y="53340"/>
                      <a:pt x="117158" y="81915"/>
                      <a:pt x="100012" y="1000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3" name="Freeform: Shape 172">
                <a:extLst>
                  <a:ext uri="{FF2B5EF4-FFF2-40B4-BE49-F238E27FC236}">
                    <a16:creationId xmlns:a16="http://schemas.microsoft.com/office/drawing/2014/main" id="{7DF74479-3F47-3EE1-5250-9778AB5F7F28}"/>
                  </a:ext>
                </a:extLst>
              </p:cNvPr>
              <p:cNvSpPr/>
              <p:nvPr/>
            </p:nvSpPr>
            <p:spPr>
              <a:xfrm>
                <a:off x="-1512264" y="2328273"/>
                <a:ext cx="133588" cy="134540"/>
              </a:xfrm>
              <a:custGeom>
                <a:avLst/>
                <a:gdLst>
                  <a:gd name="connsiteX0" fmla="*/ 65961 w 133588"/>
                  <a:gd name="connsiteY0" fmla="*/ 134541 h 134540"/>
                  <a:gd name="connsiteX1" fmla="*/ 113586 w 133588"/>
                  <a:gd name="connsiteY1" fmla="*/ 114538 h 134540"/>
                  <a:gd name="connsiteX2" fmla="*/ 133588 w 133588"/>
                  <a:gd name="connsiteY2" fmla="*/ 66913 h 134540"/>
                  <a:gd name="connsiteX3" fmla="*/ 113586 w 133588"/>
                  <a:gd name="connsiteY3" fmla="*/ 19288 h 134540"/>
                  <a:gd name="connsiteX4" fmla="*/ 19288 w 133588"/>
                  <a:gd name="connsiteY4" fmla="*/ 19288 h 134540"/>
                  <a:gd name="connsiteX5" fmla="*/ 19288 w 133588"/>
                  <a:gd name="connsiteY5" fmla="*/ 113586 h 134540"/>
                  <a:gd name="connsiteX6" fmla="*/ 65961 w 133588"/>
                  <a:gd name="connsiteY6" fmla="*/ 134541 h 134540"/>
                  <a:gd name="connsiteX7" fmla="*/ 34528 w 133588"/>
                  <a:gd name="connsiteY7" fmla="*/ 35481 h 134540"/>
                  <a:gd name="connsiteX8" fmla="*/ 65961 w 133588"/>
                  <a:gd name="connsiteY8" fmla="*/ 22146 h 134540"/>
                  <a:gd name="connsiteX9" fmla="*/ 97393 w 133588"/>
                  <a:gd name="connsiteY9" fmla="*/ 35481 h 134540"/>
                  <a:gd name="connsiteX10" fmla="*/ 97393 w 133588"/>
                  <a:gd name="connsiteY10" fmla="*/ 35481 h 134540"/>
                  <a:gd name="connsiteX11" fmla="*/ 110728 w 133588"/>
                  <a:gd name="connsiteY11" fmla="*/ 66913 h 134540"/>
                  <a:gd name="connsiteX12" fmla="*/ 97393 w 133588"/>
                  <a:gd name="connsiteY12" fmla="*/ 98346 h 134540"/>
                  <a:gd name="connsiteX13" fmla="*/ 65961 w 133588"/>
                  <a:gd name="connsiteY13" fmla="*/ 111681 h 134540"/>
                  <a:gd name="connsiteX14" fmla="*/ 34528 w 133588"/>
                  <a:gd name="connsiteY14" fmla="*/ 98346 h 134540"/>
                  <a:gd name="connsiteX15" fmla="*/ 34528 w 133588"/>
                  <a:gd name="connsiteY15" fmla="*/ 35481 h 1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3588" h="134540">
                    <a:moveTo>
                      <a:pt x="65961" y="134541"/>
                    </a:moveTo>
                    <a:cubicBezTo>
                      <a:pt x="84058" y="134541"/>
                      <a:pt x="100251" y="127873"/>
                      <a:pt x="113586" y="114538"/>
                    </a:cubicBezTo>
                    <a:cubicBezTo>
                      <a:pt x="125968" y="102156"/>
                      <a:pt x="133588" y="85011"/>
                      <a:pt x="133588" y="66913"/>
                    </a:cubicBezTo>
                    <a:cubicBezTo>
                      <a:pt x="133588" y="48816"/>
                      <a:pt x="126921" y="32623"/>
                      <a:pt x="113586" y="19288"/>
                    </a:cubicBezTo>
                    <a:cubicBezTo>
                      <a:pt x="87868" y="-6429"/>
                      <a:pt x="45006" y="-6429"/>
                      <a:pt x="19288" y="19288"/>
                    </a:cubicBezTo>
                    <a:cubicBezTo>
                      <a:pt x="-6429" y="45006"/>
                      <a:pt x="-6429" y="87868"/>
                      <a:pt x="19288" y="113586"/>
                    </a:cubicBezTo>
                    <a:cubicBezTo>
                      <a:pt x="31671" y="127873"/>
                      <a:pt x="48816" y="134541"/>
                      <a:pt x="65961" y="134541"/>
                    </a:cubicBezTo>
                    <a:close/>
                    <a:moveTo>
                      <a:pt x="34528" y="35481"/>
                    </a:moveTo>
                    <a:cubicBezTo>
                      <a:pt x="43101" y="26908"/>
                      <a:pt x="54531" y="22146"/>
                      <a:pt x="65961" y="22146"/>
                    </a:cubicBezTo>
                    <a:cubicBezTo>
                      <a:pt x="77391" y="22146"/>
                      <a:pt x="88821" y="26908"/>
                      <a:pt x="97393" y="35481"/>
                    </a:cubicBezTo>
                    <a:cubicBezTo>
                      <a:pt x="97393" y="35481"/>
                      <a:pt x="97393" y="35481"/>
                      <a:pt x="97393" y="35481"/>
                    </a:cubicBezTo>
                    <a:cubicBezTo>
                      <a:pt x="105966" y="44053"/>
                      <a:pt x="110728" y="55483"/>
                      <a:pt x="110728" y="66913"/>
                    </a:cubicBezTo>
                    <a:cubicBezTo>
                      <a:pt x="110728" y="79296"/>
                      <a:pt x="105966" y="89773"/>
                      <a:pt x="97393" y="98346"/>
                    </a:cubicBezTo>
                    <a:cubicBezTo>
                      <a:pt x="88821" y="106918"/>
                      <a:pt x="77391" y="111681"/>
                      <a:pt x="65961" y="111681"/>
                    </a:cubicBezTo>
                    <a:cubicBezTo>
                      <a:pt x="54531" y="111681"/>
                      <a:pt x="43101" y="106918"/>
                      <a:pt x="34528" y="98346"/>
                    </a:cubicBezTo>
                    <a:cubicBezTo>
                      <a:pt x="17383" y="82153"/>
                      <a:pt x="17383" y="53578"/>
                      <a:pt x="34528" y="354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4" name="Freeform: Shape 173">
                <a:extLst>
                  <a:ext uri="{FF2B5EF4-FFF2-40B4-BE49-F238E27FC236}">
                    <a16:creationId xmlns:a16="http://schemas.microsoft.com/office/drawing/2014/main" id="{F8AECCFC-076F-CA76-51D1-EAC5401F903E}"/>
                  </a:ext>
                </a:extLst>
              </p:cNvPr>
              <p:cNvSpPr/>
              <p:nvPr/>
            </p:nvSpPr>
            <p:spPr>
              <a:xfrm>
                <a:off x="-1634660" y="2363040"/>
                <a:ext cx="221456" cy="221694"/>
              </a:xfrm>
              <a:custGeom>
                <a:avLst/>
                <a:gdLst>
                  <a:gd name="connsiteX0" fmla="*/ 202644 w 221456"/>
                  <a:gd name="connsiteY0" fmla="*/ 218837 h 221694"/>
                  <a:gd name="connsiteX1" fmla="*/ 210264 w 221456"/>
                  <a:gd name="connsiteY1" fmla="*/ 221694 h 221694"/>
                  <a:gd name="connsiteX2" fmla="*/ 217884 w 221456"/>
                  <a:gd name="connsiteY2" fmla="*/ 218837 h 221694"/>
                  <a:gd name="connsiteX3" fmla="*/ 217884 w 221456"/>
                  <a:gd name="connsiteY3" fmla="*/ 203597 h 221694"/>
                  <a:gd name="connsiteX4" fmla="*/ 18812 w 221456"/>
                  <a:gd name="connsiteY4" fmla="*/ 3572 h 221694"/>
                  <a:gd name="connsiteX5" fmla="*/ 3572 w 221456"/>
                  <a:gd name="connsiteY5" fmla="*/ 3572 h 221694"/>
                  <a:gd name="connsiteX6" fmla="*/ 3572 w 221456"/>
                  <a:gd name="connsiteY6" fmla="*/ 18812 h 221694"/>
                  <a:gd name="connsiteX7" fmla="*/ 202644 w 221456"/>
                  <a:gd name="connsiteY7" fmla="*/ 218837 h 221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1456" h="221694">
                    <a:moveTo>
                      <a:pt x="202644" y="218837"/>
                    </a:moveTo>
                    <a:cubicBezTo>
                      <a:pt x="204549" y="220742"/>
                      <a:pt x="207407" y="221694"/>
                      <a:pt x="210264" y="221694"/>
                    </a:cubicBezTo>
                    <a:cubicBezTo>
                      <a:pt x="213122" y="221694"/>
                      <a:pt x="215979" y="220742"/>
                      <a:pt x="217884" y="218837"/>
                    </a:cubicBezTo>
                    <a:cubicBezTo>
                      <a:pt x="222647" y="214074"/>
                      <a:pt x="222647" y="207407"/>
                      <a:pt x="217884" y="203597"/>
                    </a:cubicBezTo>
                    <a:lnTo>
                      <a:pt x="18812" y="3572"/>
                    </a:lnTo>
                    <a:cubicBezTo>
                      <a:pt x="14049" y="-1191"/>
                      <a:pt x="7382" y="-1191"/>
                      <a:pt x="3572" y="3572"/>
                    </a:cubicBezTo>
                    <a:cubicBezTo>
                      <a:pt x="-1191" y="8334"/>
                      <a:pt x="-1191" y="15002"/>
                      <a:pt x="3572" y="18812"/>
                    </a:cubicBezTo>
                    <a:lnTo>
                      <a:pt x="202644" y="21883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nvGrpSpPr>
          <p:cNvPr id="8" name="Group 7">
            <a:extLst>
              <a:ext uri="{FF2B5EF4-FFF2-40B4-BE49-F238E27FC236}">
                <a16:creationId xmlns:a16="http://schemas.microsoft.com/office/drawing/2014/main" id="{A27F9933-52BB-66FF-D843-E6CA1B7AA3A4}"/>
              </a:ext>
            </a:extLst>
          </p:cNvPr>
          <p:cNvGrpSpPr/>
          <p:nvPr/>
        </p:nvGrpSpPr>
        <p:grpSpPr>
          <a:xfrm>
            <a:off x="413881" y="4591563"/>
            <a:ext cx="5475165" cy="1431451"/>
            <a:chOff x="8200571" y="1565034"/>
            <a:chExt cx="5475165" cy="1431451"/>
          </a:xfrm>
        </p:grpSpPr>
        <p:sp>
          <p:nvSpPr>
            <p:cNvPr id="115" name="Google Shape;4891;p434">
              <a:extLst>
                <a:ext uri="{FF2B5EF4-FFF2-40B4-BE49-F238E27FC236}">
                  <a16:creationId xmlns:a16="http://schemas.microsoft.com/office/drawing/2014/main" id="{CCC6193D-CB95-FB16-A9E9-6C77B40646E9}"/>
                </a:ext>
              </a:extLst>
            </p:cNvPr>
            <p:cNvSpPr txBox="1">
              <a:spLocks/>
            </p:cNvSpPr>
            <p:nvPr/>
          </p:nvSpPr>
          <p:spPr>
            <a:xfrm>
              <a:off x="8357409" y="2080731"/>
              <a:ext cx="3418995"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ct val="0"/>
                </a:spcAft>
                <a:buClr>
                  <a:srgbClr val="000000"/>
                </a:buClr>
                <a:buSzPts val="1100"/>
                <a:buFont typeface="Arial"/>
                <a:buNone/>
                <a:tabLst/>
                <a:defRPr/>
              </a:pPr>
              <a:r>
                <a:rPr kumimoji="0" lang="en-US" sz="1400" b="1" i="0" u="none" strike="noStrike" kern="1200" cap="none" spc="0" normalizeH="0" baseline="0" noProof="0">
                  <a:ln>
                    <a:noFill/>
                  </a:ln>
                  <a:solidFill>
                    <a:srgbClr val="834895">
                      <a:lumMod val="60000"/>
                      <a:lumOff val="40000"/>
                    </a:srgbClr>
                  </a:solidFill>
                  <a:effectLst/>
                  <a:uLnTx/>
                  <a:uFillTx/>
                  <a:latin typeface="Arial" panose="020B0604020202020204"/>
                  <a:ea typeface="+mn-ea"/>
                  <a:cs typeface="+mn-cs"/>
                </a:rPr>
                <a:t>Native Tools = Exposed Security Risks</a:t>
              </a:r>
            </a:p>
          </p:txBody>
        </p:sp>
        <p:sp>
          <p:nvSpPr>
            <p:cNvPr id="116" name="Rectangle 115">
              <a:extLst>
                <a:ext uri="{FF2B5EF4-FFF2-40B4-BE49-F238E27FC236}">
                  <a16:creationId xmlns:a16="http://schemas.microsoft.com/office/drawing/2014/main" id="{B7FF227F-F4D3-5ACF-BB4A-36105AC77723}"/>
                </a:ext>
              </a:extLst>
            </p:cNvPr>
            <p:cNvSpPr>
              <a:spLocks/>
            </p:cNvSpPr>
            <p:nvPr/>
          </p:nvSpPr>
          <p:spPr>
            <a:xfrm>
              <a:off x="8357409" y="2350154"/>
              <a:ext cx="5318327"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Cloud-native snapshots stored alongside production data are easily compromised, </a:t>
              </a:r>
              <a:r>
                <a:rPr kumimoji="0" lang="en-US" sz="1400" b="0" i="0" u="none" strike="noStrike" kern="1200" cap="none" spc="-20" normalizeH="0" baseline="0" noProof="0">
                  <a:ln>
                    <a:noFill/>
                  </a:ln>
                  <a:solidFill>
                    <a:srgbClr val="FFFFFF"/>
                  </a:solidFill>
                  <a:effectLst/>
                  <a:uLnTx/>
                  <a:uFillTx/>
                  <a:latin typeface="Arial" panose="020B0604020202020204"/>
                  <a:ea typeface="+mn-ea"/>
                  <a:cs typeface="+mn-cs"/>
                </a:rPr>
                <a:t>allowing attackers to delete both workloads </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and backups, turning your recovery plan into your biggest vulnerability</a:t>
              </a:r>
            </a:p>
          </p:txBody>
        </p:sp>
        <p:cxnSp>
          <p:nvCxnSpPr>
            <p:cNvPr id="117" name="Straight Connector 116">
              <a:extLst>
                <a:ext uri="{FF2B5EF4-FFF2-40B4-BE49-F238E27FC236}">
                  <a16:creationId xmlns:a16="http://schemas.microsoft.com/office/drawing/2014/main" id="{3679BDF8-398D-20C1-5AEF-33D93B0599BB}"/>
                </a:ext>
              </a:extLst>
            </p:cNvPr>
            <p:cNvCxnSpPr>
              <a:cxnSpLocks/>
            </p:cNvCxnSpPr>
            <p:nvPr/>
          </p:nvCxnSpPr>
          <p:spPr>
            <a:xfrm>
              <a:off x="8200571" y="1565034"/>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1E4E5B23-8DB0-6840-5D9B-FD079CDB889B}"/>
                </a:ext>
              </a:extLst>
            </p:cNvPr>
            <p:cNvCxnSpPr>
              <a:cxnSpLocks/>
            </p:cNvCxnSpPr>
            <p:nvPr/>
          </p:nvCxnSpPr>
          <p:spPr>
            <a:xfrm>
              <a:off x="8200571" y="2025198"/>
              <a:ext cx="0" cy="971287"/>
            </a:xfrm>
            <a:prstGeom prst="line">
              <a:avLst/>
            </a:prstGeom>
          </p:spPr>
          <p:style>
            <a:lnRef idx="1">
              <a:schemeClr val="accent1"/>
            </a:lnRef>
            <a:fillRef idx="0">
              <a:schemeClr val="accent1"/>
            </a:fillRef>
            <a:effectRef idx="0">
              <a:schemeClr val="accent1"/>
            </a:effectRef>
            <a:fontRef idx="minor">
              <a:schemeClr val="tx1"/>
            </a:fontRef>
          </p:style>
        </p:cxnSp>
        <p:sp>
          <p:nvSpPr>
            <p:cNvPr id="176" name="Freeform: Shape 175">
              <a:extLst>
                <a:ext uri="{FF2B5EF4-FFF2-40B4-BE49-F238E27FC236}">
                  <a16:creationId xmlns:a16="http://schemas.microsoft.com/office/drawing/2014/main" id="{2FD200F1-BDCA-70BC-724C-CCBF6836E6A6}"/>
                </a:ext>
              </a:extLst>
            </p:cNvPr>
            <p:cNvSpPr/>
            <p:nvPr/>
          </p:nvSpPr>
          <p:spPr>
            <a:xfrm>
              <a:off x="8357409" y="1620663"/>
              <a:ext cx="341665" cy="348907"/>
            </a:xfrm>
            <a:custGeom>
              <a:avLst/>
              <a:gdLst>
                <a:gd name="connsiteX0" fmla="*/ 320283 w 839349"/>
                <a:gd name="connsiteY0" fmla="*/ 310232 h 857141"/>
                <a:gd name="connsiteX1" fmla="*/ 330105 w 839349"/>
                <a:gd name="connsiteY1" fmla="*/ 300410 h 857141"/>
                <a:gd name="connsiteX2" fmla="*/ 339927 w 839349"/>
                <a:gd name="connsiteY2" fmla="*/ 310232 h 857141"/>
                <a:gd name="connsiteX3" fmla="*/ 339927 w 839349"/>
                <a:gd name="connsiteY3" fmla="*/ 317116 h 857141"/>
                <a:gd name="connsiteX4" fmla="*/ 344690 w 839349"/>
                <a:gd name="connsiteY4" fmla="*/ 318529 h 857141"/>
                <a:gd name="connsiteX5" fmla="*/ 367312 w 839349"/>
                <a:gd name="connsiteY5" fmla="*/ 350713 h 857141"/>
                <a:gd name="connsiteX6" fmla="*/ 357490 w 839349"/>
                <a:gd name="connsiteY6" fmla="*/ 360536 h 857141"/>
                <a:gd name="connsiteX7" fmla="*/ 347667 w 839349"/>
                <a:gd name="connsiteY7" fmla="*/ 350713 h 857141"/>
                <a:gd name="connsiteX8" fmla="*/ 337919 w 839349"/>
                <a:gd name="connsiteY8" fmla="*/ 336947 h 857141"/>
                <a:gd name="connsiteX9" fmla="*/ 330106 w 839349"/>
                <a:gd name="connsiteY9" fmla="*/ 335608 h 857141"/>
                <a:gd name="connsiteX10" fmla="*/ 322293 w 839349"/>
                <a:gd name="connsiteY10" fmla="*/ 336947 h 857141"/>
                <a:gd name="connsiteX11" fmla="*/ 312545 w 839349"/>
                <a:gd name="connsiteY11" fmla="*/ 350713 h 857141"/>
                <a:gd name="connsiteX12" fmla="*/ 332153 w 839349"/>
                <a:gd name="connsiteY12" fmla="*/ 366229 h 857141"/>
                <a:gd name="connsiteX13" fmla="*/ 367314 w 839349"/>
                <a:gd name="connsiteY13" fmla="*/ 401054 h 857141"/>
                <a:gd name="connsiteX14" fmla="*/ 344692 w 839349"/>
                <a:gd name="connsiteY14" fmla="*/ 433238 h 857141"/>
                <a:gd name="connsiteX15" fmla="*/ 339929 w 839349"/>
                <a:gd name="connsiteY15" fmla="*/ 434652 h 857141"/>
                <a:gd name="connsiteX16" fmla="*/ 339929 w 839349"/>
                <a:gd name="connsiteY16" fmla="*/ 441535 h 857141"/>
                <a:gd name="connsiteX17" fmla="*/ 330107 w 839349"/>
                <a:gd name="connsiteY17" fmla="*/ 451357 h 857141"/>
                <a:gd name="connsiteX18" fmla="*/ 320285 w 839349"/>
                <a:gd name="connsiteY18" fmla="*/ 441535 h 857141"/>
                <a:gd name="connsiteX19" fmla="*/ 320285 w 839349"/>
                <a:gd name="connsiteY19" fmla="*/ 434652 h 857141"/>
                <a:gd name="connsiteX20" fmla="*/ 315522 w 839349"/>
                <a:gd name="connsiteY20" fmla="*/ 433238 h 857141"/>
                <a:gd name="connsiteX21" fmla="*/ 292901 w 839349"/>
                <a:gd name="connsiteY21" fmla="*/ 401054 h 857141"/>
                <a:gd name="connsiteX22" fmla="*/ 302723 w 839349"/>
                <a:gd name="connsiteY22" fmla="*/ 391232 h 857141"/>
                <a:gd name="connsiteX23" fmla="*/ 312545 w 839349"/>
                <a:gd name="connsiteY23" fmla="*/ 401054 h 857141"/>
                <a:gd name="connsiteX24" fmla="*/ 322293 w 839349"/>
                <a:gd name="connsiteY24" fmla="*/ 414820 h 857141"/>
                <a:gd name="connsiteX25" fmla="*/ 330106 w 839349"/>
                <a:gd name="connsiteY25" fmla="*/ 416160 h 857141"/>
                <a:gd name="connsiteX26" fmla="*/ 337919 w 839349"/>
                <a:gd name="connsiteY26" fmla="*/ 414820 h 857141"/>
                <a:gd name="connsiteX27" fmla="*/ 347667 w 839349"/>
                <a:gd name="connsiteY27" fmla="*/ 401054 h 857141"/>
                <a:gd name="connsiteX28" fmla="*/ 327985 w 839349"/>
                <a:gd name="connsiteY28" fmla="*/ 385390 h 857141"/>
                <a:gd name="connsiteX29" fmla="*/ 292899 w 839349"/>
                <a:gd name="connsiteY29" fmla="*/ 350713 h 857141"/>
                <a:gd name="connsiteX30" fmla="*/ 315521 w 839349"/>
                <a:gd name="connsiteY30" fmla="*/ 318529 h 857141"/>
                <a:gd name="connsiteX31" fmla="*/ 320283 w 839349"/>
                <a:gd name="connsiteY31" fmla="*/ 317116 h 857141"/>
                <a:gd name="connsiteX32" fmla="*/ 736516 w 839349"/>
                <a:gd name="connsiteY32" fmla="*/ 631406 h 857141"/>
                <a:gd name="connsiteX33" fmla="*/ 660130 w 839349"/>
                <a:gd name="connsiteY33" fmla="*/ 499094 h 857141"/>
                <a:gd name="connsiteX34" fmla="*/ 660130 w 839349"/>
                <a:gd name="connsiteY34" fmla="*/ 499057 h 857141"/>
                <a:gd name="connsiteX35" fmla="*/ 642197 w 839349"/>
                <a:gd name="connsiteY35" fmla="*/ 480862 h 857141"/>
                <a:gd name="connsiteX36" fmla="*/ 617453 w 839349"/>
                <a:gd name="connsiteY36" fmla="*/ 474462 h 857141"/>
                <a:gd name="connsiteX37" fmla="*/ 592710 w 839349"/>
                <a:gd name="connsiteY37" fmla="*/ 480862 h 857141"/>
                <a:gd name="connsiteX38" fmla="*/ 574777 w 839349"/>
                <a:gd name="connsiteY38" fmla="*/ 499057 h 857141"/>
                <a:gd name="connsiteX39" fmla="*/ 574777 w 839349"/>
                <a:gd name="connsiteY39" fmla="*/ 499094 h 857141"/>
                <a:gd name="connsiteX40" fmla="*/ 467773 w 839349"/>
                <a:gd name="connsiteY40" fmla="*/ 684422 h 857141"/>
                <a:gd name="connsiteX41" fmla="*/ 467400 w 839349"/>
                <a:gd name="connsiteY41" fmla="*/ 685054 h 857141"/>
                <a:gd name="connsiteX42" fmla="*/ 422008 w 839349"/>
                <a:gd name="connsiteY42" fmla="*/ 763710 h 857141"/>
                <a:gd name="connsiteX43" fmla="*/ 415200 w 839349"/>
                <a:gd name="connsiteY43" fmla="*/ 788340 h 857141"/>
                <a:gd name="connsiteX44" fmla="*/ 422008 w 839349"/>
                <a:gd name="connsiteY44" fmla="*/ 813008 h 857141"/>
                <a:gd name="connsiteX45" fmla="*/ 439905 w 839349"/>
                <a:gd name="connsiteY45" fmla="*/ 831203 h 857141"/>
                <a:gd name="connsiteX46" fmla="*/ 439942 w 839349"/>
                <a:gd name="connsiteY46" fmla="*/ 831203 h 857141"/>
                <a:gd name="connsiteX47" fmla="*/ 464685 w 839349"/>
                <a:gd name="connsiteY47" fmla="*/ 837603 h 857141"/>
                <a:gd name="connsiteX48" fmla="*/ 770228 w 839349"/>
                <a:gd name="connsiteY48" fmla="*/ 837603 h 857141"/>
                <a:gd name="connsiteX49" fmla="*/ 794971 w 839349"/>
                <a:gd name="connsiteY49" fmla="*/ 831203 h 857141"/>
                <a:gd name="connsiteX50" fmla="*/ 795009 w 839349"/>
                <a:gd name="connsiteY50" fmla="*/ 831203 h 857141"/>
                <a:gd name="connsiteX51" fmla="*/ 812906 w 839349"/>
                <a:gd name="connsiteY51" fmla="*/ 813008 h 857141"/>
                <a:gd name="connsiteX52" fmla="*/ 819714 w 839349"/>
                <a:gd name="connsiteY52" fmla="*/ 788340 h 857141"/>
                <a:gd name="connsiteX53" fmla="*/ 812942 w 839349"/>
                <a:gd name="connsiteY53" fmla="*/ 763710 h 857141"/>
                <a:gd name="connsiteX54" fmla="*/ 812905 w 839349"/>
                <a:gd name="connsiteY54" fmla="*/ 763710 h 857141"/>
                <a:gd name="connsiteX55" fmla="*/ 736519 w 839349"/>
                <a:gd name="connsiteY55" fmla="*/ 631398 h 857141"/>
                <a:gd name="connsiteX56" fmla="*/ 451766 w 839349"/>
                <a:gd name="connsiteY56" fmla="*/ 673040 h 857141"/>
                <a:gd name="connsiteX57" fmla="*/ 557884 w 839349"/>
                <a:gd name="connsiteY57" fmla="*/ 489275 h 857141"/>
                <a:gd name="connsiteX58" fmla="*/ 557921 w 839349"/>
                <a:gd name="connsiteY58" fmla="*/ 489275 h 857141"/>
                <a:gd name="connsiteX59" fmla="*/ 582962 w 839349"/>
                <a:gd name="connsiteY59" fmla="*/ 463899 h 857141"/>
                <a:gd name="connsiteX60" fmla="*/ 616746 w 839349"/>
                <a:gd name="connsiteY60" fmla="*/ 454858 h 857141"/>
                <a:gd name="connsiteX61" fmla="*/ 634010 w 839349"/>
                <a:gd name="connsiteY61" fmla="*/ 388146 h 857141"/>
                <a:gd name="connsiteX62" fmla="*/ 640633 w 839349"/>
                <a:gd name="connsiteY62" fmla="*/ 312467 h 857141"/>
                <a:gd name="connsiteX63" fmla="*/ 640633 w 839349"/>
                <a:gd name="connsiteY63" fmla="*/ 109432 h 857141"/>
                <a:gd name="connsiteX64" fmla="*/ 330099 w 839349"/>
                <a:gd name="connsiteY64" fmla="*/ 19949 h 857141"/>
                <a:gd name="connsiteX65" fmla="*/ 19603 w 839349"/>
                <a:gd name="connsiteY65" fmla="*/ 109395 h 857141"/>
                <a:gd name="connsiteX66" fmla="*/ 19603 w 839349"/>
                <a:gd name="connsiteY66" fmla="*/ 312430 h 857141"/>
                <a:gd name="connsiteX67" fmla="*/ 106965 w 839349"/>
                <a:gd name="connsiteY67" fmla="*/ 574815 h 857141"/>
                <a:gd name="connsiteX68" fmla="*/ 330098 w 839349"/>
                <a:gd name="connsiteY68" fmla="*/ 731787 h 857141"/>
                <a:gd name="connsiteX69" fmla="*/ 392865 w 839349"/>
                <a:gd name="connsiteY69" fmla="*/ 707379 h 857141"/>
                <a:gd name="connsiteX70" fmla="*/ 451764 w 839349"/>
                <a:gd name="connsiteY70" fmla="*/ 672999 h 857141"/>
                <a:gd name="connsiteX71" fmla="*/ 677090 w 839349"/>
                <a:gd name="connsiteY71" fmla="*/ 489275 h 857141"/>
                <a:gd name="connsiteX72" fmla="*/ 677052 w 839349"/>
                <a:gd name="connsiteY72" fmla="*/ 489275 h 857141"/>
                <a:gd name="connsiteX73" fmla="*/ 652012 w 839349"/>
                <a:gd name="connsiteY73" fmla="*/ 463899 h 857141"/>
                <a:gd name="connsiteX74" fmla="*/ 636534 w 839349"/>
                <a:gd name="connsiteY74" fmla="*/ 457388 h 857141"/>
                <a:gd name="connsiteX75" fmla="*/ 653314 w 839349"/>
                <a:gd name="connsiteY75" fmla="*/ 391494 h 857141"/>
                <a:gd name="connsiteX76" fmla="*/ 660235 w 839349"/>
                <a:gd name="connsiteY76" fmla="*/ 312429 h 857141"/>
                <a:gd name="connsiteX77" fmla="*/ 660235 w 839349"/>
                <a:gd name="connsiteY77" fmla="*/ 102059 h 857141"/>
                <a:gd name="connsiteX78" fmla="*/ 652198 w 839349"/>
                <a:gd name="connsiteY78" fmla="*/ 92386 h 857141"/>
                <a:gd name="connsiteX79" fmla="*/ 332815 w 839349"/>
                <a:gd name="connsiteY79" fmla="*/ 373 h 857141"/>
                <a:gd name="connsiteX80" fmla="*/ 327309 w 839349"/>
                <a:gd name="connsiteY80" fmla="*/ 410 h 857141"/>
                <a:gd name="connsiteX81" fmla="*/ 7107 w 839349"/>
                <a:gd name="connsiteY81" fmla="*/ 92683 h 857141"/>
                <a:gd name="connsiteX82" fmla="*/ 37 w 839349"/>
                <a:gd name="connsiteY82" fmla="*/ 102059 h 857141"/>
                <a:gd name="connsiteX83" fmla="*/ 0 w 839349"/>
                <a:gd name="connsiteY83" fmla="*/ 102059 h 857141"/>
                <a:gd name="connsiteX84" fmla="*/ 0 w 839349"/>
                <a:gd name="connsiteY84" fmla="*/ 312467 h 857141"/>
                <a:gd name="connsiteX85" fmla="*/ 91306 w 839349"/>
                <a:gd name="connsiteY85" fmla="*/ 586568 h 857141"/>
                <a:gd name="connsiteX86" fmla="*/ 327383 w 839349"/>
                <a:gd name="connsiteY86" fmla="*/ 751436 h 857141"/>
                <a:gd name="connsiteX87" fmla="*/ 332964 w 839349"/>
                <a:gd name="connsiteY87" fmla="*/ 751399 h 857141"/>
                <a:gd name="connsiteX88" fmla="*/ 401425 w 839349"/>
                <a:gd name="connsiteY88" fmla="*/ 725056 h 857141"/>
                <a:gd name="connsiteX89" fmla="*/ 430706 w 839349"/>
                <a:gd name="connsiteY89" fmla="*/ 709578 h 857141"/>
                <a:gd name="connsiteX90" fmla="*/ 405145 w 839349"/>
                <a:gd name="connsiteY90" fmla="*/ 753891 h 857141"/>
                <a:gd name="connsiteX91" fmla="*/ 395694 w 839349"/>
                <a:gd name="connsiteY91" fmla="*/ 788308 h 857141"/>
                <a:gd name="connsiteX92" fmla="*/ 405145 w 839349"/>
                <a:gd name="connsiteY92" fmla="*/ 822688 h 857141"/>
                <a:gd name="connsiteX93" fmla="*/ 430222 w 839349"/>
                <a:gd name="connsiteY93" fmla="*/ 848063 h 857141"/>
                <a:gd name="connsiteX94" fmla="*/ 430222 w 839349"/>
                <a:gd name="connsiteY94" fmla="*/ 848100 h 857141"/>
                <a:gd name="connsiteX95" fmla="*/ 464751 w 839349"/>
                <a:gd name="connsiteY95" fmla="*/ 857142 h 857141"/>
                <a:gd name="connsiteX96" fmla="*/ 770294 w 839349"/>
                <a:gd name="connsiteY96" fmla="*/ 857142 h 857141"/>
                <a:gd name="connsiteX97" fmla="*/ 804822 w 839349"/>
                <a:gd name="connsiteY97" fmla="*/ 848100 h 857141"/>
                <a:gd name="connsiteX98" fmla="*/ 804822 w 839349"/>
                <a:gd name="connsiteY98" fmla="*/ 848063 h 857141"/>
                <a:gd name="connsiteX99" fmla="*/ 829899 w 839349"/>
                <a:gd name="connsiteY99" fmla="*/ 822688 h 857141"/>
                <a:gd name="connsiteX100" fmla="*/ 839350 w 839349"/>
                <a:gd name="connsiteY100" fmla="*/ 788308 h 857141"/>
                <a:gd name="connsiteX101" fmla="*/ 829899 w 839349"/>
                <a:gd name="connsiteY101" fmla="*/ 753929 h 857141"/>
                <a:gd name="connsiteX102" fmla="*/ 829899 w 839349"/>
                <a:gd name="connsiteY102" fmla="*/ 753891 h 857141"/>
                <a:gd name="connsiteX103" fmla="*/ 677128 w 839349"/>
                <a:gd name="connsiteY103" fmla="*/ 489277 h 857141"/>
                <a:gd name="connsiteX104" fmla="*/ 607661 w 839349"/>
                <a:gd name="connsiteY104" fmla="*/ 600527 h 857141"/>
                <a:gd name="connsiteX105" fmla="*/ 617483 w 839349"/>
                <a:gd name="connsiteY105" fmla="*/ 590704 h 857141"/>
                <a:gd name="connsiteX106" fmla="*/ 627305 w 839349"/>
                <a:gd name="connsiteY106" fmla="*/ 600527 h 857141"/>
                <a:gd name="connsiteX107" fmla="*/ 627305 w 839349"/>
                <a:gd name="connsiteY107" fmla="*/ 709874 h 857141"/>
                <a:gd name="connsiteX108" fmla="*/ 617483 w 839349"/>
                <a:gd name="connsiteY108" fmla="*/ 719696 h 857141"/>
                <a:gd name="connsiteX109" fmla="*/ 607661 w 839349"/>
                <a:gd name="connsiteY109" fmla="*/ 709874 h 857141"/>
                <a:gd name="connsiteX110" fmla="*/ 607661 w 839349"/>
                <a:gd name="connsiteY110" fmla="*/ 757127 h 857141"/>
                <a:gd name="connsiteX111" fmla="*/ 617483 w 839349"/>
                <a:gd name="connsiteY111" fmla="*/ 747305 h 857141"/>
                <a:gd name="connsiteX112" fmla="*/ 627305 w 839349"/>
                <a:gd name="connsiteY112" fmla="*/ 757127 h 857141"/>
                <a:gd name="connsiteX113" fmla="*/ 627305 w 839349"/>
                <a:gd name="connsiteY113" fmla="*/ 757164 h 857141"/>
                <a:gd name="connsiteX114" fmla="*/ 617483 w 839349"/>
                <a:gd name="connsiteY114" fmla="*/ 766986 h 857141"/>
                <a:gd name="connsiteX115" fmla="*/ 607661 w 839349"/>
                <a:gd name="connsiteY115" fmla="*/ 757164 h 857141"/>
                <a:gd name="connsiteX116" fmla="*/ 408531 w 839349"/>
                <a:gd name="connsiteY116" fmla="*/ 297508 h 857141"/>
                <a:gd name="connsiteX117" fmla="*/ 330136 w 839349"/>
                <a:gd name="connsiteY117" fmla="*/ 265026 h 857141"/>
                <a:gd name="connsiteX118" fmla="*/ 251740 w 839349"/>
                <a:gd name="connsiteY118" fmla="*/ 297508 h 857141"/>
                <a:gd name="connsiteX119" fmla="*/ 219258 w 839349"/>
                <a:gd name="connsiteY119" fmla="*/ 375903 h 857141"/>
                <a:gd name="connsiteX120" fmla="*/ 251740 w 839349"/>
                <a:gd name="connsiteY120" fmla="*/ 454299 h 857141"/>
                <a:gd name="connsiteX121" fmla="*/ 330136 w 839349"/>
                <a:gd name="connsiteY121" fmla="*/ 486781 h 857141"/>
                <a:gd name="connsiteX122" fmla="*/ 408531 w 839349"/>
                <a:gd name="connsiteY122" fmla="*/ 454299 h 857141"/>
                <a:gd name="connsiteX123" fmla="*/ 441013 w 839349"/>
                <a:gd name="connsiteY123" fmla="*/ 375903 h 857141"/>
                <a:gd name="connsiteX124" fmla="*/ 408531 w 839349"/>
                <a:gd name="connsiteY124" fmla="*/ 297508 h 857141"/>
                <a:gd name="connsiteX125" fmla="*/ 330136 w 839349"/>
                <a:gd name="connsiteY125" fmla="*/ 245380 h 857141"/>
                <a:gd name="connsiteX126" fmla="*/ 237862 w 839349"/>
                <a:gd name="connsiteY126" fmla="*/ 283592 h 857141"/>
                <a:gd name="connsiteX127" fmla="*/ 199651 w 839349"/>
                <a:gd name="connsiteY127" fmla="*/ 375865 h 857141"/>
                <a:gd name="connsiteX128" fmla="*/ 237862 w 839349"/>
                <a:gd name="connsiteY128" fmla="*/ 468139 h 857141"/>
                <a:gd name="connsiteX129" fmla="*/ 330136 w 839349"/>
                <a:gd name="connsiteY129" fmla="*/ 506350 h 857141"/>
                <a:gd name="connsiteX130" fmla="*/ 422409 w 839349"/>
                <a:gd name="connsiteY130" fmla="*/ 468139 h 857141"/>
                <a:gd name="connsiteX131" fmla="*/ 460621 w 839349"/>
                <a:gd name="connsiteY131" fmla="*/ 375865 h 857141"/>
                <a:gd name="connsiteX132" fmla="*/ 422409 w 839349"/>
                <a:gd name="connsiteY132" fmla="*/ 283592 h 857141"/>
                <a:gd name="connsiteX133" fmla="*/ 330136 w 839349"/>
                <a:gd name="connsiteY133" fmla="*/ 245380 h 857141"/>
                <a:gd name="connsiteX134" fmla="*/ 346321 w 839349"/>
                <a:gd name="connsiteY134" fmla="*/ 157497 h 857141"/>
                <a:gd name="connsiteX135" fmla="*/ 305988 w 839349"/>
                <a:gd name="connsiteY135" fmla="*/ 158241 h 857141"/>
                <a:gd name="connsiteX136" fmla="*/ 298212 w 839349"/>
                <a:gd name="connsiteY136" fmla="*/ 161664 h 857141"/>
                <a:gd name="connsiteX137" fmla="*/ 295049 w 839349"/>
                <a:gd name="connsiteY137" fmla="*/ 169626 h 857141"/>
                <a:gd name="connsiteX138" fmla="*/ 295421 w 839349"/>
                <a:gd name="connsiteY138" fmla="*/ 191132 h 857141"/>
                <a:gd name="connsiteX139" fmla="*/ 287906 w 839349"/>
                <a:gd name="connsiteY139" fmla="*/ 200805 h 857141"/>
                <a:gd name="connsiteX140" fmla="*/ 258214 w 839349"/>
                <a:gd name="connsiteY140" fmla="*/ 210777 h 857141"/>
                <a:gd name="connsiteX141" fmla="*/ 230644 w 839349"/>
                <a:gd name="connsiteY141" fmla="*/ 225771 h 857141"/>
                <a:gd name="connsiteX142" fmla="*/ 218441 w 839349"/>
                <a:gd name="connsiteY142" fmla="*/ 224655 h 857141"/>
                <a:gd name="connsiteX143" fmla="*/ 203446 w 839349"/>
                <a:gd name="connsiteY143" fmla="*/ 210219 h 857141"/>
                <a:gd name="connsiteX144" fmla="*/ 202814 w 839349"/>
                <a:gd name="connsiteY144" fmla="*/ 209623 h 857141"/>
                <a:gd name="connsiteX145" fmla="*/ 202851 w 839349"/>
                <a:gd name="connsiteY145" fmla="*/ 209586 h 857141"/>
                <a:gd name="connsiteX146" fmla="*/ 195000 w 839349"/>
                <a:gd name="connsiteY146" fmla="*/ 206610 h 857141"/>
                <a:gd name="connsiteX147" fmla="*/ 187559 w 839349"/>
                <a:gd name="connsiteY147" fmla="*/ 209661 h 857141"/>
                <a:gd name="connsiteX148" fmla="*/ 187075 w 839349"/>
                <a:gd name="connsiteY148" fmla="*/ 210182 h 857141"/>
                <a:gd name="connsiteX149" fmla="*/ 187038 w 839349"/>
                <a:gd name="connsiteY149" fmla="*/ 210144 h 857141"/>
                <a:gd name="connsiteX150" fmla="*/ 159170 w 839349"/>
                <a:gd name="connsiteY150" fmla="*/ 239055 h 857141"/>
                <a:gd name="connsiteX151" fmla="*/ 156044 w 839349"/>
                <a:gd name="connsiteY151" fmla="*/ 247055 h 857141"/>
                <a:gd name="connsiteX152" fmla="*/ 159431 w 839349"/>
                <a:gd name="connsiteY152" fmla="*/ 254868 h 857141"/>
                <a:gd name="connsiteX153" fmla="*/ 174723 w 839349"/>
                <a:gd name="connsiteY153" fmla="*/ 269639 h 857141"/>
                <a:gd name="connsiteX154" fmla="*/ 176471 w 839349"/>
                <a:gd name="connsiteY154" fmla="*/ 281955 h 857141"/>
                <a:gd name="connsiteX155" fmla="*/ 162480 w 839349"/>
                <a:gd name="connsiteY155" fmla="*/ 310046 h 857141"/>
                <a:gd name="connsiteX156" fmla="*/ 153626 w 839349"/>
                <a:gd name="connsiteY156" fmla="*/ 339849 h 857141"/>
                <a:gd name="connsiteX157" fmla="*/ 144138 w 839349"/>
                <a:gd name="connsiteY157" fmla="*/ 347960 h 857141"/>
                <a:gd name="connsiteX158" fmla="*/ 122633 w 839349"/>
                <a:gd name="connsiteY158" fmla="*/ 348332 h 857141"/>
                <a:gd name="connsiteX159" fmla="*/ 114856 w 839349"/>
                <a:gd name="connsiteY159" fmla="*/ 351755 h 857141"/>
                <a:gd name="connsiteX160" fmla="*/ 111693 w 839349"/>
                <a:gd name="connsiteY160" fmla="*/ 359717 h 857141"/>
                <a:gd name="connsiteX161" fmla="*/ 112400 w 839349"/>
                <a:gd name="connsiteY161" fmla="*/ 399194 h 857141"/>
                <a:gd name="connsiteX162" fmla="*/ 112475 w 839349"/>
                <a:gd name="connsiteY162" fmla="*/ 400236 h 857141"/>
                <a:gd name="connsiteX163" fmla="*/ 112437 w 839349"/>
                <a:gd name="connsiteY163" fmla="*/ 400236 h 857141"/>
                <a:gd name="connsiteX164" fmla="*/ 115860 w 839349"/>
                <a:gd name="connsiteY164" fmla="*/ 407863 h 857141"/>
                <a:gd name="connsiteX165" fmla="*/ 123191 w 839349"/>
                <a:gd name="connsiteY165" fmla="*/ 411026 h 857141"/>
                <a:gd name="connsiteX166" fmla="*/ 123972 w 839349"/>
                <a:gd name="connsiteY166" fmla="*/ 410989 h 857141"/>
                <a:gd name="connsiteX167" fmla="*/ 123972 w 839349"/>
                <a:gd name="connsiteY167" fmla="*/ 411026 h 857141"/>
                <a:gd name="connsiteX168" fmla="*/ 145329 w 839349"/>
                <a:gd name="connsiteY168" fmla="*/ 410654 h 857141"/>
                <a:gd name="connsiteX169" fmla="*/ 155002 w 839349"/>
                <a:gd name="connsiteY169" fmla="*/ 418169 h 857141"/>
                <a:gd name="connsiteX170" fmla="*/ 164974 w 839349"/>
                <a:gd name="connsiteY170" fmla="*/ 447861 h 857141"/>
                <a:gd name="connsiteX171" fmla="*/ 179968 w 839349"/>
                <a:gd name="connsiteY171" fmla="*/ 475394 h 857141"/>
                <a:gd name="connsiteX172" fmla="*/ 178852 w 839349"/>
                <a:gd name="connsiteY172" fmla="*/ 487597 h 857141"/>
                <a:gd name="connsiteX173" fmla="*/ 164416 w 839349"/>
                <a:gd name="connsiteY173" fmla="*/ 502591 h 857141"/>
                <a:gd name="connsiteX174" fmla="*/ 163821 w 839349"/>
                <a:gd name="connsiteY174" fmla="*/ 503224 h 857141"/>
                <a:gd name="connsiteX175" fmla="*/ 163783 w 839349"/>
                <a:gd name="connsiteY175" fmla="*/ 503224 h 857141"/>
                <a:gd name="connsiteX176" fmla="*/ 160807 w 839349"/>
                <a:gd name="connsiteY176" fmla="*/ 511074 h 857141"/>
                <a:gd name="connsiteX177" fmla="*/ 163858 w 839349"/>
                <a:gd name="connsiteY177" fmla="*/ 518516 h 857141"/>
                <a:gd name="connsiteX178" fmla="*/ 164379 w 839349"/>
                <a:gd name="connsiteY178" fmla="*/ 519000 h 857141"/>
                <a:gd name="connsiteX179" fmla="*/ 164342 w 839349"/>
                <a:gd name="connsiteY179" fmla="*/ 519037 h 857141"/>
                <a:gd name="connsiteX180" fmla="*/ 193252 w 839349"/>
                <a:gd name="connsiteY180" fmla="*/ 546906 h 857141"/>
                <a:gd name="connsiteX181" fmla="*/ 201251 w 839349"/>
                <a:gd name="connsiteY181" fmla="*/ 550031 h 857141"/>
                <a:gd name="connsiteX182" fmla="*/ 209064 w 839349"/>
                <a:gd name="connsiteY182" fmla="*/ 546645 h 857141"/>
                <a:gd name="connsiteX183" fmla="*/ 223836 w 839349"/>
                <a:gd name="connsiteY183" fmla="*/ 531352 h 857141"/>
                <a:gd name="connsiteX184" fmla="*/ 236152 w 839349"/>
                <a:gd name="connsiteY184" fmla="*/ 529603 h 857141"/>
                <a:gd name="connsiteX185" fmla="*/ 264243 w 839349"/>
                <a:gd name="connsiteY185" fmla="*/ 543594 h 857141"/>
                <a:gd name="connsiteX186" fmla="*/ 294045 w 839349"/>
                <a:gd name="connsiteY186" fmla="*/ 552449 h 857141"/>
                <a:gd name="connsiteX187" fmla="*/ 302157 w 839349"/>
                <a:gd name="connsiteY187" fmla="*/ 561937 h 857141"/>
                <a:gd name="connsiteX188" fmla="*/ 302529 w 839349"/>
                <a:gd name="connsiteY188" fmla="*/ 583443 h 857141"/>
                <a:gd name="connsiteX189" fmla="*/ 305952 w 839349"/>
                <a:gd name="connsiteY189" fmla="*/ 591219 h 857141"/>
                <a:gd name="connsiteX190" fmla="*/ 313915 w 839349"/>
                <a:gd name="connsiteY190" fmla="*/ 594382 h 857141"/>
                <a:gd name="connsiteX191" fmla="*/ 354247 w 839349"/>
                <a:gd name="connsiteY191" fmla="*/ 593637 h 857141"/>
                <a:gd name="connsiteX192" fmla="*/ 362023 w 839349"/>
                <a:gd name="connsiteY192" fmla="*/ 590215 h 857141"/>
                <a:gd name="connsiteX193" fmla="*/ 365186 w 839349"/>
                <a:gd name="connsiteY193" fmla="*/ 582252 h 857141"/>
                <a:gd name="connsiteX194" fmla="*/ 364814 w 839349"/>
                <a:gd name="connsiteY194" fmla="*/ 560746 h 857141"/>
                <a:gd name="connsiteX195" fmla="*/ 372330 w 839349"/>
                <a:gd name="connsiteY195" fmla="*/ 551073 h 857141"/>
                <a:gd name="connsiteX196" fmla="*/ 402021 w 839349"/>
                <a:gd name="connsiteY196" fmla="*/ 541101 h 857141"/>
                <a:gd name="connsiteX197" fmla="*/ 429591 w 839349"/>
                <a:gd name="connsiteY197" fmla="*/ 526107 h 857141"/>
                <a:gd name="connsiteX198" fmla="*/ 441794 w 839349"/>
                <a:gd name="connsiteY198" fmla="*/ 527223 h 857141"/>
                <a:gd name="connsiteX199" fmla="*/ 457273 w 839349"/>
                <a:gd name="connsiteY199" fmla="*/ 542143 h 857141"/>
                <a:gd name="connsiteX200" fmla="*/ 465273 w 839349"/>
                <a:gd name="connsiteY200" fmla="*/ 545268 h 857141"/>
                <a:gd name="connsiteX201" fmla="*/ 473086 w 839349"/>
                <a:gd name="connsiteY201" fmla="*/ 541883 h 857141"/>
                <a:gd name="connsiteX202" fmla="*/ 500619 w 839349"/>
                <a:gd name="connsiteY202" fmla="*/ 513345 h 857141"/>
                <a:gd name="connsiteX203" fmla="*/ 501214 w 839349"/>
                <a:gd name="connsiteY203" fmla="*/ 512712 h 857141"/>
                <a:gd name="connsiteX204" fmla="*/ 501251 w 839349"/>
                <a:gd name="connsiteY204" fmla="*/ 512750 h 857141"/>
                <a:gd name="connsiteX205" fmla="*/ 504228 w 839349"/>
                <a:gd name="connsiteY205" fmla="*/ 504898 h 857141"/>
                <a:gd name="connsiteX206" fmla="*/ 501177 w 839349"/>
                <a:gd name="connsiteY206" fmla="*/ 497457 h 857141"/>
                <a:gd name="connsiteX207" fmla="*/ 500656 w 839349"/>
                <a:gd name="connsiteY207" fmla="*/ 496974 h 857141"/>
                <a:gd name="connsiteX208" fmla="*/ 500693 w 839349"/>
                <a:gd name="connsiteY208" fmla="*/ 496936 h 857141"/>
                <a:gd name="connsiteX209" fmla="*/ 485512 w 839349"/>
                <a:gd name="connsiteY209" fmla="*/ 482314 h 857141"/>
                <a:gd name="connsiteX210" fmla="*/ 483763 w 839349"/>
                <a:gd name="connsiteY210" fmla="*/ 469998 h 857141"/>
                <a:gd name="connsiteX211" fmla="*/ 497754 w 839349"/>
                <a:gd name="connsiteY211" fmla="*/ 441944 h 857141"/>
                <a:gd name="connsiteX212" fmla="*/ 506609 w 839349"/>
                <a:gd name="connsiteY212" fmla="*/ 412141 h 857141"/>
                <a:gd name="connsiteX213" fmla="*/ 516097 w 839349"/>
                <a:gd name="connsiteY213" fmla="*/ 404030 h 857141"/>
                <a:gd name="connsiteX214" fmla="*/ 537603 w 839349"/>
                <a:gd name="connsiteY214" fmla="*/ 403658 h 857141"/>
                <a:gd name="connsiteX215" fmla="*/ 545379 w 839349"/>
                <a:gd name="connsiteY215" fmla="*/ 400235 h 857141"/>
                <a:gd name="connsiteX216" fmla="*/ 548541 w 839349"/>
                <a:gd name="connsiteY216" fmla="*/ 392273 h 857141"/>
                <a:gd name="connsiteX217" fmla="*/ 547797 w 839349"/>
                <a:gd name="connsiteY217" fmla="*/ 351940 h 857141"/>
                <a:gd name="connsiteX218" fmla="*/ 544374 w 839349"/>
                <a:gd name="connsiteY218" fmla="*/ 344163 h 857141"/>
                <a:gd name="connsiteX219" fmla="*/ 536412 w 839349"/>
                <a:gd name="connsiteY219" fmla="*/ 341001 h 857141"/>
                <a:gd name="connsiteX220" fmla="*/ 514906 w 839349"/>
                <a:gd name="connsiteY220" fmla="*/ 341373 h 857141"/>
                <a:gd name="connsiteX221" fmla="*/ 505233 w 839349"/>
                <a:gd name="connsiteY221" fmla="*/ 333857 h 857141"/>
                <a:gd name="connsiteX222" fmla="*/ 495261 w 839349"/>
                <a:gd name="connsiteY222" fmla="*/ 304166 h 857141"/>
                <a:gd name="connsiteX223" fmla="*/ 480267 w 839349"/>
                <a:gd name="connsiteY223" fmla="*/ 276596 h 857141"/>
                <a:gd name="connsiteX224" fmla="*/ 481383 w 839349"/>
                <a:gd name="connsiteY224" fmla="*/ 264392 h 857141"/>
                <a:gd name="connsiteX225" fmla="*/ 496303 w 839349"/>
                <a:gd name="connsiteY225" fmla="*/ 248914 h 857141"/>
                <a:gd name="connsiteX226" fmla="*/ 499428 w 839349"/>
                <a:gd name="connsiteY226" fmla="*/ 240915 h 857141"/>
                <a:gd name="connsiteX227" fmla="*/ 496042 w 839349"/>
                <a:gd name="connsiteY227" fmla="*/ 233102 h 857141"/>
                <a:gd name="connsiteX228" fmla="*/ 467504 w 839349"/>
                <a:gd name="connsiteY228" fmla="*/ 205569 h 857141"/>
                <a:gd name="connsiteX229" fmla="*/ 466872 w 839349"/>
                <a:gd name="connsiteY229" fmla="*/ 204973 h 857141"/>
                <a:gd name="connsiteX230" fmla="*/ 466909 w 839349"/>
                <a:gd name="connsiteY230" fmla="*/ 204936 h 857141"/>
                <a:gd name="connsiteX231" fmla="*/ 459058 w 839349"/>
                <a:gd name="connsiteY231" fmla="*/ 201960 h 857141"/>
                <a:gd name="connsiteX232" fmla="*/ 451617 w 839349"/>
                <a:gd name="connsiteY232" fmla="*/ 205010 h 857141"/>
                <a:gd name="connsiteX233" fmla="*/ 451134 w 839349"/>
                <a:gd name="connsiteY233" fmla="*/ 205531 h 857141"/>
                <a:gd name="connsiteX234" fmla="*/ 451096 w 839349"/>
                <a:gd name="connsiteY234" fmla="*/ 205494 h 857141"/>
                <a:gd name="connsiteX235" fmla="*/ 436473 w 839349"/>
                <a:gd name="connsiteY235" fmla="*/ 220675 h 857141"/>
                <a:gd name="connsiteX236" fmla="*/ 424157 w 839349"/>
                <a:gd name="connsiteY236" fmla="*/ 222423 h 857141"/>
                <a:gd name="connsiteX237" fmla="*/ 396103 w 839349"/>
                <a:gd name="connsiteY237" fmla="*/ 208433 h 857141"/>
                <a:gd name="connsiteX238" fmla="*/ 366300 w 839349"/>
                <a:gd name="connsiteY238" fmla="*/ 199578 h 857141"/>
                <a:gd name="connsiteX239" fmla="*/ 358190 w 839349"/>
                <a:gd name="connsiteY239" fmla="*/ 190090 h 857141"/>
                <a:gd name="connsiteX240" fmla="*/ 357817 w 839349"/>
                <a:gd name="connsiteY240" fmla="*/ 168585 h 857141"/>
                <a:gd name="connsiteX241" fmla="*/ 354395 w 839349"/>
                <a:gd name="connsiteY241" fmla="*/ 160809 h 857141"/>
                <a:gd name="connsiteX242" fmla="*/ 346432 w 839349"/>
                <a:gd name="connsiteY242" fmla="*/ 157645 h 857141"/>
                <a:gd name="connsiteX243" fmla="*/ 305654 w 839349"/>
                <a:gd name="connsiteY243" fmla="*/ 138670 h 857141"/>
                <a:gd name="connsiteX244" fmla="*/ 284074 w 839349"/>
                <a:gd name="connsiteY244" fmla="*/ 148083 h 857141"/>
                <a:gd name="connsiteX245" fmla="*/ 275479 w 839349"/>
                <a:gd name="connsiteY245" fmla="*/ 169924 h 857141"/>
                <a:gd name="connsiteX246" fmla="*/ 275739 w 839349"/>
                <a:gd name="connsiteY246" fmla="*/ 183765 h 857141"/>
                <a:gd name="connsiteX247" fmla="*/ 250401 w 839349"/>
                <a:gd name="connsiteY247" fmla="*/ 192806 h 857141"/>
                <a:gd name="connsiteX248" fmla="*/ 226514 w 839349"/>
                <a:gd name="connsiteY248" fmla="*/ 205196 h 857141"/>
                <a:gd name="connsiteX249" fmla="*/ 217101 w 839349"/>
                <a:gd name="connsiteY249" fmla="*/ 196118 h 857141"/>
                <a:gd name="connsiteX250" fmla="*/ 216729 w 839349"/>
                <a:gd name="connsiteY250" fmla="*/ 195745 h 857141"/>
                <a:gd name="connsiteX251" fmla="*/ 216692 w 839349"/>
                <a:gd name="connsiteY251" fmla="*/ 195783 h 857141"/>
                <a:gd name="connsiteX252" fmla="*/ 216542 w 839349"/>
                <a:gd name="connsiteY252" fmla="*/ 195634 h 857141"/>
                <a:gd name="connsiteX253" fmla="*/ 194664 w 839349"/>
                <a:gd name="connsiteY253" fmla="*/ 187077 h 857141"/>
                <a:gd name="connsiteX254" fmla="*/ 173680 w 839349"/>
                <a:gd name="connsiteY254" fmla="*/ 195857 h 857141"/>
                <a:gd name="connsiteX255" fmla="*/ 173196 w 839349"/>
                <a:gd name="connsiteY255" fmla="*/ 196341 h 857141"/>
                <a:gd name="connsiteX256" fmla="*/ 173234 w 839349"/>
                <a:gd name="connsiteY256" fmla="*/ 196378 h 857141"/>
                <a:gd name="connsiteX257" fmla="*/ 145106 w 839349"/>
                <a:gd name="connsiteY257" fmla="*/ 225548 h 857141"/>
                <a:gd name="connsiteX258" fmla="*/ 136548 w 839349"/>
                <a:gd name="connsiteY258" fmla="*/ 247426 h 857141"/>
                <a:gd name="connsiteX259" fmla="*/ 145924 w 839349"/>
                <a:gd name="connsiteY259" fmla="*/ 269043 h 857141"/>
                <a:gd name="connsiteX260" fmla="*/ 155859 w 839349"/>
                <a:gd name="connsiteY260" fmla="*/ 278605 h 857141"/>
                <a:gd name="connsiteX261" fmla="*/ 144325 w 839349"/>
                <a:gd name="connsiteY261" fmla="*/ 302939 h 857141"/>
                <a:gd name="connsiteX262" fmla="*/ 136213 w 839349"/>
                <a:gd name="connsiteY262" fmla="*/ 328574 h 857141"/>
                <a:gd name="connsiteX263" fmla="*/ 122447 w 839349"/>
                <a:gd name="connsiteY263" fmla="*/ 328835 h 857141"/>
                <a:gd name="connsiteX264" fmla="*/ 100867 w 839349"/>
                <a:gd name="connsiteY264" fmla="*/ 338249 h 857141"/>
                <a:gd name="connsiteX265" fmla="*/ 92273 w 839349"/>
                <a:gd name="connsiteY265" fmla="*/ 360089 h 857141"/>
                <a:gd name="connsiteX266" fmla="*/ 92979 w 839349"/>
                <a:gd name="connsiteY266" fmla="*/ 399603 h 857141"/>
                <a:gd name="connsiteX267" fmla="*/ 92942 w 839349"/>
                <a:gd name="connsiteY267" fmla="*/ 400273 h 857141"/>
                <a:gd name="connsiteX268" fmla="*/ 92979 w 839349"/>
                <a:gd name="connsiteY268" fmla="*/ 400273 h 857141"/>
                <a:gd name="connsiteX269" fmla="*/ 92979 w 839349"/>
                <a:gd name="connsiteY269" fmla="*/ 400422 h 857141"/>
                <a:gd name="connsiteX270" fmla="*/ 102393 w 839349"/>
                <a:gd name="connsiteY270" fmla="*/ 422001 h 857141"/>
                <a:gd name="connsiteX271" fmla="*/ 123229 w 839349"/>
                <a:gd name="connsiteY271" fmla="*/ 430596 h 857141"/>
                <a:gd name="connsiteX272" fmla="*/ 124084 w 839349"/>
                <a:gd name="connsiteY272" fmla="*/ 430633 h 857141"/>
                <a:gd name="connsiteX273" fmla="*/ 124084 w 839349"/>
                <a:gd name="connsiteY273" fmla="*/ 430596 h 857141"/>
                <a:gd name="connsiteX274" fmla="*/ 138075 w 839349"/>
                <a:gd name="connsiteY274" fmla="*/ 430336 h 857141"/>
                <a:gd name="connsiteX275" fmla="*/ 147117 w 839349"/>
                <a:gd name="connsiteY275" fmla="*/ 455674 h 857141"/>
                <a:gd name="connsiteX276" fmla="*/ 159507 w 839349"/>
                <a:gd name="connsiteY276" fmla="*/ 479561 h 857141"/>
                <a:gd name="connsiteX277" fmla="*/ 150427 w 839349"/>
                <a:gd name="connsiteY277" fmla="*/ 488975 h 857141"/>
                <a:gd name="connsiteX278" fmla="*/ 150056 w 839349"/>
                <a:gd name="connsiteY278" fmla="*/ 489346 h 857141"/>
                <a:gd name="connsiteX279" fmla="*/ 150093 w 839349"/>
                <a:gd name="connsiteY279" fmla="*/ 489383 h 857141"/>
                <a:gd name="connsiteX280" fmla="*/ 149945 w 839349"/>
                <a:gd name="connsiteY280" fmla="*/ 489533 h 857141"/>
                <a:gd name="connsiteX281" fmla="*/ 141386 w 839349"/>
                <a:gd name="connsiteY281" fmla="*/ 511411 h 857141"/>
                <a:gd name="connsiteX282" fmla="*/ 150167 w 839349"/>
                <a:gd name="connsiteY282" fmla="*/ 532395 h 857141"/>
                <a:gd name="connsiteX283" fmla="*/ 150651 w 839349"/>
                <a:gd name="connsiteY283" fmla="*/ 532878 h 857141"/>
                <a:gd name="connsiteX284" fmla="*/ 150688 w 839349"/>
                <a:gd name="connsiteY284" fmla="*/ 532841 h 857141"/>
                <a:gd name="connsiteX285" fmla="*/ 179859 w 839349"/>
                <a:gd name="connsiteY285" fmla="*/ 560969 h 857141"/>
                <a:gd name="connsiteX286" fmla="*/ 201737 w 839349"/>
                <a:gd name="connsiteY286" fmla="*/ 569527 h 857141"/>
                <a:gd name="connsiteX287" fmla="*/ 223354 w 839349"/>
                <a:gd name="connsiteY287" fmla="*/ 560151 h 857141"/>
                <a:gd name="connsiteX288" fmla="*/ 232916 w 839349"/>
                <a:gd name="connsiteY288" fmla="*/ 550216 h 857141"/>
                <a:gd name="connsiteX289" fmla="*/ 257249 w 839349"/>
                <a:gd name="connsiteY289" fmla="*/ 561750 h 857141"/>
                <a:gd name="connsiteX290" fmla="*/ 282885 w 839349"/>
                <a:gd name="connsiteY290" fmla="*/ 569861 h 857141"/>
                <a:gd name="connsiteX291" fmla="*/ 283145 w 839349"/>
                <a:gd name="connsiteY291" fmla="*/ 583628 h 857141"/>
                <a:gd name="connsiteX292" fmla="*/ 292559 w 839349"/>
                <a:gd name="connsiteY292" fmla="*/ 605208 h 857141"/>
                <a:gd name="connsiteX293" fmla="*/ 314399 w 839349"/>
                <a:gd name="connsiteY293" fmla="*/ 613803 h 857141"/>
                <a:gd name="connsiteX294" fmla="*/ 354732 w 839349"/>
                <a:gd name="connsiteY294" fmla="*/ 613059 h 857141"/>
                <a:gd name="connsiteX295" fmla="*/ 376312 w 839349"/>
                <a:gd name="connsiteY295" fmla="*/ 603645 h 857141"/>
                <a:gd name="connsiteX296" fmla="*/ 384907 w 839349"/>
                <a:gd name="connsiteY296" fmla="*/ 581804 h 857141"/>
                <a:gd name="connsiteX297" fmla="*/ 384646 w 839349"/>
                <a:gd name="connsiteY297" fmla="*/ 567963 h 857141"/>
                <a:gd name="connsiteX298" fmla="*/ 409985 w 839349"/>
                <a:gd name="connsiteY298" fmla="*/ 558922 h 857141"/>
                <a:gd name="connsiteX299" fmla="*/ 433871 w 839349"/>
                <a:gd name="connsiteY299" fmla="*/ 546532 h 857141"/>
                <a:gd name="connsiteX300" fmla="*/ 443806 w 839349"/>
                <a:gd name="connsiteY300" fmla="*/ 556132 h 857141"/>
                <a:gd name="connsiteX301" fmla="*/ 465684 w 839349"/>
                <a:gd name="connsiteY301" fmla="*/ 564689 h 857141"/>
                <a:gd name="connsiteX302" fmla="*/ 487301 w 839349"/>
                <a:gd name="connsiteY302" fmla="*/ 555312 h 857141"/>
                <a:gd name="connsiteX303" fmla="*/ 514834 w 839349"/>
                <a:gd name="connsiteY303" fmla="*/ 526775 h 857141"/>
                <a:gd name="connsiteX304" fmla="*/ 515206 w 839349"/>
                <a:gd name="connsiteY304" fmla="*/ 526403 h 857141"/>
                <a:gd name="connsiteX305" fmla="*/ 515169 w 839349"/>
                <a:gd name="connsiteY305" fmla="*/ 526366 h 857141"/>
                <a:gd name="connsiteX306" fmla="*/ 515318 w 839349"/>
                <a:gd name="connsiteY306" fmla="*/ 526216 h 857141"/>
                <a:gd name="connsiteX307" fmla="*/ 523875 w 839349"/>
                <a:gd name="connsiteY307" fmla="*/ 504338 h 857141"/>
                <a:gd name="connsiteX308" fmla="*/ 515094 w 839349"/>
                <a:gd name="connsiteY308" fmla="*/ 483354 h 857141"/>
                <a:gd name="connsiteX309" fmla="*/ 514648 w 839349"/>
                <a:gd name="connsiteY309" fmla="*/ 482871 h 857141"/>
                <a:gd name="connsiteX310" fmla="*/ 514611 w 839349"/>
                <a:gd name="connsiteY310" fmla="*/ 482908 h 857141"/>
                <a:gd name="connsiteX311" fmla="*/ 504565 w 839349"/>
                <a:gd name="connsiteY311" fmla="*/ 473197 h 857141"/>
                <a:gd name="connsiteX312" fmla="*/ 516099 w 839349"/>
                <a:gd name="connsiteY312" fmla="*/ 448864 h 857141"/>
                <a:gd name="connsiteX313" fmla="*/ 524209 w 839349"/>
                <a:gd name="connsiteY313" fmla="*/ 423228 h 857141"/>
                <a:gd name="connsiteX314" fmla="*/ 537976 w 839349"/>
                <a:gd name="connsiteY314" fmla="*/ 422967 h 857141"/>
                <a:gd name="connsiteX315" fmla="*/ 559556 w 839349"/>
                <a:gd name="connsiteY315" fmla="*/ 413554 h 857141"/>
                <a:gd name="connsiteX316" fmla="*/ 568151 w 839349"/>
                <a:gd name="connsiteY316" fmla="*/ 391676 h 857141"/>
                <a:gd name="connsiteX317" fmla="*/ 567406 w 839349"/>
                <a:gd name="connsiteY317" fmla="*/ 351343 h 857141"/>
                <a:gd name="connsiteX318" fmla="*/ 557994 w 839349"/>
                <a:gd name="connsiteY318" fmla="*/ 329763 h 857141"/>
                <a:gd name="connsiteX319" fmla="*/ 536153 w 839349"/>
                <a:gd name="connsiteY319" fmla="*/ 321169 h 857141"/>
                <a:gd name="connsiteX320" fmla="*/ 522312 w 839349"/>
                <a:gd name="connsiteY320" fmla="*/ 321429 h 857141"/>
                <a:gd name="connsiteX321" fmla="*/ 513270 w 839349"/>
                <a:gd name="connsiteY321" fmla="*/ 296091 h 857141"/>
                <a:gd name="connsiteX322" fmla="*/ 500880 w 839349"/>
                <a:gd name="connsiteY322" fmla="*/ 272205 h 857141"/>
                <a:gd name="connsiteX323" fmla="*/ 510479 w 839349"/>
                <a:gd name="connsiteY323" fmla="*/ 262270 h 857141"/>
                <a:gd name="connsiteX324" fmla="*/ 519037 w 839349"/>
                <a:gd name="connsiteY324" fmla="*/ 240391 h 857141"/>
                <a:gd name="connsiteX325" fmla="*/ 509661 w 839349"/>
                <a:gd name="connsiteY325" fmla="*/ 218775 h 857141"/>
                <a:gd name="connsiteX326" fmla="*/ 481123 w 839349"/>
                <a:gd name="connsiteY326" fmla="*/ 191242 h 857141"/>
                <a:gd name="connsiteX327" fmla="*/ 480751 w 839349"/>
                <a:gd name="connsiteY327" fmla="*/ 190870 h 857141"/>
                <a:gd name="connsiteX328" fmla="*/ 480714 w 839349"/>
                <a:gd name="connsiteY328" fmla="*/ 190907 h 857141"/>
                <a:gd name="connsiteX329" fmla="*/ 480565 w 839349"/>
                <a:gd name="connsiteY329" fmla="*/ 190758 h 857141"/>
                <a:gd name="connsiteX330" fmla="*/ 458687 w 839349"/>
                <a:gd name="connsiteY330" fmla="*/ 182200 h 857141"/>
                <a:gd name="connsiteX331" fmla="*/ 437702 w 839349"/>
                <a:gd name="connsiteY331" fmla="*/ 190944 h 857141"/>
                <a:gd name="connsiteX332" fmla="*/ 437219 w 839349"/>
                <a:gd name="connsiteY332" fmla="*/ 191428 h 857141"/>
                <a:gd name="connsiteX333" fmla="*/ 437256 w 839349"/>
                <a:gd name="connsiteY333" fmla="*/ 191465 h 857141"/>
                <a:gd name="connsiteX334" fmla="*/ 427545 w 839349"/>
                <a:gd name="connsiteY334" fmla="*/ 201511 h 857141"/>
                <a:gd name="connsiteX335" fmla="*/ 403211 w 839349"/>
                <a:gd name="connsiteY335" fmla="*/ 189977 h 857141"/>
                <a:gd name="connsiteX336" fmla="*/ 377576 w 839349"/>
                <a:gd name="connsiteY336" fmla="*/ 181866 h 857141"/>
                <a:gd name="connsiteX337" fmla="*/ 377316 w 839349"/>
                <a:gd name="connsiteY337" fmla="*/ 168099 h 857141"/>
                <a:gd name="connsiteX338" fmla="*/ 367902 w 839349"/>
                <a:gd name="connsiteY338" fmla="*/ 146519 h 857141"/>
                <a:gd name="connsiteX339" fmla="*/ 346024 w 839349"/>
                <a:gd name="connsiteY339" fmla="*/ 137925 h 857141"/>
                <a:gd name="connsiteX340" fmla="*/ 305692 w 839349"/>
                <a:gd name="connsiteY340" fmla="*/ 138669 h 85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Lst>
              <a:rect l="l" t="t" r="r" b="b"/>
              <a:pathLst>
                <a:path w="839349" h="857141">
                  <a:moveTo>
                    <a:pt x="320283" y="310232"/>
                  </a:moveTo>
                  <a:cubicBezTo>
                    <a:pt x="320283" y="304800"/>
                    <a:pt x="324673" y="300410"/>
                    <a:pt x="330105" y="300410"/>
                  </a:cubicBezTo>
                  <a:cubicBezTo>
                    <a:pt x="335537" y="300410"/>
                    <a:pt x="339927" y="304800"/>
                    <a:pt x="339927" y="310232"/>
                  </a:cubicBezTo>
                  <a:lnTo>
                    <a:pt x="339927" y="317116"/>
                  </a:lnTo>
                  <a:cubicBezTo>
                    <a:pt x="341565" y="317487"/>
                    <a:pt x="343127" y="317971"/>
                    <a:pt x="344690" y="318529"/>
                  </a:cubicBezTo>
                  <a:cubicBezTo>
                    <a:pt x="357377" y="323218"/>
                    <a:pt x="367312" y="333933"/>
                    <a:pt x="367312" y="350713"/>
                  </a:cubicBezTo>
                  <a:cubicBezTo>
                    <a:pt x="367312" y="356146"/>
                    <a:pt x="362922" y="360536"/>
                    <a:pt x="357490" y="360536"/>
                  </a:cubicBezTo>
                  <a:cubicBezTo>
                    <a:pt x="352057" y="360536"/>
                    <a:pt x="347667" y="356146"/>
                    <a:pt x="347667" y="350713"/>
                  </a:cubicBezTo>
                  <a:cubicBezTo>
                    <a:pt x="347667" y="343533"/>
                    <a:pt x="343389" y="338956"/>
                    <a:pt x="337919" y="336947"/>
                  </a:cubicBezTo>
                  <a:cubicBezTo>
                    <a:pt x="335501" y="336054"/>
                    <a:pt x="332822" y="335608"/>
                    <a:pt x="330106" y="335608"/>
                  </a:cubicBezTo>
                  <a:cubicBezTo>
                    <a:pt x="327390" y="335608"/>
                    <a:pt x="324711" y="336054"/>
                    <a:pt x="322293" y="336947"/>
                  </a:cubicBezTo>
                  <a:cubicBezTo>
                    <a:pt x="316824" y="338956"/>
                    <a:pt x="312545" y="343570"/>
                    <a:pt x="312545" y="350713"/>
                  </a:cubicBezTo>
                  <a:cubicBezTo>
                    <a:pt x="312545" y="361950"/>
                    <a:pt x="322330" y="364107"/>
                    <a:pt x="332153" y="366229"/>
                  </a:cubicBezTo>
                  <a:cubicBezTo>
                    <a:pt x="349715" y="370061"/>
                    <a:pt x="367314" y="373893"/>
                    <a:pt x="367314" y="401054"/>
                  </a:cubicBezTo>
                  <a:cubicBezTo>
                    <a:pt x="367314" y="417834"/>
                    <a:pt x="357379" y="428550"/>
                    <a:pt x="344692" y="433238"/>
                  </a:cubicBezTo>
                  <a:cubicBezTo>
                    <a:pt x="343129" y="433796"/>
                    <a:pt x="341567" y="434280"/>
                    <a:pt x="339929" y="434652"/>
                  </a:cubicBezTo>
                  <a:lnTo>
                    <a:pt x="339929" y="441535"/>
                  </a:lnTo>
                  <a:cubicBezTo>
                    <a:pt x="339929" y="446967"/>
                    <a:pt x="335538" y="451357"/>
                    <a:pt x="330107" y="451357"/>
                  </a:cubicBezTo>
                  <a:cubicBezTo>
                    <a:pt x="324675" y="451357"/>
                    <a:pt x="320285" y="446967"/>
                    <a:pt x="320285" y="441535"/>
                  </a:cubicBezTo>
                  <a:lnTo>
                    <a:pt x="320285" y="434652"/>
                  </a:lnTo>
                  <a:cubicBezTo>
                    <a:pt x="318648" y="434280"/>
                    <a:pt x="317085" y="433796"/>
                    <a:pt x="315522" y="433238"/>
                  </a:cubicBezTo>
                  <a:cubicBezTo>
                    <a:pt x="302835" y="428550"/>
                    <a:pt x="292901" y="417834"/>
                    <a:pt x="292901" y="401054"/>
                  </a:cubicBezTo>
                  <a:cubicBezTo>
                    <a:pt x="292901" y="395622"/>
                    <a:pt x="297291" y="391232"/>
                    <a:pt x="302723" y="391232"/>
                  </a:cubicBezTo>
                  <a:cubicBezTo>
                    <a:pt x="308155" y="391232"/>
                    <a:pt x="312545" y="395622"/>
                    <a:pt x="312545" y="401054"/>
                  </a:cubicBezTo>
                  <a:cubicBezTo>
                    <a:pt x="312545" y="408198"/>
                    <a:pt x="316824" y="412812"/>
                    <a:pt x="322293" y="414820"/>
                  </a:cubicBezTo>
                  <a:cubicBezTo>
                    <a:pt x="324711" y="415714"/>
                    <a:pt x="327390" y="416160"/>
                    <a:pt x="330106" y="416160"/>
                  </a:cubicBezTo>
                  <a:cubicBezTo>
                    <a:pt x="332822" y="416160"/>
                    <a:pt x="335501" y="415713"/>
                    <a:pt x="337919" y="414820"/>
                  </a:cubicBezTo>
                  <a:cubicBezTo>
                    <a:pt x="343389" y="412812"/>
                    <a:pt x="347667" y="408198"/>
                    <a:pt x="347667" y="401054"/>
                  </a:cubicBezTo>
                  <a:cubicBezTo>
                    <a:pt x="347667" y="389669"/>
                    <a:pt x="337807" y="387510"/>
                    <a:pt x="327985" y="385390"/>
                  </a:cubicBezTo>
                  <a:cubicBezTo>
                    <a:pt x="310423" y="381558"/>
                    <a:pt x="292899" y="377725"/>
                    <a:pt x="292899" y="350713"/>
                  </a:cubicBezTo>
                  <a:cubicBezTo>
                    <a:pt x="292899" y="333933"/>
                    <a:pt x="302833" y="323218"/>
                    <a:pt x="315521" y="318529"/>
                  </a:cubicBezTo>
                  <a:cubicBezTo>
                    <a:pt x="317084" y="317971"/>
                    <a:pt x="318646" y="317487"/>
                    <a:pt x="320283" y="317116"/>
                  </a:cubicBezTo>
                  <a:close/>
                  <a:moveTo>
                    <a:pt x="736516" y="631406"/>
                  </a:moveTo>
                  <a:lnTo>
                    <a:pt x="660130" y="499094"/>
                  </a:lnTo>
                  <a:lnTo>
                    <a:pt x="660130" y="499057"/>
                  </a:lnTo>
                  <a:cubicBezTo>
                    <a:pt x="655591" y="491206"/>
                    <a:pt x="649452" y="485066"/>
                    <a:pt x="642197" y="480862"/>
                  </a:cubicBezTo>
                  <a:cubicBezTo>
                    <a:pt x="634979" y="476695"/>
                    <a:pt x="626570" y="474462"/>
                    <a:pt x="617453" y="474462"/>
                  </a:cubicBezTo>
                  <a:cubicBezTo>
                    <a:pt x="608337" y="474462"/>
                    <a:pt x="599929" y="476695"/>
                    <a:pt x="592710" y="480862"/>
                  </a:cubicBezTo>
                  <a:cubicBezTo>
                    <a:pt x="585455" y="485066"/>
                    <a:pt x="579316" y="491205"/>
                    <a:pt x="574777" y="499057"/>
                  </a:cubicBezTo>
                  <a:lnTo>
                    <a:pt x="574777" y="499094"/>
                  </a:lnTo>
                  <a:lnTo>
                    <a:pt x="467773" y="684422"/>
                  </a:lnTo>
                  <a:cubicBezTo>
                    <a:pt x="467661" y="684645"/>
                    <a:pt x="467550" y="684869"/>
                    <a:pt x="467400" y="685054"/>
                  </a:cubicBezTo>
                  <a:lnTo>
                    <a:pt x="422008" y="763710"/>
                  </a:lnTo>
                  <a:cubicBezTo>
                    <a:pt x="417469" y="771560"/>
                    <a:pt x="415200" y="779932"/>
                    <a:pt x="415200" y="788340"/>
                  </a:cubicBezTo>
                  <a:cubicBezTo>
                    <a:pt x="415200" y="796712"/>
                    <a:pt x="417469" y="805158"/>
                    <a:pt x="422008" y="813008"/>
                  </a:cubicBezTo>
                  <a:cubicBezTo>
                    <a:pt x="426548" y="820859"/>
                    <a:pt x="432687" y="827036"/>
                    <a:pt x="439905" y="831203"/>
                  </a:cubicBezTo>
                  <a:lnTo>
                    <a:pt x="439942" y="831203"/>
                  </a:lnTo>
                  <a:cubicBezTo>
                    <a:pt x="447161" y="835370"/>
                    <a:pt x="455531" y="837603"/>
                    <a:pt x="464685" y="837603"/>
                  </a:cubicBezTo>
                  <a:lnTo>
                    <a:pt x="770228" y="837603"/>
                  </a:lnTo>
                  <a:cubicBezTo>
                    <a:pt x="779344" y="837603"/>
                    <a:pt x="787752" y="835370"/>
                    <a:pt x="794971" y="831203"/>
                  </a:cubicBezTo>
                  <a:lnTo>
                    <a:pt x="795009" y="831203"/>
                  </a:lnTo>
                  <a:cubicBezTo>
                    <a:pt x="802227" y="827036"/>
                    <a:pt x="808366" y="820860"/>
                    <a:pt x="812906" y="813008"/>
                  </a:cubicBezTo>
                  <a:cubicBezTo>
                    <a:pt x="817444" y="805158"/>
                    <a:pt x="819714" y="796749"/>
                    <a:pt x="819714" y="788340"/>
                  </a:cubicBezTo>
                  <a:cubicBezTo>
                    <a:pt x="819714" y="779932"/>
                    <a:pt x="817444" y="771560"/>
                    <a:pt x="812942" y="763710"/>
                  </a:cubicBezTo>
                  <a:lnTo>
                    <a:pt x="812905" y="763710"/>
                  </a:lnTo>
                  <a:lnTo>
                    <a:pt x="736519" y="631398"/>
                  </a:lnTo>
                  <a:close/>
                  <a:moveTo>
                    <a:pt x="451766" y="673040"/>
                  </a:moveTo>
                  <a:lnTo>
                    <a:pt x="557884" y="489275"/>
                  </a:lnTo>
                  <a:lnTo>
                    <a:pt x="557921" y="489275"/>
                  </a:lnTo>
                  <a:cubicBezTo>
                    <a:pt x="564210" y="478373"/>
                    <a:pt x="572804" y="469778"/>
                    <a:pt x="582962" y="463899"/>
                  </a:cubicBezTo>
                  <a:cubicBezTo>
                    <a:pt x="593008" y="458094"/>
                    <a:pt x="604467" y="454969"/>
                    <a:pt x="616746" y="454858"/>
                  </a:cubicBezTo>
                  <a:cubicBezTo>
                    <a:pt x="624188" y="433278"/>
                    <a:pt x="629991" y="410990"/>
                    <a:pt x="634010" y="388146"/>
                  </a:cubicBezTo>
                  <a:cubicBezTo>
                    <a:pt x="638363" y="363440"/>
                    <a:pt x="640633" y="338139"/>
                    <a:pt x="640633" y="312467"/>
                  </a:cubicBezTo>
                  <a:lnTo>
                    <a:pt x="640633" y="109432"/>
                  </a:lnTo>
                  <a:lnTo>
                    <a:pt x="330099" y="19949"/>
                  </a:lnTo>
                  <a:lnTo>
                    <a:pt x="19603" y="109395"/>
                  </a:lnTo>
                  <a:lnTo>
                    <a:pt x="19603" y="312430"/>
                  </a:lnTo>
                  <a:cubicBezTo>
                    <a:pt x="19603" y="409089"/>
                    <a:pt x="51675" y="500663"/>
                    <a:pt x="106965" y="574815"/>
                  </a:cubicBezTo>
                  <a:cubicBezTo>
                    <a:pt x="161585" y="648075"/>
                    <a:pt x="238829" y="704336"/>
                    <a:pt x="330098" y="731787"/>
                  </a:cubicBezTo>
                  <a:cubicBezTo>
                    <a:pt x="351864" y="725238"/>
                    <a:pt x="372811" y="717053"/>
                    <a:pt x="392865" y="707379"/>
                  </a:cubicBezTo>
                  <a:cubicBezTo>
                    <a:pt x="413478" y="697444"/>
                    <a:pt x="433161" y="685911"/>
                    <a:pt x="451764" y="672999"/>
                  </a:cubicBezTo>
                  <a:close/>
                  <a:moveTo>
                    <a:pt x="677090" y="489275"/>
                  </a:moveTo>
                  <a:lnTo>
                    <a:pt x="677052" y="489275"/>
                  </a:lnTo>
                  <a:cubicBezTo>
                    <a:pt x="670764" y="478373"/>
                    <a:pt x="662170" y="469778"/>
                    <a:pt x="652012" y="463899"/>
                  </a:cubicBezTo>
                  <a:cubicBezTo>
                    <a:pt x="647175" y="461108"/>
                    <a:pt x="641966" y="458914"/>
                    <a:pt x="636534" y="457388"/>
                  </a:cubicBezTo>
                  <a:cubicBezTo>
                    <a:pt x="643715" y="435956"/>
                    <a:pt x="649371" y="413930"/>
                    <a:pt x="653314" y="391494"/>
                  </a:cubicBezTo>
                  <a:cubicBezTo>
                    <a:pt x="657854" y="365672"/>
                    <a:pt x="660235" y="339218"/>
                    <a:pt x="660235" y="312429"/>
                  </a:cubicBezTo>
                  <a:lnTo>
                    <a:pt x="660235" y="102059"/>
                  </a:lnTo>
                  <a:cubicBezTo>
                    <a:pt x="660235" y="97260"/>
                    <a:pt x="656775" y="93241"/>
                    <a:pt x="652198" y="92386"/>
                  </a:cubicBezTo>
                  <a:lnTo>
                    <a:pt x="332815" y="373"/>
                  </a:lnTo>
                  <a:cubicBezTo>
                    <a:pt x="330955" y="-148"/>
                    <a:pt x="329057" y="-111"/>
                    <a:pt x="327309" y="410"/>
                  </a:cubicBezTo>
                  <a:lnTo>
                    <a:pt x="7107" y="92683"/>
                  </a:lnTo>
                  <a:cubicBezTo>
                    <a:pt x="2828" y="93911"/>
                    <a:pt x="37" y="97818"/>
                    <a:pt x="37" y="102059"/>
                  </a:cubicBezTo>
                  <a:lnTo>
                    <a:pt x="0" y="102059"/>
                  </a:lnTo>
                  <a:lnTo>
                    <a:pt x="0" y="312467"/>
                  </a:lnTo>
                  <a:cubicBezTo>
                    <a:pt x="0" y="413451"/>
                    <a:pt x="33523" y="509110"/>
                    <a:pt x="91306" y="586568"/>
                  </a:cubicBezTo>
                  <a:cubicBezTo>
                    <a:pt x="148940" y="663847"/>
                    <a:pt x="230685" y="723042"/>
                    <a:pt x="327383" y="751436"/>
                  </a:cubicBezTo>
                  <a:cubicBezTo>
                    <a:pt x="329280" y="751994"/>
                    <a:pt x="331215" y="751957"/>
                    <a:pt x="332964" y="751399"/>
                  </a:cubicBezTo>
                  <a:cubicBezTo>
                    <a:pt x="356739" y="744404"/>
                    <a:pt x="379584" y="735585"/>
                    <a:pt x="401425" y="725056"/>
                  </a:cubicBezTo>
                  <a:cubicBezTo>
                    <a:pt x="411396" y="720257"/>
                    <a:pt x="421181" y="715085"/>
                    <a:pt x="430706" y="709578"/>
                  </a:cubicBezTo>
                  <a:lnTo>
                    <a:pt x="405145" y="753891"/>
                  </a:lnTo>
                  <a:cubicBezTo>
                    <a:pt x="398820" y="764830"/>
                    <a:pt x="395694" y="776588"/>
                    <a:pt x="395694" y="788308"/>
                  </a:cubicBezTo>
                  <a:cubicBezTo>
                    <a:pt x="395694" y="800066"/>
                    <a:pt x="398858" y="811785"/>
                    <a:pt x="405145" y="822688"/>
                  </a:cubicBezTo>
                  <a:cubicBezTo>
                    <a:pt x="411433" y="833589"/>
                    <a:pt x="420028" y="842184"/>
                    <a:pt x="430222" y="848063"/>
                  </a:cubicBezTo>
                  <a:lnTo>
                    <a:pt x="430222" y="848100"/>
                  </a:lnTo>
                  <a:cubicBezTo>
                    <a:pt x="440454" y="854016"/>
                    <a:pt x="452175" y="857142"/>
                    <a:pt x="464751" y="857142"/>
                  </a:cubicBezTo>
                  <a:lnTo>
                    <a:pt x="770294" y="857142"/>
                  </a:lnTo>
                  <a:cubicBezTo>
                    <a:pt x="782869" y="857142"/>
                    <a:pt x="794590" y="853979"/>
                    <a:pt x="804822" y="848100"/>
                  </a:cubicBezTo>
                  <a:lnTo>
                    <a:pt x="804822" y="848063"/>
                  </a:lnTo>
                  <a:cubicBezTo>
                    <a:pt x="815016" y="842184"/>
                    <a:pt x="823612" y="833590"/>
                    <a:pt x="829899" y="822688"/>
                  </a:cubicBezTo>
                  <a:cubicBezTo>
                    <a:pt x="836225" y="811749"/>
                    <a:pt x="839350" y="800029"/>
                    <a:pt x="839350" y="788308"/>
                  </a:cubicBezTo>
                  <a:cubicBezTo>
                    <a:pt x="839350" y="776588"/>
                    <a:pt x="836188" y="764868"/>
                    <a:pt x="829899" y="753929"/>
                  </a:cubicBezTo>
                  <a:lnTo>
                    <a:pt x="829899" y="753891"/>
                  </a:lnTo>
                  <a:lnTo>
                    <a:pt x="677128" y="489277"/>
                  </a:lnTo>
                  <a:close/>
                  <a:moveTo>
                    <a:pt x="607661" y="600527"/>
                  </a:moveTo>
                  <a:cubicBezTo>
                    <a:pt x="607661" y="595094"/>
                    <a:pt x="612051" y="590704"/>
                    <a:pt x="617483" y="590704"/>
                  </a:cubicBezTo>
                  <a:cubicBezTo>
                    <a:pt x="622915" y="590704"/>
                    <a:pt x="627305" y="595094"/>
                    <a:pt x="627305" y="600527"/>
                  </a:cubicBezTo>
                  <a:lnTo>
                    <a:pt x="627305" y="709874"/>
                  </a:lnTo>
                  <a:cubicBezTo>
                    <a:pt x="627305" y="715306"/>
                    <a:pt x="622915" y="719696"/>
                    <a:pt x="617483" y="719696"/>
                  </a:cubicBezTo>
                  <a:cubicBezTo>
                    <a:pt x="612051" y="719696"/>
                    <a:pt x="607661" y="715306"/>
                    <a:pt x="607661" y="709874"/>
                  </a:cubicBezTo>
                  <a:close/>
                  <a:moveTo>
                    <a:pt x="607661" y="757127"/>
                  </a:moveTo>
                  <a:cubicBezTo>
                    <a:pt x="607661" y="751695"/>
                    <a:pt x="612051" y="747305"/>
                    <a:pt x="617483" y="747305"/>
                  </a:cubicBezTo>
                  <a:cubicBezTo>
                    <a:pt x="622915" y="747305"/>
                    <a:pt x="627305" y="751695"/>
                    <a:pt x="627305" y="757127"/>
                  </a:cubicBezTo>
                  <a:lnTo>
                    <a:pt x="627305" y="757164"/>
                  </a:lnTo>
                  <a:cubicBezTo>
                    <a:pt x="627305" y="762596"/>
                    <a:pt x="622915" y="766986"/>
                    <a:pt x="617483" y="766986"/>
                  </a:cubicBezTo>
                  <a:cubicBezTo>
                    <a:pt x="612051" y="766986"/>
                    <a:pt x="607661" y="762596"/>
                    <a:pt x="607661" y="757164"/>
                  </a:cubicBezTo>
                  <a:close/>
                  <a:moveTo>
                    <a:pt x="408531" y="297508"/>
                  </a:moveTo>
                  <a:cubicBezTo>
                    <a:pt x="388476" y="277453"/>
                    <a:pt x="360758" y="265026"/>
                    <a:pt x="330136" y="265026"/>
                  </a:cubicBezTo>
                  <a:cubicBezTo>
                    <a:pt x="299515" y="265026"/>
                    <a:pt x="271795" y="277453"/>
                    <a:pt x="251740" y="297508"/>
                  </a:cubicBezTo>
                  <a:cubicBezTo>
                    <a:pt x="231685" y="317563"/>
                    <a:pt x="219258" y="345281"/>
                    <a:pt x="219258" y="375903"/>
                  </a:cubicBezTo>
                  <a:cubicBezTo>
                    <a:pt x="219258" y="406525"/>
                    <a:pt x="231685" y="434244"/>
                    <a:pt x="251740" y="454299"/>
                  </a:cubicBezTo>
                  <a:cubicBezTo>
                    <a:pt x="271795" y="474354"/>
                    <a:pt x="299514" y="486781"/>
                    <a:pt x="330136" y="486781"/>
                  </a:cubicBezTo>
                  <a:cubicBezTo>
                    <a:pt x="360757" y="486781"/>
                    <a:pt x="388476" y="474354"/>
                    <a:pt x="408531" y="454299"/>
                  </a:cubicBezTo>
                  <a:cubicBezTo>
                    <a:pt x="428586" y="434244"/>
                    <a:pt x="441013" y="406525"/>
                    <a:pt x="441013" y="375903"/>
                  </a:cubicBezTo>
                  <a:cubicBezTo>
                    <a:pt x="441013" y="345281"/>
                    <a:pt x="428586" y="317563"/>
                    <a:pt x="408531" y="297508"/>
                  </a:cubicBezTo>
                  <a:close/>
                  <a:moveTo>
                    <a:pt x="330136" y="245380"/>
                  </a:moveTo>
                  <a:cubicBezTo>
                    <a:pt x="294082" y="245380"/>
                    <a:pt x="261452" y="260003"/>
                    <a:pt x="237862" y="283592"/>
                  </a:cubicBezTo>
                  <a:cubicBezTo>
                    <a:pt x="214235" y="307218"/>
                    <a:pt x="199651" y="339848"/>
                    <a:pt x="199651" y="375865"/>
                  </a:cubicBezTo>
                  <a:cubicBezTo>
                    <a:pt x="199651" y="411919"/>
                    <a:pt x="214274" y="444549"/>
                    <a:pt x="237862" y="468139"/>
                  </a:cubicBezTo>
                  <a:cubicBezTo>
                    <a:pt x="261489" y="491765"/>
                    <a:pt x="294119" y="506350"/>
                    <a:pt x="330136" y="506350"/>
                  </a:cubicBezTo>
                  <a:cubicBezTo>
                    <a:pt x="366190" y="506350"/>
                    <a:pt x="398819" y="491727"/>
                    <a:pt x="422409" y="468139"/>
                  </a:cubicBezTo>
                  <a:cubicBezTo>
                    <a:pt x="446036" y="444512"/>
                    <a:pt x="460621" y="411882"/>
                    <a:pt x="460621" y="375865"/>
                  </a:cubicBezTo>
                  <a:cubicBezTo>
                    <a:pt x="460621" y="339811"/>
                    <a:pt x="445998" y="307181"/>
                    <a:pt x="422409" y="283592"/>
                  </a:cubicBezTo>
                  <a:cubicBezTo>
                    <a:pt x="398782" y="259965"/>
                    <a:pt x="366153" y="245380"/>
                    <a:pt x="330136" y="245380"/>
                  </a:cubicBezTo>
                  <a:close/>
                  <a:moveTo>
                    <a:pt x="346321" y="157497"/>
                  </a:moveTo>
                  <a:lnTo>
                    <a:pt x="305988" y="158241"/>
                  </a:lnTo>
                  <a:cubicBezTo>
                    <a:pt x="302937" y="158315"/>
                    <a:pt x="300183" y="159618"/>
                    <a:pt x="298212" y="161664"/>
                  </a:cubicBezTo>
                  <a:cubicBezTo>
                    <a:pt x="296202" y="163747"/>
                    <a:pt x="294975" y="166575"/>
                    <a:pt x="295049" y="169626"/>
                  </a:cubicBezTo>
                  <a:lnTo>
                    <a:pt x="295421" y="191132"/>
                  </a:lnTo>
                  <a:cubicBezTo>
                    <a:pt x="295495" y="195634"/>
                    <a:pt x="292444" y="199727"/>
                    <a:pt x="287906" y="200805"/>
                  </a:cubicBezTo>
                  <a:cubicBezTo>
                    <a:pt x="277674" y="203261"/>
                    <a:pt x="267776" y="206610"/>
                    <a:pt x="258214" y="210777"/>
                  </a:cubicBezTo>
                  <a:cubicBezTo>
                    <a:pt x="248578" y="214981"/>
                    <a:pt x="239350" y="220005"/>
                    <a:pt x="230644" y="225771"/>
                  </a:cubicBezTo>
                  <a:cubicBezTo>
                    <a:pt x="226886" y="228265"/>
                    <a:pt x="221826" y="227892"/>
                    <a:pt x="218441" y="224655"/>
                  </a:cubicBezTo>
                  <a:lnTo>
                    <a:pt x="203446" y="210219"/>
                  </a:lnTo>
                  <a:cubicBezTo>
                    <a:pt x="203223" y="210033"/>
                    <a:pt x="203000" y="209847"/>
                    <a:pt x="202814" y="209623"/>
                  </a:cubicBezTo>
                  <a:lnTo>
                    <a:pt x="202851" y="209586"/>
                  </a:lnTo>
                  <a:cubicBezTo>
                    <a:pt x="200656" y="207540"/>
                    <a:pt x="197828" y="206535"/>
                    <a:pt x="195000" y="206610"/>
                  </a:cubicBezTo>
                  <a:cubicBezTo>
                    <a:pt x="192321" y="206647"/>
                    <a:pt x="189642" y="207689"/>
                    <a:pt x="187559" y="209661"/>
                  </a:cubicBezTo>
                  <a:cubicBezTo>
                    <a:pt x="187410" y="209847"/>
                    <a:pt x="187261" y="209996"/>
                    <a:pt x="187075" y="210182"/>
                  </a:cubicBezTo>
                  <a:lnTo>
                    <a:pt x="187038" y="210144"/>
                  </a:lnTo>
                  <a:lnTo>
                    <a:pt x="159170" y="239055"/>
                  </a:lnTo>
                  <a:cubicBezTo>
                    <a:pt x="157048" y="241287"/>
                    <a:pt x="156007" y="244152"/>
                    <a:pt x="156044" y="247055"/>
                  </a:cubicBezTo>
                  <a:cubicBezTo>
                    <a:pt x="156082" y="249919"/>
                    <a:pt x="157235" y="252747"/>
                    <a:pt x="159431" y="254868"/>
                  </a:cubicBezTo>
                  <a:lnTo>
                    <a:pt x="174723" y="269639"/>
                  </a:lnTo>
                  <a:cubicBezTo>
                    <a:pt x="178108" y="272727"/>
                    <a:pt x="178964" y="277900"/>
                    <a:pt x="176471" y="281955"/>
                  </a:cubicBezTo>
                  <a:cubicBezTo>
                    <a:pt x="171039" y="290848"/>
                    <a:pt x="166350" y="300224"/>
                    <a:pt x="162480" y="310046"/>
                  </a:cubicBezTo>
                  <a:cubicBezTo>
                    <a:pt x="158686" y="319683"/>
                    <a:pt x="155709" y="329655"/>
                    <a:pt x="153626" y="339849"/>
                  </a:cubicBezTo>
                  <a:cubicBezTo>
                    <a:pt x="152844" y="344388"/>
                    <a:pt x="148938" y="347885"/>
                    <a:pt x="144138" y="347960"/>
                  </a:cubicBezTo>
                  <a:lnTo>
                    <a:pt x="122633" y="348332"/>
                  </a:lnTo>
                  <a:cubicBezTo>
                    <a:pt x="119582" y="348406"/>
                    <a:pt x="116828" y="349709"/>
                    <a:pt x="114856" y="351755"/>
                  </a:cubicBezTo>
                  <a:cubicBezTo>
                    <a:pt x="112847" y="353839"/>
                    <a:pt x="111619" y="356667"/>
                    <a:pt x="111693" y="359717"/>
                  </a:cubicBezTo>
                  <a:lnTo>
                    <a:pt x="112400" y="399194"/>
                  </a:lnTo>
                  <a:cubicBezTo>
                    <a:pt x="112437" y="399529"/>
                    <a:pt x="112475" y="399863"/>
                    <a:pt x="112475" y="400236"/>
                  </a:cubicBezTo>
                  <a:lnTo>
                    <a:pt x="112437" y="400236"/>
                  </a:lnTo>
                  <a:cubicBezTo>
                    <a:pt x="112549" y="403212"/>
                    <a:pt x="113851" y="405929"/>
                    <a:pt x="115860" y="407863"/>
                  </a:cubicBezTo>
                  <a:cubicBezTo>
                    <a:pt x="117795" y="409724"/>
                    <a:pt x="120363" y="410914"/>
                    <a:pt x="123191" y="411026"/>
                  </a:cubicBezTo>
                  <a:cubicBezTo>
                    <a:pt x="123451" y="410989"/>
                    <a:pt x="123711" y="410989"/>
                    <a:pt x="123972" y="410989"/>
                  </a:cubicBezTo>
                  <a:lnTo>
                    <a:pt x="123972" y="411026"/>
                  </a:lnTo>
                  <a:cubicBezTo>
                    <a:pt x="123972" y="411026"/>
                    <a:pt x="145329" y="410654"/>
                    <a:pt x="145329" y="410654"/>
                  </a:cubicBezTo>
                  <a:cubicBezTo>
                    <a:pt x="149831" y="410579"/>
                    <a:pt x="153923" y="413631"/>
                    <a:pt x="155002" y="418169"/>
                  </a:cubicBezTo>
                  <a:cubicBezTo>
                    <a:pt x="157458" y="428401"/>
                    <a:pt x="160807" y="438299"/>
                    <a:pt x="164974" y="447861"/>
                  </a:cubicBezTo>
                  <a:cubicBezTo>
                    <a:pt x="169178" y="457497"/>
                    <a:pt x="174201" y="466688"/>
                    <a:pt x="179968" y="475394"/>
                  </a:cubicBezTo>
                  <a:cubicBezTo>
                    <a:pt x="182461" y="479151"/>
                    <a:pt x="182090" y="484212"/>
                    <a:pt x="178852" y="487597"/>
                  </a:cubicBezTo>
                  <a:lnTo>
                    <a:pt x="164416" y="502591"/>
                  </a:lnTo>
                  <a:cubicBezTo>
                    <a:pt x="164230" y="502814"/>
                    <a:pt x="164043" y="503038"/>
                    <a:pt x="163821" y="503224"/>
                  </a:cubicBezTo>
                  <a:lnTo>
                    <a:pt x="163783" y="503224"/>
                  </a:lnTo>
                  <a:cubicBezTo>
                    <a:pt x="161737" y="505419"/>
                    <a:pt x="160733" y="508247"/>
                    <a:pt x="160807" y="511074"/>
                  </a:cubicBezTo>
                  <a:cubicBezTo>
                    <a:pt x="160844" y="513754"/>
                    <a:pt x="161886" y="516432"/>
                    <a:pt x="163858" y="518516"/>
                  </a:cubicBezTo>
                  <a:cubicBezTo>
                    <a:pt x="164043" y="518665"/>
                    <a:pt x="164193" y="518813"/>
                    <a:pt x="164379" y="519000"/>
                  </a:cubicBezTo>
                  <a:lnTo>
                    <a:pt x="164342" y="519037"/>
                  </a:lnTo>
                  <a:lnTo>
                    <a:pt x="193252" y="546906"/>
                  </a:lnTo>
                  <a:cubicBezTo>
                    <a:pt x="195485" y="549026"/>
                    <a:pt x="198349" y="550068"/>
                    <a:pt x="201251" y="550031"/>
                  </a:cubicBezTo>
                  <a:cubicBezTo>
                    <a:pt x="204116" y="549994"/>
                    <a:pt x="206944" y="548840"/>
                    <a:pt x="209064" y="546645"/>
                  </a:cubicBezTo>
                  <a:lnTo>
                    <a:pt x="223836" y="531352"/>
                  </a:lnTo>
                  <a:cubicBezTo>
                    <a:pt x="226925" y="527967"/>
                    <a:pt x="232096" y="527111"/>
                    <a:pt x="236152" y="529603"/>
                  </a:cubicBezTo>
                  <a:cubicBezTo>
                    <a:pt x="245044" y="535036"/>
                    <a:pt x="254420" y="539724"/>
                    <a:pt x="264243" y="543594"/>
                  </a:cubicBezTo>
                  <a:cubicBezTo>
                    <a:pt x="273879" y="547389"/>
                    <a:pt x="283851" y="550366"/>
                    <a:pt x="294045" y="552449"/>
                  </a:cubicBezTo>
                  <a:cubicBezTo>
                    <a:pt x="298585" y="553231"/>
                    <a:pt x="302083" y="557137"/>
                    <a:pt x="302157" y="561937"/>
                  </a:cubicBezTo>
                  <a:lnTo>
                    <a:pt x="302529" y="583443"/>
                  </a:lnTo>
                  <a:cubicBezTo>
                    <a:pt x="302604" y="586493"/>
                    <a:pt x="303906" y="589247"/>
                    <a:pt x="305952" y="591219"/>
                  </a:cubicBezTo>
                  <a:cubicBezTo>
                    <a:pt x="308036" y="593228"/>
                    <a:pt x="310864" y="594456"/>
                    <a:pt x="313915" y="594382"/>
                  </a:cubicBezTo>
                  <a:lnTo>
                    <a:pt x="354247" y="593637"/>
                  </a:lnTo>
                  <a:cubicBezTo>
                    <a:pt x="357298" y="593563"/>
                    <a:pt x="360052" y="592261"/>
                    <a:pt x="362023" y="590215"/>
                  </a:cubicBezTo>
                  <a:cubicBezTo>
                    <a:pt x="364032" y="588131"/>
                    <a:pt x="365260" y="585303"/>
                    <a:pt x="365186" y="582252"/>
                  </a:cubicBezTo>
                  <a:lnTo>
                    <a:pt x="364814" y="560746"/>
                  </a:lnTo>
                  <a:cubicBezTo>
                    <a:pt x="364739" y="556245"/>
                    <a:pt x="367791" y="552152"/>
                    <a:pt x="372330" y="551073"/>
                  </a:cubicBezTo>
                  <a:cubicBezTo>
                    <a:pt x="382561" y="548617"/>
                    <a:pt x="392459" y="545268"/>
                    <a:pt x="402021" y="541101"/>
                  </a:cubicBezTo>
                  <a:cubicBezTo>
                    <a:pt x="411657" y="536897"/>
                    <a:pt x="420885" y="531874"/>
                    <a:pt x="429591" y="526107"/>
                  </a:cubicBezTo>
                  <a:cubicBezTo>
                    <a:pt x="433349" y="523614"/>
                    <a:pt x="438409" y="523987"/>
                    <a:pt x="441794" y="527223"/>
                  </a:cubicBezTo>
                  <a:lnTo>
                    <a:pt x="457273" y="542143"/>
                  </a:lnTo>
                  <a:cubicBezTo>
                    <a:pt x="459505" y="544264"/>
                    <a:pt x="462370" y="545305"/>
                    <a:pt x="465273" y="545268"/>
                  </a:cubicBezTo>
                  <a:cubicBezTo>
                    <a:pt x="468137" y="545231"/>
                    <a:pt x="470965" y="544078"/>
                    <a:pt x="473086" y="541883"/>
                  </a:cubicBezTo>
                  <a:lnTo>
                    <a:pt x="500619" y="513345"/>
                  </a:lnTo>
                  <a:cubicBezTo>
                    <a:pt x="500805" y="513121"/>
                    <a:pt x="500990" y="512898"/>
                    <a:pt x="501214" y="512712"/>
                  </a:cubicBezTo>
                  <a:lnTo>
                    <a:pt x="501251" y="512750"/>
                  </a:lnTo>
                  <a:cubicBezTo>
                    <a:pt x="503297" y="510554"/>
                    <a:pt x="504302" y="507726"/>
                    <a:pt x="504228" y="504898"/>
                  </a:cubicBezTo>
                  <a:cubicBezTo>
                    <a:pt x="504191" y="502220"/>
                    <a:pt x="503149" y="499541"/>
                    <a:pt x="501177" y="497457"/>
                  </a:cubicBezTo>
                  <a:cubicBezTo>
                    <a:pt x="500990" y="497309"/>
                    <a:pt x="500842" y="497159"/>
                    <a:pt x="500656" y="496974"/>
                  </a:cubicBezTo>
                  <a:lnTo>
                    <a:pt x="500693" y="496936"/>
                  </a:lnTo>
                  <a:lnTo>
                    <a:pt x="485512" y="482314"/>
                  </a:lnTo>
                  <a:cubicBezTo>
                    <a:pt x="482126" y="479226"/>
                    <a:pt x="481271" y="474054"/>
                    <a:pt x="483763" y="469998"/>
                  </a:cubicBezTo>
                  <a:cubicBezTo>
                    <a:pt x="489196" y="461105"/>
                    <a:pt x="493884" y="451729"/>
                    <a:pt x="497754" y="441944"/>
                  </a:cubicBezTo>
                  <a:cubicBezTo>
                    <a:pt x="501549" y="432270"/>
                    <a:pt x="504525" y="422336"/>
                    <a:pt x="506609" y="412141"/>
                  </a:cubicBezTo>
                  <a:cubicBezTo>
                    <a:pt x="507390" y="407601"/>
                    <a:pt x="511297" y="404104"/>
                    <a:pt x="516097" y="404030"/>
                  </a:cubicBezTo>
                  <a:lnTo>
                    <a:pt x="537603" y="403658"/>
                  </a:lnTo>
                  <a:cubicBezTo>
                    <a:pt x="540653" y="403584"/>
                    <a:pt x="543407" y="402281"/>
                    <a:pt x="545379" y="400235"/>
                  </a:cubicBezTo>
                  <a:cubicBezTo>
                    <a:pt x="547388" y="398152"/>
                    <a:pt x="548615" y="395324"/>
                    <a:pt x="548541" y="392273"/>
                  </a:cubicBezTo>
                  <a:lnTo>
                    <a:pt x="547797" y="351940"/>
                  </a:lnTo>
                  <a:cubicBezTo>
                    <a:pt x="547723" y="348889"/>
                    <a:pt x="546421" y="346136"/>
                    <a:pt x="544374" y="344163"/>
                  </a:cubicBezTo>
                  <a:cubicBezTo>
                    <a:pt x="542291" y="342154"/>
                    <a:pt x="539463" y="340926"/>
                    <a:pt x="536412" y="341001"/>
                  </a:cubicBezTo>
                  <a:lnTo>
                    <a:pt x="514906" y="341373"/>
                  </a:lnTo>
                  <a:cubicBezTo>
                    <a:pt x="510404" y="341447"/>
                    <a:pt x="506311" y="338397"/>
                    <a:pt x="505233" y="333857"/>
                  </a:cubicBezTo>
                  <a:cubicBezTo>
                    <a:pt x="502777" y="323625"/>
                    <a:pt x="499428" y="313728"/>
                    <a:pt x="495261" y="304166"/>
                  </a:cubicBezTo>
                  <a:cubicBezTo>
                    <a:pt x="491057" y="294529"/>
                    <a:pt x="486033" y="285301"/>
                    <a:pt x="480267" y="276596"/>
                  </a:cubicBezTo>
                  <a:cubicBezTo>
                    <a:pt x="477773" y="272838"/>
                    <a:pt x="478146" y="267777"/>
                    <a:pt x="481383" y="264392"/>
                  </a:cubicBezTo>
                  <a:lnTo>
                    <a:pt x="496303" y="248914"/>
                  </a:lnTo>
                  <a:cubicBezTo>
                    <a:pt x="498423" y="246681"/>
                    <a:pt x="499465" y="243817"/>
                    <a:pt x="499428" y="240915"/>
                  </a:cubicBezTo>
                  <a:cubicBezTo>
                    <a:pt x="499391" y="238050"/>
                    <a:pt x="498238" y="235222"/>
                    <a:pt x="496042" y="233102"/>
                  </a:cubicBezTo>
                  <a:lnTo>
                    <a:pt x="467504" y="205569"/>
                  </a:lnTo>
                  <a:cubicBezTo>
                    <a:pt x="467281" y="205382"/>
                    <a:pt x="467058" y="205196"/>
                    <a:pt x="466872" y="204973"/>
                  </a:cubicBezTo>
                  <a:lnTo>
                    <a:pt x="466909" y="204936"/>
                  </a:lnTo>
                  <a:cubicBezTo>
                    <a:pt x="464713" y="202889"/>
                    <a:pt x="461886" y="201885"/>
                    <a:pt x="459058" y="201960"/>
                  </a:cubicBezTo>
                  <a:cubicBezTo>
                    <a:pt x="456379" y="201997"/>
                    <a:pt x="453701" y="203038"/>
                    <a:pt x="451617" y="205010"/>
                  </a:cubicBezTo>
                  <a:cubicBezTo>
                    <a:pt x="451468" y="205196"/>
                    <a:pt x="451319" y="205345"/>
                    <a:pt x="451134" y="205531"/>
                  </a:cubicBezTo>
                  <a:lnTo>
                    <a:pt x="451096" y="205494"/>
                  </a:lnTo>
                  <a:lnTo>
                    <a:pt x="436473" y="220675"/>
                  </a:lnTo>
                  <a:cubicBezTo>
                    <a:pt x="433385" y="224060"/>
                    <a:pt x="428214" y="224917"/>
                    <a:pt x="424157" y="222423"/>
                  </a:cubicBezTo>
                  <a:cubicBezTo>
                    <a:pt x="415265" y="216991"/>
                    <a:pt x="405888" y="212303"/>
                    <a:pt x="396103" y="208433"/>
                  </a:cubicBezTo>
                  <a:cubicBezTo>
                    <a:pt x="386467" y="204638"/>
                    <a:pt x="376495" y="201661"/>
                    <a:pt x="366300" y="199578"/>
                  </a:cubicBezTo>
                  <a:cubicBezTo>
                    <a:pt x="361762" y="198796"/>
                    <a:pt x="358264" y="194890"/>
                    <a:pt x="358190" y="190090"/>
                  </a:cubicBezTo>
                  <a:lnTo>
                    <a:pt x="357817" y="168585"/>
                  </a:lnTo>
                  <a:cubicBezTo>
                    <a:pt x="357743" y="165534"/>
                    <a:pt x="356441" y="162780"/>
                    <a:pt x="354395" y="160809"/>
                  </a:cubicBezTo>
                  <a:cubicBezTo>
                    <a:pt x="352311" y="158799"/>
                    <a:pt x="349483" y="157571"/>
                    <a:pt x="346432" y="157645"/>
                  </a:cubicBezTo>
                  <a:close/>
                  <a:moveTo>
                    <a:pt x="305654" y="138670"/>
                  </a:moveTo>
                  <a:cubicBezTo>
                    <a:pt x="297171" y="138818"/>
                    <a:pt x="289543" y="142427"/>
                    <a:pt x="284074" y="148083"/>
                  </a:cubicBezTo>
                  <a:cubicBezTo>
                    <a:pt x="278604" y="153738"/>
                    <a:pt x="275293" y="161477"/>
                    <a:pt x="275479" y="169924"/>
                  </a:cubicBezTo>
                  <a:lnTo>
                    <a:pt x="275739" y="183765"/>
                  </a:lnTo>
                  <a:cubicBezTo>
                    <a:pt x="266995" y="186220"/>
                    <a:pt x="258550" y="189271"/>
                    <a:pt x="250401" y="192806"/>
                  </a:cubicBezTo>
                  <a:cubicBezTo>
                    <a:pt x="242104" y="196415"/>
                    <a:pt x="234142" y="200582"/>
                    <a:pt x="226514" y="205196"/>
                  </a:cubicBezTo>
                  <a:lnTo>
                    <a:pt x="217101" y="196118"/>
                  </a:lnTo>
                  <a:cubicBezTo>
                    <a:pt x="216989" y="195969"/>
                    <a:pt x="216878" y="195857"/>
                    <a:pt x="216729" y="195745"/>
                  </a:cubicBezTo>
                  <a:lnTo>
                    <a:pt x="216692" y="195783"/>
                  </a:lnTo>
                  <a:lnTo>
                    <a:pt x="216542" y="195634"/>
                  </a:lnTo>
                  <a:cubicBezTo>
                    <a:pt x="210441" y="189755"/>
                    <a:pt x="202552" y="186927"/>
                    <a:pt x="194664" y="187077"/>
                  </a:cubicBezTo>
                  <a:cubicBezTo>
                    <a:pt x="187038" y="187225"/>
                    <a:pt x="179446" y="190128"/>
                    <a:pt x="173680" y="195857"/>
                  </a:cubicBezTo>
                  <a:cubicBezTo>
                    <a:pt x="173494" y="196006"/>
                    <a:pt x="173346" y="196155"/>
                    <a:pt x="173196" y="196341"/>
                  </a:cubicBezTo>
                  <a:lnTo>
                    <a:pt x="173234" y="196378"/>
                  </a:lnTo>
                  <a:lnTo>
                    <a:pt x="145106" y="225548"/>
                  </a:lnTo>
                  <a:cubicBezTo>
                    <a:pt x="139227" y="231650"/>
                    <a:pt x="136399" y="239576"/>
                    <a:pt x="136548" y="247426"/>
                  </a:cubicBezTo>
                  <a:cubicBezTo>
                    <a:pt x="136696" y="255314"/>
                    <a:pt x="139822" y="263164"/>
                    <a:pt x="145924" y="269043"/>
                  </a:cubicBezTo>
                  <a:lnTo>
                    <a:pt x="155859" y="278605"/>
                  </a:lnTo>
                  <a:cubicBezTo>
                    <a:pt x="151469" y="286419"/>
                    <a:pt x="147636" y="294567"/>
                    <a:pt x="144325" y="302939"/>
                  </a:cubicBezTo>
                  <a:cubicBezTo>
                    <a:pt x="141088" y="311162"/>
                    <a:pt x="138372" y="319719"/>
                    <a:pt x="136213" y="328574"/>
                  </a:cubicBezTo>
                  <a:lnTo>
                    <a:pt x="122447" y="328835"/>
                  </a:lnTo>
                  <a:cubicBezTo>
                    <a:pt x="113964" y="328984"/>
                    <a:pt x="106336" y="332593"/>
                    <a:pt x="100867" y="338249"/>
                  </a:cubicBezTo>
                  <a:cubicBezTo>
                    <a:pt x="95398" y="343904"/>
                    <a:pt x="92087" y="351643"/>
                    <a:pt x="92273" y="360089"/>
                  </a:cubicBezTo>
                  <a:lnTo>
                    <a:pt x="92979" y="399603"/>
                  </a:lnTo>
                  <a:cubicBezTo>
                    <a:pt x="92942" y="399826"/>
                    <a:pt x="92942" y="400049"/>
                    <a:pt x="92942" y="400273"/>
                  </a:cubicBezTo>
                  <a:lnTo>
                    <a:pt x="92979" y="400273"/>
                  </a:lnTo>
                  <a:lnTo>
                    <a:pt x="92979" y="400422"/>
                  </a:lnTo>
                  <a:cubicBezTo>
                    <a:pt x="93128" y="408905"/>
                    <a:pt x="96737" y="416532"/>
                    <a:pt x="102393" y="422001"/>
                  </a:cubicBezTo>
                  <a:cubicBezTo>
                    <a:pt x="107825" y="427248"/>
                    <a:pt x="115193" y="430484"/>
                    <a:pt x="123229" y="430596"/>
                  </a:cubicBezTo>
                  <a:cubicBezTo>
                    <a:pt x="123489" y="430633"/>
                    <a:pt x="123787" y="430633"/>
                    <a:pt x="124084" y="430633"/>
                  </a:cubicBezTo>
                  <a:lnTo>
                    <a:pt x="124084" y="430596"/>
                  </a:lnTo>
                  <a:lnTo>
                    <a:pt x="138075" y="430336"/>
                  </a:lnTo>
                  <a:cubicBezTo>
                    <a:pt x="140530" y="439080"/>
                    <a:pt x="143582" y="447526"/>
                    <a:pt x="147117" y="455674"/>
                  </a:cubicBezTo>
                  <a:cubicBezTo>
                    <a:pt x="150726" y="463971"/>
                    <a:pt x="154893" y="471933"/>
                    <a:pt x="159507" y="479561"/>
                  </a:cubicBezTo>
                  <a:lnTo>
                    <a:pt x="150427" y="488975"/>
                  </a:lnTo>
                  <a:cubicBezTo>
                    <a:pt x="150279" y="489086"/>
                    <a:pt x="150167" y="489197"/>
                    <a:pt x="150056" y="489346"/>
                  </a:cubicBezTo>
                  <a:lnTo>
                    <a:pt x="150093" y="489383"/>
                  </a:lnTo>
                  <a:lnTo>
                    <a:pt x="149945" y="489533"/>
                  </a:lnTo>
                  <a:cubicBezTo>
                    <a:pt x="144066" y="495634"/>
                    <a:pt x="141238" y="503523"/>
                    <a:pt x="141386" y="511411"/>
                  </a:cubicBezTo>
                  <a:cubicBezTo>
                    <a:pt x="141535" y="519037"/>
                    <a:pt x="144437" y="526629"/>
                    <a:pt x="150167" y="532395"/>
                  </a:cubicBezTo>
                  <a:cubicBezTo>
                    <a:pt x="150316" y="532581"/>
                    <a:pt x="150465" y="532730"/>
                    <a:pt x="150651" y="532878"/>
                  </a:cubicBezTo>
                  <a:lnTo>
                    <a:pt x="150688" y="532841"/>
                  </a:lnTo>
                  <a:lnTo>
                    <a:pt x="179859" y="560969"/>
                  </a:lnTo>
                  <a:cubicBezTo>
                    <a:pt x="185960" y="566848"/>
                    <a:pt x="193886" y="569676"/>
                    <a:pt x="201737" y="569527"/>
                  </a:cubicBezTo>
                  <a:cubicBezTo>
                    <a:pt x="209624" y="569378"/>
                    <a:pt x="217475" y="566253"/>
                    <a:pt x="223354" y="560151"/>
                  </a:cubicBezTo>
                  <a:lnTo>
                    <a:pt x="232916" y="550216"/>
                  </a:lnTo>
                  <a:cubicBezTo>
                    <a:pt x="240729" y="554607"/>
                    <a:pt x="248878" y="558439"/>
                    <a:pt x="257249" y="561750"/>
                  </a:cubicBezTo>
                  <a:cubicBezTo>
                    <a:pt x="265472" y="564987"/>
                    <a:pt x="274030" y="567703"/>
                    <a:pt x="282885" y="569861"/>
                  </a:cubicBezTo>
                  <a:lnTo>
                    <a:pt x="283145" y="583628"/>
                  </a:lnTo>
                  <a:cubicBezTo>
                    <a:pt x="283295" y="592111"/>
                    <a:pt x="286904" y="599739"/>
                    <a:pt x="292559" y="605208"/>
                  </a:cubicBezTo>
                  <a:cubicBezTo>
                    <a:pt x="298215" y="610677"/>
                    <a:pt x="305953" y="613988"/>
                    <a:pt x="314399" y="613803"/>
                  </a:cubicBezTo>
                  <a:lnTo>
                    <a:pt x="354732" y="613059"/>
                  </a:lnTo>
                  <a:cubicBezTo>
                    <a:pt x="363215" y="612909"/>
                    <a:pt x="370843" y="609300"/>
                    <a:pt x="376312" y="603645"/>
                  </a:cubicBezTo>
                  <a:cubicBezTo>
                    <a:pt x="381781" y="597989"/>
                    <a:pt x="385093" y="590251"/>
                    <a:pt x="384907" y="581804"/>
                  </a:cubicBezTo>
                  <a:lnTo>
                    <a:pt x="384646" y="567963"/>
                  </a:lnTo>
                  <a:cubicBezTo>
                    <a:pt x="393390" y="565508"/>
                    <a:pt x="401836" y="562457"/>
                    <a:pt x="409985" y="558922"/>
                  </a:cubicBezTo>
                  <a:cubicBezTo>
                    <a:pt x="418282" y="555313"/>
                    <a:pt x="426244" y="551146"/>
                    <a:pt x="433871" y="546532"/>
                  </a:cubicBezTo>
                  <a:lnTo>
                    <a:pt x="443806" y="556132"/>
                  </a:lnTo>
                  <a:cubicBezTo>
                    <a:pt x="449908" y="562010"/>
                    <a:pt x="457834" y="564837"/>
                    <a:pt x="465684" y="564689"/>
                  </a:cubicBezTo>
                  <a:cubicBezTo>
                    <a:pt x="473572" y="564540"/>
                    <a:pt x="481422" y="561415"/>
                    <a:pt x="487301" y="555312"/>
                  </a:cubicBezTo>
                  <a:lnTo>
                    <a:pt x="514834" y="526775"/>
                  </a:lnTo>
                  <a:lnTo>
                    <a:pt x="515206" y="526403"/>
                  </a:lnTo>
                  <a:lnTo>
                    <a:pt x="515169" y="526366"/>
                  </a:lnTo>
                  <a:lnTo>
                    <a:pt x="515318" y="526216"/>
                  </a:lnTo>
                  <a:cubicBezTo>
                    <a:pt x="521197" y="520115"/>
                    <a:pt x="524024" y="512226"/>
                    <a:pt x="523875" y="504338"/>
                  </a:cubicBezTo>
                  <a:cubicBezTo>
                    <a:pt x="523727" y="496712"/>
                    <a:pt x="520824" y="489120"/>
                    <a:pt x="515094" y="483354"/>
                  </a:cubicBezTo>
                  <a:cubicBezTo>
                    <a:pt x="514945" y="483168"/>
                    <a:pt x="514797" y="483019"/>
                    <a:pt x="514648" y="482871"/>
                  </a:cubicBezTo>
                  <a:lnTo>
                    <a:pt x="514611" y="482908"/>
                  </a:lnTo>
                  <a:lnTo>
                    <a:pt x="504565" y="473197"/>
                  </a:lnTo>
                  <a:cubicBezTo>
                    <a:pt x="508955" y="465384"/>
                    <a:pt x="512787" y="457235"/>
                    <a:pt x="516099" y="448864"/>
                  </a:cubicBezTo>
                  <a:cubicBezTo>
                    <a:pt x="519336" y="440641"/>
                    <a:pt x="522052" y="432084"/>
                    <a:pt x="524209" y="423228"/>
                  </a:cubicBezTo>
                  <a:lnTo>
                    <a:pt x="537976" y="422967"/>
                  </a:lnTo>
                  <a:cubicBezTo>
                    <a:pt x="546459" y="422819"/>
                    <a:pt x="554086" y="419210"/>
                    <a:pt x="559556" y="413554"/>
                  </a:cubicBezTo>
                  <a:cubicBezTo>
                    <a:pt x="565025" y="407899"/>
                    <a:pt x="568337" y="400160"/>
                    <a:pt x="568151" y="391676"/>
                  </a:cubicBezTo>
                  <a:lnTo>
                    <a:pt x="567406" y="351343"/>
                  </a:lnTo>
                  <a:cubicBezTo>
                    <a:pt x="567258" y="342860"/>
                    <a:pt x="563649" y="335232"/>
                    <a:pt x="557994" y="329763"/>
                  </a:cubicBezTo>
                  <a:cubicBezTo>
                    <a:pt x="552338" y="324294"/>
                    <a:pt x="544600" y="320983"/>
                    <a:pt x="536153" y="321169"/>
                  </a:cubicBezTo>
                  <a:lnTo>
                    <a:pt x="522312" y="321429"/>
                  </a:lnTo>
                  <a:cubicBezTo>
                    <a:pt x="519857" y="312686"/>
                    <a:pt x="516805" y="304240"/>
                    <a:pt x="513270" y="296091"/>
                  </a:cubicBezTo>
                  <a:cubicBezTo>
                    <a:pt x="509661" y="287794"/>
                    <a:pt x="505494" y="279832"/>
                    <a:pt x="500880" y="272205"/>
                  </a:cubicBezTo>
                  <a:lnTo>
                    <a:pt x="510479" y="262270"/>
                  </a:lnTo>
                  <a:cubicBezTo>
                    <a:pt x="516358" y="256167"/>
                    <a:pt x="519186" y="248242"/>
                    <a:pt x="519037" y="240391"/>
                  </a:cubicBezTo>
                  <a:cubicBezTo>
                    <a:pt x="518889" y="232503"/>
                    <a:pt x="515763" y="224653"/>
                    <a:pt x="509661" y="218775"/>
                  </a:cubicBezTo>
                  <a:lnTo>
                    <a:pt x="481123" y="191242"/>
                  </a:lnTo>
                  <a:lnTo>
                    <a:pt x="480751" y="190870"/>
                  </a:lnTo>
                  <a:lnTo>
                    <a:pt x="480714" y="190907"/>
                  </a:lnTo>
                  <a:lnTo>
                    <a:pt x="480565" y="190758"/>
                  </a:lnTo>
                  <a:cubicBezTo>
                    <a:pt x="474463" y="184879"/>
                    <a:pt x="466575" y="182051"/>
                    <a:pt x="458687" y="182200"/>
                  </a:cubicBezTo>
                  <a:cubicBezTo>
                    <a:pt x="451059" y="182350"/>
                    <a:pt x="443506" y="185251"/>
                    <a:pt x="437702" y="190944"/>
                  </a:cubicBezTo>
                  <a:cubicBezTo>
                    <a:pt x="437517" y="191093"/>
                    <a:pt x="437368" y="191241"/>
                    <a:pt x="437219" y="191428"/>
                  </a:cubicBezTo>
                  <a:lnTo>
                    <a:pt x="437256" y="191465"/>
                  </a:lnTo>
                  <a:lnTo>
                    <a:pt x="427545" y="201511"/>
                  </a:lnTo>
                  <a:cubicBezTo>
                    <a:pt x="419732" y="197120"/>
                    <a:pt x="411583" y="193288"/>
                    <a:pt x="403211" y="189977"/>
                  </a:cubicBezTo>
                  <a:cubicBezTo>
                    <a:pt x="394989" y="186740"/>
                    <a:pt x="386431" y="184024"/>
                    <a:pt x="377576" y="181866"/>
                  </a:cubicBezTo>
                  <a:lnTo>
                    <a:pt x="377316" y="168099"/>
                  </a:lnTo>
                  <a:cubicBezTo>
                    <a:pt x="377167" y="159616"/>
                    <a:pt x="373558" y="151989"/>
                    <a:pt x="367902" y="146519"/>
                  </a:cubicBezTo>
                  <a:cubicBezTo>
                    <a:pt x="362247" y="141050"/>
                    <a:pt x="354508" y="137738"/>
                    <a:pt x="346024" y="137925"/>
                  </a:cubicBezTo>
                  <a:lnTo>
                    <a:pt x="305692" y="138669"/>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9" name="Group 8">
            <a:extLst>
              <a:ext uri="{FF2B5EF4-FFF2-40B4-BE49-F238E27FC236}">
                <a16:creationId xmlns:a16="http://schemas.microsoft.com/office/drawing/2014/main" id="{D989D6E9-5CEA-4E59-D174-D4D17DD46970}"/>
              </a:ext>
            </a:extLst>
          </p:cNvPr>
          <p:cNvGrpSpPr/>
          <p:nvPr/>
        </p:nvGrpSpPr>
        <p:grpSpPr>
          <a:xfrm>
            <a:off x="6302940" y="1460318"/>
            <a:ext cx="5473435" cy="1409824"/>
            <a:chOff x="415595" y="4215591"/>
            <a:chExt cx="5473435" cy="1409824"/>
          </a:xfrm>
        </p:grpSpPr>
        <p:sp>
          <p:nvSpPr>
            <p:cNvPr id="122" name="Google Shape;4891;p434">
              <a:extLst>
                <a:ext uri="{FF2B5EF4-FFF2-40B4-BE49-F238E27FC236}">
                  <a16:creationId xmlns:a16="http://schemas.microsoft.com/office/drawing/2014/main" id="{B6C729CA-760C-0AB8-6CB5-851355B313DA}"/>
                </a:ext>
              </a:extLst>
            </p:cNvPr>
            <p:cNvSpPr txBox="1">
              <a:spLocks/>
            </p:cNvSpPr>
            <p:nvPr/>
          </p:nvSpPr>
          <p:spPr>
            <a:xfrm>
              <a:off x="572433" y="4709661"/>
              <a:ext cx="5316595"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ct val="0"/>
                </a:spcAft>
                <a:buClr>
                  <a:srgbClr val="000000"/>
                </a:buClr>
                <a:buSzPts val="1100"/>
                <a:buFont typeface="Arial"/>
                <a:buNone/>
                <a:tabLst/>
                <a:defRPr/>
              </a:pPr>
              <a:r>
                <a:rPr kumimoji="0" lang="en-US" sz="1400" b="1" i="0" u="none" strike="noStrike" kern="1200" cap="none" spc="0" normalizeH="0" baseline="0" noProof="0">
                  <a:ln>
                    <a:noFill/>
                  </a:ln>
                  <a:solidFill>
                    <a:srgbClr val="834895">
                      <a:lumMod val="60000"/>
                      <a:lumOff val="40000"/>
                    </a:srgbClr>
                  </a:solidFill>
                  <a:effectLst/>
                  <a:uLnTx/>
                  <a:uFillTx/>
                  <a:latin typeface="Arial" panose="020B0604020202020204"/>
                  <a:ea typeface="+mn-ea"/>
                  <a:cs typeface="+mn-cs"/>
                </a:rPr>
                <a:t>Unified Recovery = Consistency and Control</a:t>
              </a:r>
            </a:p>
          </p:txBody>
        </p:sp>
        <p:sp>
          <p:nvSpPr>
            <p:cNvPr id="123" name="Rectangle 122">
              <a:extLst>
                <a:ext uri="{FF2B5EF4-FFF2-40B4-BE49-F238E27FC236}">
                  <a16:creationId xmlns:a16="http://schemas.microsoft.com/office/drawing/2014/main" id="{FC6E05AC-AF34-D1BB-A316-BB39AD67F94C}"/>
                </a:ext>
              </a:extLst>
            </p:cNvPr>
            <p:cNvSpPr>
              <a:spLocks/>
            </p:cNvSpPr>
            <p:nvPr/>
          </p:nvSpPr>
          <p:spPr>
            <a:xfrm>
              <a:off x="572433" y="4979084"/>
              <a:ext cx="5316597"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fontAlgn="base">
                <a:spcAft>
                  <a:spcPct val="0"/>
                </a:spcAf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One platform, one console – Commvault Cloud </a:t>
              </a:r>
              <a:r>
                <a:rPr lang="en-US" sz="1400">
                  <a:solidFill>
                    <a:srgbClr val="FFFFFF"/>
                  </a:solidFill>
                  <a:latin typeface="Arial" panose="020B0604020202020204"/>
                </a:rPr>
                <a:t>is designed to unify</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 protection across clouds and apps, delivering consistent, full-application recovery with built-in flexibility</a:t>
              </a:r>
            </a:p>
          </p:txBody>
        </p:sp>
        <p:cxnSp>
          <p:nvCxnSpPr>
            <p:cNvPr id="124" name="Straight Connector 123">
              <a:extLst>
                <a:ext uri="{FF2B5EF4-FFF2-40B4-BE49-F238E27FC236}">
                  <a16:creationId xmlns:a16="http://schemas.microsoft.com/office/drawing/2014/main" id="{D3C8663A-4C4F-A033-BCFA-A9219D273858}"/>
                </a:ext>
              </a:extLst>
            </p:cNvPr>
            <p:cNvCxnSpPr>
              <a:cxnSpLocks/>
            </p:cNvCxnSpPr>
            <p:nvPr/>
          </p:nvCxnSpPr>
          <p:spPr>
            <a:xfrm>
              <a:off x="415595" y="4215591"/>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AFA1E8CF-AC60-C903-9CEA-A1B8B09BC886}"/>
                </a:ext>
              </a:extLst>
            </p:cNvPr>
            <p:cNvCxnSpPr>
              <a:cxnSpLocks/>
            </p:cNvCxnSpPr>
            <p:nvPr/>
          </p:nvCxnSpPr>
          <p:spPr>
            <a:xfrm>
              <a:off x="415595" y="4675755"/>
              <a:ext cx="0" cy="949660"/>
            </a:xfrm>
            <a:prstGeom prst="line">
              <a:avLst/>
            </a:prstGeom>
          </p:spPr>
          <p:style>
            <a:lnRef idx="1">
              <a:schemeClr val="accent1"/>
            </a:lnRef>
            <a:fillRef idx="0">
              <a:schemeClr val="accent1"/>
            </a:fillRef>
            <a:effectRef idx="0">
              <a:schemeClr val="accent1"/>
            </a:effectRef>
            <a:fontRef idx="minor">
              <a:schemeClr val="tx1"/>
            </a:fontRef>
          </p:style>
        </p:cxnSp>
        <p:sp>
          <p:nvSpPr>
            <p:cNvPr id="177" name="Freeform: Shape 176">
              <a:extLst>
                <a:ext uri="{FF2B5EF4-FFF2-40B4-BE49-F238E27FC236}">
                  <a16:creationId xmlns:a16="http://schemas.microsoft.com/office/drawing/2014/main" id="{7680BD78-9B54-A739-231D-138D934D64F8}"/>
                </a:ext>
              </a:extLst>
            </p:cNvPr>
            <p:cNvSpPr/>
            <p:nvPr/>
          </p:nvSpPr>
          <p:spPr>
            <a:xfrm>
              <a:off x="572433" y="4276557"/>
              <a:ext cx="338210" cy="338233"/>
            </a:xfrm>
            <a:custGeom>
              <a:avLst/>
              <a:gdLst>
                <a:gd name="connsiteX0" fmla="*/ 34975 w 868575"/>
                <a:gd name="connsiteY0" fmla="*/ 327318 h 868635"/>
                <a:gd name="connsiteX1" fmla="*/ 26194 w 868575"/>
                <a:gd name="connsiteY1" fmla="*/ 501187 h 868635"/>
                <a:gd name="connsiteX2" fmla="*/ 17673 w 868575"/>
                <a:gd name="connsiteY2" fmla="*/ 513094 h 868635"/>
                <a:gd name="connsiteX3" fmla="*/ 15962 w 868575"/>
                <a:gd name="connsiteY3" fmla="*/ 513242 h 868635"/>
                <a:gd name="connsiteX4" fmla="*/ 5767 w 868575"/>
                <a:gd name="connsiteY4" fmla="*/ 504574 h 868635"/>
                <a:gd name="connsiteX5" fmla="*/ 14957 w 868575"/>
                <a:gd name="connsiteY5" fmla="*/ 321960 h 868635"/>
                <a:gd name="connsiteX6" fmla="*/ 217211 w 868575"/>
                <a:gd name="connsiteY6" fmla="*/ 58346 h 868635"/>
                <a:gd name="connsiteX7" fmla="*/ 546680 w 868575"/>
                <a:gd name="connsiteY7" fmla="*/ 14962 h 868635"/>
                <a:gd name="connsiteX8" fmla="*/ 785025 w 868575"/>
                <a:gd name="connsiteY8" fmla="*/ 178374 h 868635"/>
                <a:gd name="connsiteX9" fmla="*/ 780783 w 868575"/>
                <a:gd name="connsiteY9" fmla="*/ 146450 h 868635"/>
                <a:gd name="connsiteX10" fmla="*/ 789676 w 868575"/>
                <a:gd name="connsiteY10" fmla="*/ 134804 h 868635"/>
                <a:gd name="connsiteX11" fmla="*/ 801322 w 868575"/>
                <a:gd name="connsiteY11" fmla="*/ 143696 h 868635"/>
                <a:gd name="connsiteX12" fmla="*/ 811591 w 868575"/>
                <a:gd name="connsiteY12" fmla="*/ 221012 h 868635"/>
                <a:gd name="connsiteX13" fmla="*/ 811665 w 868575"/>
                <a:gd name="connsiteY13" fmla="*/ 222352 h 868635"/>
                <a:gd name="connsiteX14" fmla="*/ 811665 w 868575"/>
                <a:gd name="connsiteY14" fmla="*/ 222649 h 868635"/>
                <a:gd name="connsiteX15" fmla="*/ 811591 w 868575"/>
                <a:gd name="connsiteY15" fmla="*/ 223728 h 868635"/>
                <a:gd name="connsiteX16" fmla="*/ 811554 w 868575"/>
                <a:gd name="connsiteY16" fmla="*/ 223988 h 868635"/>
                <a:gd name="connsiteX17" fmla="*/ 811294 w 868575"/>
                <a:gd name="connsiteY17" fmla="*/ 225217 h 868635"/>
                <a:gd name="connsiteX18" fmla="*/ 811182 w 868575"/>
                <a:gd name="connsiteY18" fmla="*/ 225514 h 868635"/>
                <a:gd name="connsiteX19" fmla="*/ 810847 w 868575"/>
                <a:gd name="connsiteY19" fmla="*/ 226482 h 868635"/>
                <a:gd name="connsiteX20" fmla="*/ 810735 w 868575"/>
                <a:gd name="connsiteY20" fmla="*/ 226742 h 868635"/>
                <a:gd name="connsiteX21" fmla="*/ 810140 w 868575"/>
                <a:gd name="connsiteY21" fmla="*/ 227858 h 868635"/>
                <a:gd name="connsiteX22" fmla="*/ 810066 w 868575"/>
                <a:gd name="connsiteY22" fmla="*/ 227969 h 868635"/>
                <a:gd name="connsiteX23" fmla="*/ 809358 w 868575"/>
                <a:gd name="connsiteY23" fmla="*/ 228937 h 868635"/>
                <a:gd name="connsiteX24" fmla="*/ 809172 w 868575"/>
                <a:gd name="connsiteY24" fmla="*/ 229160 h 868635"/>
                <a:gd name="connsiteX25" fmla="*/ 808280 w 868575"/>
                <a:gd name="connsiteY25" fmla="*/ 230091 h 868635"/>
                <a:gd name="connsiteX26" fmla="*/ 808243 w 868575"/>
                <a:gd name="connsiteY26" fmla="*/ 230128 h 868635"/>
                <a:gd name="connsiteX27" fmla="*/ 807201 w 868575"/>
                <a:gd name="connsiteY27" fmla="*/ 230946 h 868635"/>
                <a:gd name="connsiteX28" fmla="*/ 807089 w 868575"/>
                <a:gd name="connsiteY28" fmla="*/ 231020 h 868635"/>
                <a:gd name="connsiteX29" fmla="*/ 806903 w 868575"/>
                <a:gd name="connsiteY29" fmla="*/ 231132 h 868635"/>
                <a:gd name="connsiteX30" fmla="*/ 806494 w 868575"/>
                <a:gd name="connsiteY30" fmla="*/ 231393 h 868635"/>
                <a:gd name="connsiteX31" fmla="*/ 805899 w 868575"/>
                <a:gd name="connsiteY31" fmla="*/ 231690 h 868635"/>
                <a:gd name="connsiteX32" fmla="*/ 805675 w 868575"/>
                <a:gd name="connsiteY32" fmla="*/ 231802 h 868635"/>
                <a:gd name="connsiteX33" fmla="*/ 804373 w 868575"/>
                <a:gd name="connsiteY33" fmla="*/ 232285 h 868635"/>
                <a:gd name="connsiteX34" fmla="*/ 804150 w 868575"/>
                <a:gd name="connsiteY34" fmla="*/ 232360 h 868635"/>
                <a:gd name="connsiteX35" fmla="*/ 802922 w 868575"/>
                <a:gd name="connsiteY35" fmla="*/ 232621 h 868635"/>
                <a:gd name="connsiteX36" fmla="*/ 802772 w 868575"/>
                <a:gd name="connsiteY36" fmla="*/ 232658 h 868635"/>
                <a:gd name="connsiteX37" fmla="*/ 801396 w 868575"/>
                <a:gd name="connsiteY37" fmla="*/ 232769 h 868635"/>
                <a:gd name="connsiteX38" fmla="*/ 801322 w 868575"/>
                <a:gd name="connsiteY38" fmla="*/ 232769 h 868635"/>
                <a:gd name="connsiteX39" fmla="*/ 801173 w 868575"/>
                <a:gd name="connsiteY39" fmla="*/ 232769 h 868635"/>
                <a:gd name="connsiteX40" fmla="*/ 800168 w 868575"/>
                <a:gd name="connsiteY40" fmla="*/ 232695 h 868635"/>
                <a:gd name="connsiteX41" fmla="*/ 799871 w 868575"/>
                <a:gd name="connsiteY41" fmla="*/ 232658 h 868635"/>
                <a:gd name="connsiteX42" fmla="*/ 798755 w 868575"/>
                <a:gd name="connsiteY42" fmla="*/ 232435 h 868635"/>
                <a:gd name="connsiteX43" fmla="*/ 798681 w 868575"/>
                <a:gd name="connsiteY43" fmla="*/ 232435 h 868635"/>
                <a:gd name="connsiteX44" fmla="*/ 797527 w 868575"/>
                <a:gd name="connsiteY44" fmla="*/ 232062 h 868635"/>
                <a:gd name="connsiteX45" fmla="*/ 797266 w 868575"/>
                <a:gd name="connsiteY45" fmla="*/ 231951 h 868635"/>
                <a:gd name="connsiteX46" fmla="*/ 796336 w 868575"/>
                <a:gd name="connsiteY46" fmla="*/ 231504 h 868635"/>
                <a:gd name="connsiteX47" fmla="*/ 796187 w 868575"/>
                <a:gd name="connsiteY47" fmla="*/ 231430 h 868635"/>
                <a:gd name="connsiteX48" fmla="*/ 728470 w 868575"/>
                <a:gd name="connsiteY48" fmla="*/ 192660 h 868635"/>
                <a:gd name="connsiteX49" fmla="*/ 724638 w 868575"/>
                <a:gd name="connsiteY49" fmla="*/ 178521 h 868635"/>
                <a:gd name="connsiteX50" fmla="*/ 738777 w 868575"/>
                <a:gd name="connsiteY50" fmla="*/ 174689 h 868635"/>
                <a:gd name="connsiteX51" fmla="*/ 769547 w 868575"/>
                <a:gd name="connsiteY51" fmla="*/ 192326 h 868635"/>
                <a:gd name="connsiteX52" fmla="*/ 541319 w 868575"/>
                <a:gd name="connsiteY52" fmla="*/ 35049 h 868635"/>
                <a:gd name="connsiteX53" fmla="*/ 227584 w 868575"/>
                <a:gd name="connsiteY53" fmla="*/ 76349 h 868635"/>
                <a:gd name="connsiteX54" fmla="*/ 34960 w 868575"/>
                <a:gd name="connsiteY54" fmla="*/ 327380 h 868635"/>
                <a:gd name="connsiteX55" fmla="*/ 862830 w 868575"/>
                <a:gd name="connsiteY55" fmla="*/ 364042 h 868635"/>
                <a:gd name="connsiteX56" fmla="*/ 850924 w 868575"/>
                <a:gd name="connsiteY56" fmla="*/ 355522 h 868635"/>
                <a:gd name="connsiteX57" fmla="*/ 842404 w 868575"/>
                <a:gd name="connsiteY57" fmla="*/ 367428 h 868635"/>
                <a:gd name="connsiteX58" fmla="*/ 833697 w 868575"/>
                <a:gd name="connsiteY58" fmla="*/ 541335 h 868635"/>
                <a:gd name="connsiteX59" fmla="*/ 641073 w 868575"/>
                <a:gd name="connsiteY59" fmla="*/ 792367 h 868635"/>
                <a:gd name="connsiteX60" fmla="*/ 435019 w 868575"/>
                <a:gd name="connsiteY60" fmla="*/ 847954 h 868635"/>
                <a:gd name="connsiteX61" fmla="*/ 327377 w 868575"/>
                <a:gd name="connsiteY61" fmla="*/ 833703 h 868635"/>
                <a:gd name="connsiteX62" fmla="*/ 99186 w 868575"/>
                <a:gd name="connsiteY62" fmla="*/ 676388 h 868635"/>
                <a:gd name="connsiteX63" fmla="*/ 129920 w 868575"/>
                <a:gd name="connsiteY63" fmla="*/ 694025 h 868635"/>
                <a:gd name="connsiteX64" fmla="*/ 144059 w 868575"/>
                <a:gd name="connsiteY64" fmla="*/ 690192 h 868635"/>
                <a:gd name="connsiteX65" fmla="*/ 140227 w 868575"/>
                <a:gd name="connsiteY65" fmla="*/ 676053 h 868635"/>
                <a:gd name="connsiteX66" fmla="*/ 72510 w 868575"/>
                <a:gd name="connsiteY66" fmla="*/ 637209 h 868635"/>
                <a:gd name="connsiteX67" fmla="*/ 72360 w 868575"/>
                <a:gd name="connsiteY67" fmla="*/ 637135 h 868635"/>
                <a:gd name="connsiteX68" fmla="*/ 71356 w 868575"/>
                <a:gd name="connsiteY68" fmla="*/ 636651 h 868635"/>
                <a:gd name="connsiteX69" fmla="*/ 71132 w 868575"/>
                <a:gd name="connsiteY69" fmla="*/ 636540 h 868635"/>
                <a:gd name="connsiteX70" fmla="*/ 69905 w 868575"/>
                <a:gd name="connsiteY70" fmla="*/ 636168 h 868635"/>
                <a:gd name="connsiteX71" fmla="*/ 69645 w 868575"/>
                <a:gd name="connsiteY71" fmla="*/ 636093 h 868635"/>
                <a:gd name="connsiteX72" fmla="*/ 68565 w 868575"/>
                <a:gd name="connsiteY72" fmla="*/ 635907 h 868635"/>
                <a:gd name="connsiteX73" fmla="*/ 68305 w 868575"/>
                <a:gd name="connsiteY73" fmla="*/ 635870 h 868635"/>
                <a:gd name="connsiteX74" fmla="*/ 67002 w 868575"/>
                <a:gd name="connsiteY74" fmla="*/ 635833 h 868635"/>
                <a:gd name="connsiteX75" fmla="*/ 66965 w 868575"/>
                <a:gd name="connsiteY75" fmla="*/ 635833 h 868635"/>
                <a:gd name="connsiteX76" fmla="*/ 65663 w 868575"/>
                <a:gd name="connsiteY76" fmla="*/ 635981 h 868635"/>
                <a:gd name="connsiteX77" fmla="*/ 65440 w 868575"/>
                <a:gd name="connsiteY77" fmla="*/ 636019 h 868635"/>
                <a:gd name="connsiteX78" fmla="*/ 64213 w 868575"/>
                <a:gd name="connsiteY78" fmla="*/ 636317 h 868635"/>
                <a:gd name="connsiteX79" fmla="*/ 64138 w 868575"/>
                <a:gd name="connsiteY79" fmla="*/ 636354 h 868635"/>
                <a:gd name="connsiteX80" fmla="*/ 62909 w 868575"/>
                <a:gd name="connsiteY80" fmla="*/ 636838 h 868635"/>
                <a:gd name="connsiteX81" fmla="*/ 62649 w 868575"/>
                <a:gd name="connsiteY81" fmla="*/ 636986 h 868635"/>
                <a:gd name="connsiteX82" fmla="*/ 62166 w 868575"/>
                <a:gd name="connsiteY82" fmla="*/ 637246 h 868635"/>
                <a:gd name="connsiteX83" fmla="*/ 61757 w 868575"/>
                <a:gd name="connsiteY83" fmla="*/ 637507 h 868635"/>
                <a:gd name="connsiteX84" fmla="*/ 61570 w 868575"/>
                <a:gd name="connsiteY84" fmla="*/ 637619 h 868635"/>
                <a:gd name="connsiteX85" fmla="*/ 61459 w 868575"/>
                <a:gd name="connsiteY85" fmla="*/ 637693 h 868635"/>
                <a:gd name="connsiteX86" fmla="*/ 60417 w 868575"/>
                <a:gd name="connsiteY86" fmla="*/ 638511 h 868635"/>
                <a:gd name="connsiteX87" fmla="*/ 60380 w 868575"/>
                <a:gd name="connsiteY87" fmla="*/ 638549 h 868635"/>
                <a:gd name="connsiteX88" fmla="*/ 59487 w 868575"/>
                <a:gd name="connsiteY88" fmla="*/ 639479 h 868635"/>
                <a:gd name="connsiteX89" fmla="*/ 59300 w 868575"/>
                <a:gd name="connsiteY89" fmla="*/ 639702 h 868635"/>
                <a:gd name="connsiteX90" fmla="*/ 58594 w 868575"/>
                <a:gd name="connsiteY90" fmla="*/ 640670 h 868635"/>
                <a:gd name="connsiteX91" fmla="*/ 58519 w 868575"/>
                <a:gd name="connsiteY91" fmla="*/ 640781 h 868635"/>
                <a:gd name="connsiteX92" fmla="*/ 57924 w 868575"/>
                <a:gd name="connsiteY92" fmla="*/ 641897 h 868635"/>
                <a:gd name="connsiteX93" fmla="*/ 57813 w 868575"/>
                <a:gd name="connsiteY93" fmla="*/ 642158 h 868635"/>
                <a:gd name="connsiteX94" fmla="*/ 57440 w 868575"/>
                <a:gd name="connsiteY94" fmla="*/ 643125 h 868635"/>
                <a:gd name="connsiteX95" fmla="*/ 57329 w 868575"/>
                <a:gd name="connsiteY95" fmla="*/ 643423 h 868635"/>
                <a:gd name="connsiteX96" fmla="*/ 57069 w 868575"/>
                <a:gd name="connsiteY96" fmla="*/ 644651 h 868635"/>
                <a:gd name="connsiteX97" fmla="*/ 57032 w 868575"/>
                <a:gd name="connsiteY97" fmla="*/ 644911 h 868635"/>
                <a:gd name="connsiteX98" fmla="*/ 56956 w 868575"/>
                <a:gd name="connsiteY98" fmla="*/ 645990 h 868635"/>
                <a:gd name="connsiteX99" fmla="*/ 56956 w 868575"/>
                <a:gd name="connsiteY99" fmla="*/ 646288 h 868635"/>
                <a:gd name="connsiteX100" fmla="*/ 57032 w 868575"/>
                <a:gd name="connsiteY100" fmla="*/ 647628 h 868635"/>
                <a:gd name="connsiteX101" fmla="*/ 67301 w 868575"/>
                <a:gd name="connsiteY101" fmla="*/ 724981 h 868635"/>
                <a:gd name="connsiteX102" fmla="*/ 77532 w 868575"/>
                <a:gd name="connsiteY102" fmla="*/ 733985 h 868635"/>
                <a:gd name="connsiteX103" fmla="*/ 78909 w 868575"/>
                <a:gd name="connsiteY103" fmla="*/ 733874 h 868635"/>
                <a:gd name="connsiteX104" fmla="*/ 87801 w 868575"/>
                <a:gd name="connsiteY104" fmla="*/ 722227 h 868635"/>
                <a:gd name="connsiteX105" fmla="*/ 83560 w 868575"/>
                <a:gd name="connsiteY105" fmla="*/ 690229 h 868635"/>
                <a:gd name="connsiteX106" fmla="*/ 321904 w 868575"/>
                <a:gd name="connsiteY106" fmla="*/ 853678 h 868635"/>
                <a:gd name="connsiteX107" fmla="*/ 434937 w 868575"/>
                <a:gd name="connsiteY107" fmla="*/ 868635 h 868635"/>
                <a:gd name="connsiteX108" fmla="*/ 651335 w 868575"/>
                <a:gd name="connsiteY108" fmla="*/ 810258 h 868635"/>
                <a:gd name="connsiteX109" fmla="*/ 853627 w 868575"/>
                <a:gd name="connsiteY109" fmla="*/ 546644 h 868635"/>
                <a:gd name="connsiteX110" fmla="*/ 862780 w 868575"/>
                <a:gd name="connsiteY110" fmla="*/ 363992 h 868635"/>
                <a:gd name="connsiteX111" fmla="*/ 690638 w 868575"/>
                <a:gd name="connsiteY111" fmla="*/ 469264 h 868635"/>
                <a:gd name="connsiteX112" fmla="*/ 759136 w 868575"/>
                <a:gd name="connsiteY112" fmla="*/ 578173 h 868635"/>
                <a:gd name="connsiteX113" fmla="*/ 638282 w 868575"/>
                <a:gd name="connsiteY113" fmla="*/ 699026 h 868635"/>
                <a:gd name="connsiteX114" fmla="*/ 583067 w 868575"/>
                <a:gd name="connsiteY114" fmla="*/ 685632 h 868635"/>
                <a:gd name="connsiteX115" fmla="*/ 434315 w 868575"/>
                <a:gd name="connsiteY115" fmla="*/ 699026 h 868635"/>
                <a:gd name="connsiteX116" fmla="*/ 178035 w 868575"/>
                <a:gd name="connsiteY116" fmla="*/ 621933 h 868635"/>
                <a:gd name="connsiteX117" fmla="*/ 177998 w 868575"/>
                <a:gd name="connsiteY117" fmla="*/ 246696 h 868635"/>
                <a:gd name="connsiteX118" fmla="*/ 434278 w 868575"/>
                <a:gd name="connsiteY118" fmla="*/ 169677 h 868635"/>
                <a:gd name="connsiteX119" fmla="*/ 690596 w 868575"/>
                <a:gd name="connsiteY119" fmla="*/ 246696 h 868635"/>
                <a:gd name="connsiteX120" fmla="*/ 690596 w 868575"/>
                <a:gd name="connsiteY120" fmla="*/ 469266 h 868635"/>
                <a:gd name="connsiteX121" fmla="*/ 198719 w 868575"/>
                <a:gd name="connsiteY121" fmla="*/ 246694 h 868635"/>
                <a:gd name="connsiteX122" fmla="*/ 263124 w 868575"/>
                <a:gd name="connsiteY122" fmla="*/ 283900 h 868635"/>
                <a:gd name="connsiteX123" fmla="*/ 434317 w 868575"/>
                <a:gd name="connsiteY123" fmla="*/ 303062 h 868635"/>
                <a:gd name="connsiteX124" fmla="*/ 605548 w 868575"/>
                <a:gd name="connsiteY124" fmla="*/ 283900 h 868635"/>
                <a:gd name="connsiteX125" fmla="*/ 669953 w 868575"/>
                <a:gd name="connsiteY125" fmla="*/ 246694 h 868635"/>
                <a:gd name="connsiteX126" fmla="*/ 605548 w 868575"/>
                <a:gd name="connsiteY126" fmla="*/ 209524 h 868635"/>
                <a:gd name="connsiteX127" fmla="*/ 434317 w 868575"/>
                <a:gd name="connsiteY127" fmla="*/ 190363 h 868635"/>
                <a:gd name="connsiteX128" fmla="*/ 263124 w 868575"/>
                <a:gd name="connsiteY128" fmla="*/ 209524 h 868635"/>
                <a:gd name="connsiteX129" fmla="*/ 198756 w 868575"/>
                <a:gd name="connsiteY129" fmla="*/ 246694 h 868635"/>
                <a:gd name="connsiteX130" fmla="*/ 558735 w 868575"/>
                <a:gd name="connsiteY130" fmla="*/ 668994 h 868635"/>
                <a:gd name="connsiteX131" fmla="*/ 517436 w 868575"/>
                <a:gd name="connsiteY131" fmla="*/ 578171 h 868635"/>
                <a:gd name="connsiteX132" fmla="*/ 517733 w 868575"/>
                <a:gd name="connsiteY132" fmla="*/ 570060 h 868635"/>
                <a:gd name="connsiteX133" fmla="*/ 434278 w 868575"/>
                <a:gd name="connsiteY133" fmla="*/ 573930 h 868635"/>
                <a:gd name="connsiteX134" fmla="*/ 198687 w 868575"/>
                <a:gd name="connsiteY134" fmla="*/ 529281 h 868635"/>
                <a:gd name="connsiteX135" fmla="*/ 198687 w 868575"/>
                <a:gd name="connsiteY135" fmla="*/ 621964 h 868635"/>
                <a:gd name="connsiteX136" fmla="*/ 263092 w 868575"/>
                <a:gd name="connsiteY136" fmla="*/ 659171 h 868635"/>
                <a:gd name="connsiteX137" fmla="*/ 434285 w 868575"/>
                <a:gd name="connsiteY137" fmla="*/ 678332 h 868635"/>
                <a:gd name="connsiteX138" fmla="*/ 558701 w 868575"/>
                <a:gd name="connsiteY138" fmla="*/ 669030 h 868635"/>
                <a:gd name="connsiteX139" fmla="*/ 638284 w 868575"/>
                <a:gd name="connsiteY139" fmla="*/ 478008 h 868635"/>
                <a:gd name="connsiteX140" fmla="*/ 538157 w 868575"/>
                <a:gd name="connsiteY140" fmla="*/ 578135 h 868635"/>
                <a:gd name="connsiteX141" fmla="*/ 638284 w 868575"/>
                <a:gd name="connsiteY141" fmla="*/ 678262 h 868635"/>
                <a:gd name="connsiteX142" fmla="*/ 738411 w 868575"/>
                <a:gd name="connsiteY142" fmla="*/ 578135 h 868635"/>
                <a:gd name="connsiteX143" fmla="*/ 638284 w 868575"/>
                <a:gd name="connsiteY143" fmla="*/ 478008 h 868635"/>
                <a:gd name="connsiteX144" fmla="*/ 669947 w 868575"/>
                <a:gd name="connsiteY144" fmla="*/ 461525 h 868635"/>
                <a:gd name="connsiteX145" fmla="*/ 669947 w 868575"/>
                <a:gd name="connsiteY145" fmla="*/ 404152 h 868635"/>
                <a:gd name="connsiteX146" fmla="*/ 434318 w 868575"/>
                <a:gd name="connsiteY146" fmla="*/ 448838 h 868635"/>
                <a:gd name="connsiteX147" fmla="*/ 198726 w 868575"/>
                <a:gd name="connsiteY147" fmla="*/ 404152 h 868635"/>
                <a:gd name="connsiteX148" fmla="*/ 198726 w 868575"/>
                <a:gd name="connsiteY148" fmla="*/ 496873 h 868635"/>
                <a:gd name="connsiteX149" fmla="*/ 263095 w 868575"/>
                <a:gd name="connsiteY149" fmla="*/ 534042 h 868635"/>
                <a:gd name="connsiteX150" fmla="*/ 434287 w 868575"/>
                <a:gd name="connsiteY150" fmla="*/ 553203 h 868635"/>
                <a:gd name="connsiteX151" fmla="*/ 521017 w 868575"/>
                <a:gd name="connsiteY151" fmla="*/ 548888 h 868635"/>
                <a:gd name="connsiteX152" fmla="*/ 638260 w 868575"/>
                <a:gd name="connsiteY152" fmla="*/ 457321 h 868635"/>
                <a:gd name="connsiteX153" fmla="*/ 669923 w 868575"/>
                <a:gd name="connsiteY153" fmla="*/ 461563 h 868635"/>
                <a:gd name="connsiteX154" fmla="*/ 669947 w 868575"/>
                <a:gd name="connsiteY154" fmla="*/ 371745 h 868635"/>
                <a:gd name="connsiteX155" fmla="*/ 669947 w 868575"/>
                <a:gd name="connsiteY155" fmla="*/ 279024 h 868635"/>
                <a:gd name="connsiteX156" fmla="*/ 434318 w 868575"/>
                <a:gd name="connsiteY156" fmla="*/ 323710 h 868635"/>
                <a:gd name="connsiteX157" fmla="*/ 198726 w 868575"/>
                <a:gd name="connsiteY157" fmla="*/ 279024 h 868635"/>
                <a:gd name="connsiteX158" fmla="*/ 198726 w 868575"/>
                <a:gd name="connsiteY158" fmla="*/ 371745 h 868635"/>
                <a:gd name="connsiteX159" fmla="*/ 263132 w 868575"/>
                <a:gd name="connsiteY159" fmla="*/ 408914 h 868635"/>
                <a:gd name="connsiteX160" fmla="*/ 434325 w 868575"/>
                <a:gd name="connsiteY160" fmla="*/ 428113 h 868635"/>
                <a:gd name="connsiteX161" fmla="*/ 605555 w 868575"/>
                <a:gd name="connsiteY161" fmla="*/ 408914 h 868635"/>
                <a:gd name="connsiteX162" fmla="*/ 669961 w 868575"/>
                <a:gd name="connsiteY162" fmla="*/ 371745 h 868635"/>
                <a:gd name="connsiteX163" fmla="*/ 279203 w 868575"/>
                <a:gd name="connsiteY163" fmla="*/ 355969 h 868635"/>
                <a:gd name="connsiteX164" fmla="*/ 251856 w 868575"/>
                <a:gd name="connsiteY164" fmla="*/ 383317 h 868635"/>
                <a:gd name="connsiteX165" fmla="*/ 224509 w 868575"/>
                <a:gd name="connsiteY165" fmla="*/ 355969 h 868635"/>
                <a:gd name="connsiteX166" fmla="*/ 251856 w 868575"/>
                <a:gd name="connsiteY166" fmla="*/ 328622 h 868635"/>
                <a:gd name="connsiteX167" fmla="*/ 279203 w 868575"/>
                <a:gd name="connsiteY167" fmla="*/ 355969 h 868635"/>
                <a:gd name="connsiteX168" fmla="*/ 258479 w 868575"/>
                <a:gd name="connsiteY168" fmla="*/ 355969 h 868635"/>
                <a:gd name="connsiteX169" fmla="*/ 251856 w 868575"/>
                <a:gd name="connsiteY169" fmla="*/ 349347 h 868635"/>
                <a:gd name="connsiteX170" fmla="*/ 245233 w 868575"/>
                <a:gd name="connsiteY170" fmla="*/ 355969 h 868635"/>
                <a:gd name="connsiteX171" fmla="*/ 251856 w 868575"/>
                <a:gd name="connsiteY171" fmla="*/ 362592 h 868635"/>
                <a:gd name="connsiteX172" fmla="*/ 258479 w 868575"/>
                <a:gd name="connsiteY172" fmla="*/ 355969 h 868635"/>
                <a:gd name="connsiteX173" fmla="*/ 355624 w 868575"/>
                <a:gd name="connsiteY173" fmla="*/ 371001 h 868635"/>
                <a:gd name="connsiteX174" fmla="*/ 328277 w 868575"/>
                <a:gd name="connsiteY174" fmla="*/ 398348 h 868635"/>
                <a:gd name="connsiteX175" fmla="*/ 300930 w 868575"/>
                <a:gd name="connsiteY175" fmla="*/ 371001 h 868635"/>
                <a:gd name="connsiteX176" fmla="*/ 328277 w 868575"/>
                <a:gd name="connsiteY176" fmla="*/ 343653 h 868635"/>
                <a:gd name="connsiteX177" fmla="*/ 355624 w 868575"/>
                <a:gd name="connsiteY177" fmla="*/ 371001 h 868635"/>
                <a:gd name="connsiteX178" fmla="*/ 334900 w 868575"/>
                <a:gd name="connsiteY178" fmla="*/ 371001 h 868635"/>
                <a:gd name="connsiteX179" fmla="*/ 328277 w 868575"/>
                <a:gd name="connsiteY179" fmla="*/ 364378 h 868635"/>
                <a:gd name="connsiteX180" fmla="*/ 321654 w 868575"/>
                <a:gd name="connsiteY180" fmla="*/ 371001 h 868635"/>
                <a:gd name="connsiteX181" fmla="*/ 328277 w 868575"/>
                <a:gd name="connsiteY181" fmla="*/ 377623 h 868635"/>
                <a:gd name="connsiteX182" fmla="*/ 334900 w 868575"/>
                <a:gd name="connsiteY182" fmla="*/ 371001 h 868635"/>
                <a:gd name="connsiteX183" fmla="*/ 355624 w 868575"/>
                <a:gd name="connsiteY183" fmla="*/ 495159 h 868635"/>
                <a:gd name="connsiteX184" fmla="*/ 328277 w 868575"/>
                <a:gd name="connsiteY184" fmla="*/ 522506 h 868635"/>
                <a:gd name="connsiteX185" fmla="*/ 300930 w 868575"/>
                <a:gd name="connsiteY185" fmla="*/ 495159 h 868635"/>
                <a:gd name="connsiteX186" fmla="*/ 328277 w 868575"/>
                <a:gd name="connsiteY186" fmla="*/ 467849 h 868635"/>
                <a:gd name="connsiteX187" fmla="*/ 355624 w 868575"/>
                <a:gd name="connsiteY187" fmla="*/ 495159 h 868635"/>
                <a:gd name="connsiteX188" fmla="*/ 334900 w 868575"/>
                <a:gd name="connsiteY188" fmla="*/ 495159 h 868635"/>
                <a:gd name="connsiteX189" fmla="*/ 328277 w 868575"/>
                <a:gd name="connsiteY189" fmla="*/ 488573 h 868635"/>
                <a:gd name="connsiteX190" fmla="*/ 321654 w 868575"/>
                <a:gd name="connsiteY190" fmla="*/ 495159 h 868635"/>
                <a:gd name="connsiteX191" fmla="*/ 328277 w 868575"/>
                <a:gd name="connsiteY191" fmla="*/ 501782 h 868635"/>
                <a:gd name="connsiteX192" fmla="*/ 334900 w 868575"/>
                <a:gd name="connsiteY192" fmla="*/ 495159 h 868635"/>
                <a:gd name="connsiteX193" fmla="*/ 279163 w 868575"/>
                <a:gd name="connsiteY193" fmla="*/ 480165 h 868635"/>
                <a:gd name="connsiteX194" fmla="*/ 251816 w 868575"/>
                <a:gd name="connsiteY194" fmla="*/ 507512 h 868635"/>
                <a:gd name="connsiteX195" fmla="*/ 224469 w 868575"/>
                <a:gd name="connsiteY195" fmla="*/ 480165 h 868635"/>
                <a:gd name="connsiteX196" fmla="*/ 251816 w 868575"/>
                <a:gd name="connsiteY196" fmla="*/ 452818 h 868635"/>
                <a:gd name="connsiteX197" fmla="*/ 279163 w 868575"/>
                <a:gd name="connsiteY197" fmla="*/ 480165 h 868635"/>
                <a:gd name="connsiteX198" fmla="*/ 258439 w 868575"/>
                <a:gd name="connsiteY198" fmla="*/ 480165 h 868635"/>
                <a:gd name="connsiteX199" fmla="*/ 251816 w 868575"/>
                <a:gd name="connsiteY199" fmla="*/ 473542 h 868635"/>
                <a:gd name="connsiteX200" fmla="*/ 245193 w 868575"/>
                <a:gd name="connsiteY200" fmla="*/ 480165 h 868635"/>
                <a:gd name="connsiteX201" fmla="*/ 251816 w 868575"/>
                <a:gd name="connsiteY201" fmla="*/ 486788 h 868635"/>
                <a:gd name="connsiteX202" fmla="*/ 258439 w 868575"/>
                <a:gd name="connsiteY202" fmla="*/ 480165 h 868635"/>
                <a:gd name="connsiteX203" fmla="*/ 355584 w 868575"/>
                <a:gd name="connsiteY203" fmla="*/ 623078 h 868635"/>
                <a:gd name="connsiteX204" fmla="*/ 328237 w 868575"/>
                <a:gd name="connsiteY204" fmla="*/ 650425 h 868635"/>
                <a:gd name="connsiteX205" fmla="*/ 300890 w 868575"/>
                <a:gd name="connsiteY205" fmla="*/ 623078 h 868635"/>
                <a:gd name="connsiteX206" fmla="*/ 328237 w 868575"/>
                <a:gd name="connsiteY206" fmla="*/ 595731 h 868635"/>
                <a:gd name="connsiteX207" fmla="*/ 355584 w 868575"/>
                <a:gd name="connsiteY207" fmla="*/ 623078 h 868635"/>
                <a:gd name="connsiteX208" fmla="*/ 334860 w 868575"/>
                <a:gd name="connsiteY208" fmla="*/ 623078 h 868635"/>
                <a:gd name="connsiteX209" fmla="*/ 328237 w 868575"/>
                <a:gd name="connsiteY209" fmla="*/ 616455 h 868635"/>
                <a:gd name="connsiteX210" fmla="*/ 321614 w 868575"/>
                <a:gd name="connsiteY210" fmla="*/ 623078 h 868635"/>
                <a:gd name="connsiteX211" fmla="*/ 328237 w 868575"/>
                <a:gd name="connsiteY211" fmla="*/ 629701 h 868635"/>
                <a:gd name="connsiteX212" fmla="*/ 334860 w 868575"/>
                <a:gd name="connsiteY212" fmla="*/ 623078 h 868635"/>
                <a:gd name="connsiteX213" fmla="*/ 279123 w 868575"/>
                <a:gd name="connsiteY213" fmla="*/ 608047 h 868635"/>
                <a:gd name="connsiteX214" fmla="*/ 251776 w 868575"/>
                <a:gd name="connsiteY214" fmla="*/ 635394 h 868635"/>
                <a:gd name="connsiteX215" fmla="*/ 224429 w 868575"/>
                <a:gd name="connsiteY215" fmla="*/ 608047 h 868635"/>
                <a:gd name="connsiteX216" fmla="*/ 251776 w 868575"/>
                <a:gd name="connsiteY216" fmla="*/ 580699 h 868635"/>
                <a:gd name="connsiteX217" fmla="*/ 279123 w 868575"/>
                <a:gd name="connsiteY217" fmla="*/ 608047 h 868635"/>
                <a:gd name="connsiteX218" fmla="*/ 258399 w 868575"/>
                <a:gd name="connsiteY218" fmla="*/ 608047 h 868635"/>
                <a:gd name="connsiteX219" fmla="*/ 251776 w 868575"/>
                <a:gd name="connsiteY219" fmla="*/ 601424 h 868635"/>
                <a:gd name="connsiteX220" fmla="*/ 245153 w 868575"/>
                <a:gd name="connsiteY220" fmla="*/ 608047 h 868635"/>
                <a:gd name="connsiteX221" fmla="*/ 251776 w 868575"/>
                <a:gd name="connsiteY221" fmla="*/ 614669 h 868635"/>
                <a:gd name="connsiteX222" fmla="*/ 258399 w 868575"/>
                <a:gd name="connsiteY222" fmla="*/ 608047 h 868635"/>
                <a:gd name="connsiteX223" fmla="*/ 638208 w 868575"/>
                <a:gd name="connsiteY223" fmla="*/ 495194 h 868635"/>
                <a:gd name="connsiteX224" fmla="*/ 721105 w 868575"/>
                <a:gd name="connsiteY224" fmla="*/ 578091 h 868635"/>
                <a:gd name="connsiteX225" fmla="*/ 638208 w 868575"/>
                <a:gd name="connsiteY225" fmla="*/ 660914 h 868635"/>
                <a:gd name="connsiteX226" fmla="*/ 555385 w 868575"/>
                <a:gd name="connsiteY226" fmla="*/ 578091 h 868635"/>
                <a:gd name="connsiteX227" fmla="*/ 638208 w 868575"/>
                <a:gd name="connsiteY227" fmla="*/ 495194 h 868635"/>
                <a:gd name="connsiteX228" fmla="*/ 638208 w 868575"/>
                <a:gd name="connsiteY228" fmla="*/ 515919 h 868635"/>
                <a:gd name="connsiteX229" fmla="*/ 576073 w 868575"/>
                <a:gd name="connsiteY229" fmla="*/ 578091 h 868635"/>
                <a:gd name="connsiteX230" fmla="*/ 638208 w 868575"/>
                <a:gd name="connsiteY230" fmla="*/ 640227 h 868635"/>
                <a:gd name="connsiteX231" fmla="*/ 700381 w 868575"/>
                <a:gd name="connsiteY231" fmla="*/ 578091 h 868635"/>
                <a:gd name="connsiteX232" fmla="*/ 638208 w 868575"/>
                <a:gd name="connsiteY232" fmla="*/ 515919 h 868635"/>
                <a:gd name="connsiteX233" fmla="*/ 617186 w 868575"/>
                <a:gd name="connsiteY233" fmla="*/ 564734 h 868635"/>
                <a:gd name="connsiteX234" fmla="*/ 603048 w 868575"/>
                <a:gd name="connsiteY234" fmla="*/ 560940 h 868635"/>
                <a:gd name="connsiteX235" fmla="*/ 599253 w 868575"/>
                <a:gd name="connsiteY235" fmla="*/ 575079 h 868635"/>
                <a:gd name="connsiteX236" fmla="*/ 616368 w 868575"/>
                <a:gd name="connsiteY236" fmla="*/ 604733 h 868635"/>
                <a:gd name="connsiteX237" fmla="*/ 623995 w 868575"/>
                <a:gd name="connsiteY237" fmla="*/ 609830 h 868635"/>
                <a:gd name="connsiteX238" fmla="*/ 625372 w 868575"/>
                <a:gd name="connsiteY238" fmla="*/ 609904 h 868635"/>
                <a:gd name="connsiteX239" fmla="*/ 632702 w 868575"/>
                <a:gd name="connsiteY239" fmla="*/ 606890 h 868635"/>
                <a:gd name="connsiteX240" fmla="*/ 675638 w 868575"/>
                <a:gd name="connsiteY240" fmla="*/ 563991 h 868635"/>
                <a:gd name="connsiteX241" fmla="*/ 675638 w 868575"/>
                <a:gd name="connsiteY241" fmla="*/ 549368 h 868635"/>
                <a:gd name="connsiteX242" fmla="*/ 661016 w 868575"/>
                <a:gd name="connsiteY242" fmla="*/ 549368 h 868635"/>
                <a:gd name="connsiteX243" fmla="*/ 627641 w 868575"/>
                <a:gd name="connsiteY243" fmla="*/ 582705 h 868635"/>
                <a:gd name="connsiteX244" fmla="*/ 617298 w 868575"/>
                <a:gd name="connsiteY244" fmla="*/ 564734 h 86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868575" h="868635">
                  <a:moveTo>
                    <a:pt x="34975" y="327318"/>
                  </a:moveTo>
                  <a:cubicBezTo>
                    <a:pt x="19608" y="384617"/>
                    <a:pt x="16631" y="443104"/>
                    <a:pt x="26194" y="501187"/>
                  </a:cubicBezTo>
                  <a:cubicBezTo>
                    <a:pt x="27124" y="506843"/>
                    <a:pt x="23291" y="512163"/>
                    <a:pt x="17673" y="513094"/>
                  </a:cubicBezTo>
                  <a:cubicBezTo>
                    <a:pt x="17115" y="513205"/>
                    <a:pt x="16557" y="513242"/>
                    <a:pt x="15962" y="513242"/>
                  </a:cubicBezTo>
                  <a:cubicBezTo>
                    <a:pt x="10976" y="513242"/>
                    <a:pt x="6585" y="509633"/>
                    <a:pt x="5767" y="504574"/>
                  </a:cubicBezTo>
                  <a:cubicBezTo>
                    <a:pt x="-4279" y="443592"/>
                    <a:pt x="-1191" y="382130"/>
                    <a:pt x="14957" y="321960"/>
                  </a:cubicBezTo>
                  <a:cubicBezTo>
                    <a:pt x="44946" y="209927"/>
                    <a:pt x="116789" y="116316"/>
                    <a:pt x="217211" y="58346"/>
                  </a:cubicBezTo>
                  <a:cubicBezTo>
                    <a:pt x="317633" y="378"/>
                    <a:pt x="434609" y="-15026"/>
                    <a:pt x="546680" y="14962"/>
                  </a:cubicBezTo>
                  <a:cubicBezTo>
                    <a:pt x="643683" y="40933"/>
                    <a:pt x="726836" y="98269"/>
                    <a:pt x="785025" y="178374"/>
                  </a:cubicBezTo>
                  <a:lnTo>
                    <a:pt x="780783" y="146450"/>
                  </a:lnTo>
                  <a:cubicBezTo>
                    <a:pt x="780039" y="140794"/>
                    <a:pt x="784021" y="135586"/>
                    <a:pt x="789676" y="134804"/>
                  </a:cubicBezTo>
                  <a:cubicBezTo>
                    <a:pt x="795332" y="134059"/>
                    <a:pt x="800540" y="138040"/>
                    <a:pt x="801322" y="143696"/>
                  </a:cubicBezTo>
                  <a:lnTo>
                    <a:pt x="811591" y="221012"/>
                  </a:lnTo>
                  <a:cubicBezTo>
                    <a:pt x="811665" y="221458"/>
                    <a:pt x="811665" y="221905"/>
                    <a:pt x="811665" y="222352"/>
                  </a:cubicBezTo>
                  <a:lnTo>
                    <a:pt x="811665" y="222649"/>
                  </a:lnTo>
                  <a:cubicBezTo>
                    <a:pt x="811665" y="223021"/>
                    <a:pt x="811628" y="223356"/>
                    <a:pt x="811591" y="223728"/>
                  </a:cubicBezTo>
                  <a:cubicBezTo>
                    <a:pt x="811591" y="223802"/>
                    <a:pt x="811554" y="223877"/>
                    <a:pt x="811554" y="223988"/>
                  </a:cubicBezTo>
                  <a:cubicBezTo>
                    <a:pt x="811479" y="224398"/>
                    <a:pt x="811405" y="224807"/>
                    <a:pt x="811294" y="225217"/>
                  </a:cubicBezTo>
                  <a:cubicBezTo>
                    <a:pt x="811256" y="225328"/>
                    <a:pt x="811219" y="225402"/>
                    <a:pt x="811182" y="225514"/>
                  </a:cubicBezTo>
                  <a:cubicBezTo>
                    <a:pt x="811070" y="225849"/>
                    <a:pt x="810958" y="226146"/>
                    <a:pt x="810847" y="226482"/>
                  </a:cubicBezTo>
                  <a:cubicBezTo>
                    <a:pt x="810810" y="226593"/>
                    <a:pt x="810772" y="226667"/>
                    <a:pt x="810735" y="226742"/>
                  </a:cubicBezTo>
                  <a:cubicBezTo>
                    <a:pt x="810549" y="227114"/>
                    <a:pt x="810363" y="227486"/>
                    <a:pt x="810140" y="227858"/>
                  </a:cubicBezTo>
                  <a:cubicBezTo>
                    <a:pt x="810103" y="227895"/>
                    <a:pt x="810103" y="227932"/>
                    <a:pt x="810066" y="227969"/>
                  </a:cubicBezTo>
                  <a:cubicBezTo>
                    <a:pt x="809842" y="228305"/>
                    <a:pt x="809619" y="228602"/>
                    <a:pt x="809358" y="228937"/>
                  </a:cubicBezTo>
                  <a:cubicBezTo>
                    <a:pt x="809284" y="229012"/>
                    <a:pt x="809247" y="229086"/>
                    <a:pt x="809172" y="229160"/>
                  </a:cubicBezTo>
                  <a:cubicBezTo>
                    <a:pt x="808912" y="229458"/>
                    <a:pt x="808614" y="229793"/>
                    <a:pt x="808280" y="230091"/>
                  </a:cubicBezTo>
                  <a:lnTo>
                    <a:pt x="808243" y="230128"/>
                  </a:lnTo>
                  <a:cubicBezTo>
                    <a:pt x="807907" y="230425"/>
                    <a:pt x="807572" y="230686"/>
                    <a:pt x="807201" y="230946"/>
                  </a:cubicBezTo>
                  <a:cubicBezTo>
                    <a:pt x="807163" y="230983"/>
                    <a:pt x="807126" y="231020"/>
                    <a:pt x="807089" y="231020"/>
                  </a:cubicBezTo>
                  <a:cubicBezTo>
                    <a:pt x="807015" y="231057"/>
                    <a:pt x="806978" y="231095"/>
                    <a:pt x="806903" y="231132"/>
                  </a:cubicBezTo>
                  <a:cubicBezTo>
                    <a:pt x="806754" y="231244"/>
                    <a:pt x="806642" y="231318"/>
                    <a:pt x="806494" y="231393"/>
                  </a:cubicBezTo>
                  <a:cubicBezTo>
                    <a:pt x="806307" y="231504"/>
                    <a:pt x="806084" y="231616"/>
                    <a:pt x="805899" y="231690"/>
                  </a:cubicBezTo>
                  <a:cubicBezTo>
                    <a:pt x="805824" y="231727"/>
                    <a:pt x="805749" y="231765"/>
                    <a:pt x="805675" y="231802"/>
                  </a:cubicBezTo>
                  <a:cubicBezTo>
                    <a:pt x="805266" y="231988"/>
                    <a:pt x="804819" y="232174"/>
                    <a:pt x="804373" y="232285"/>
                  </a:cubicBezTo>
                  <a:cubicBezTo>
                    <a:pt x="804298" y="232322"/>
                    <a:pt x="804224" y="232322"/>
                    <a:pt x="804150" y="232360"/>
                  </a:cubicBezTo>
                  <a:cubicBezTo>
                    <a:pt x="803740" y="232472"/>
                    <a:pt x="803331" y="232583"/>
                    <a:pt x="802922" y="232621"/>
                  </a:cubicBezTo>
                  <a:cubicBezTo>
                    <a:pt x="802885" y="232621"/>
                    <a:pt x="802810" y="232658"/>
                    <a:pt x="802772" y="232658"/>
                  </a:cubicBezTo>
                  <a:cubicBezTo>
                    <a:pt x="802290" y="232732"/>
                    <a:pt x="801843" y="232769"/>
                    <a:pt x="801396" y="232769"/>
                  </a:cubicBezTo>
                  <a:lnTo>
                    <a:pt x="801322" y="232769"/>
                  </a:lnTo>
                  <a:lnTo>
                    <a:pt x="801173" y="232769"/>
                  </a:lnTo>
                  <a:cubicBezTo>
                    <a:pt x="800838" y="232769"/>
                    <a:pt x="800504" y="232732"/>
                    <a:pt x="800168" y="232695"/>
                  </a:cubicBezTo>
                  <a:cubicBezTo>
                    <a:pt x="800057" y="232695"/>
                    <a:pt x="799983" y="232658"/>
                    <a:pt x="799871" y="232658"/>
                  </a:cubicBezTo>
                  <a:cubicBezTo>
                    <a:pt x="799499" y="232583"/>
                    <a:pt x="799126" y="232546"/>
                    <a:pt x="798755" y="232435"/>
                  </a:cubicBezTo>
                  <a:lnTo>
                    <a:pt x="798681" y="232435"/>
                  </a:lnTo>
                  <a:cubicBezTo>
                    <a:pt x="798271" y="232322"/>
                    <a:pt x="797899" y="232211"/>
                    <a:pt x="797527" y="232062"/>
                  </a:cubicBezTo>
                  <a:cubicBezTo>
                    <a:pt x="797415" y="232025"/>
                    <a:pt x="797340" y="231988"/>
                    <a:pt x="797266" y="231951"/>
                  </a:cubicBezTo>
                  <a:cubicBezTo>
                    <a:pt x="796969" y="231802"/>
                    <a:pt x="796634" y="231653"/>
                    <a:pt x="796336" y="231504"/>
                  </a:cubicBezTo>
                  <a:cubicBezTo>
                    <a:pt x="796299" y="231467"/>
                    <a:pt x="796224" y="231467"/>
                    <a:pt x="796187" y="231430"/>
                  </a:cubicBezTo>
                  <a:lnTo>
                    <a:pt x="728470" y="192660"/>
                  </a:lnTo>
                  <a:cubicBezTo>
                    <a:pt x="723522" y="189832"/>
                    <a:pt x="721810" y="183471"/>
                    <a:pt x="724638" y="178521"/>
                  </a:cubicBezTo>
                  <a:cubicBezTo>
                    <a:pt x="727503" y="173573"/>
                    <a:pt x="733828" y="171862"/>
                    <a:pt x="738777" y="174689"/>
                  </a:cubicBezTo>
                  <a:lnTo>
                    <a:pt x="769547" y="192326"/>
                  </a:lnTo>
                  <a:cubicBezTo>
                    <a:pt x="714072" y="115195"/>
                    <a:pt x="634378" y="59976"/>
                    <a:pt x="541319" y="35049"/>
                  </a:cubicBezTo>
                  <a:cubicBezTo>
                    <a:pt x="434648" y="6474"/>
                    <a:pt x="323215" y="21134"/>
                    <a:pt x="227584" y="76349"/>
                  </a:cubicBezTo>
                  <a:cubicBezTo>
                    <a:pt x="131953" y="131563"/>
                    <a:pt x="63535" y="220710"/>
                    <a:pt x="34960" y="327380"/>
                  </a:cubicBezTo>
                  <a:close/>
                  <a:moveTo>
                    <a:pt x="862830" y="364042"/>
                  </a:moveTo>
                  <a:cubicBezTo>
                    <a:pt x="861900" y="358386"/>
                    <a:pt x="856579" y="354591"/>
                    <a:pt x="850924" y="355522"/>
                  </a:cubicBezTo>
                  <a:cubicBezTo>
                    <a:pt x="845268" y="356451"/>
                    <a:pt x="841474" y="361772"/>
                    <a:pt x="842404" y="367428"/>
                  </a:cubicBezTo>
                  <a:cubicBezTo>
                    <a:pt x="852003" y="425508"/>
                    <a:pt x="849064" y="483995"/>
                    <a:pt x="833697" y="541335"/>
                  </a:cubicBezTo>
                  <a:cubicBezTo>
                    <a:pt x="805122" y="648006"/>
                    <a:pt x="736695" y="737160"/>
                    <a:pt x="641073" y="792367"/>
                  </a:cubicBezTo>
                  <a:cubicBezTo>
                    <a:pt x="577375" y="829165"/>
                    <a:pt x="506647" y="847954"/>
                    <a:pt x="435019" y="847954"/>
                  </a:cubicBezTo>
                  <a:cubicBezTo>
                    <a:pt x="399114" y="847954"/>
                    <a:pt x="362986" y="843228"/>
                    <a:pt x="327377" y="833703"/>
                  </a:cubicBezTo>
                  <a:cubicBezTo>
                    <a:pt x="234359" y="808774"/>
                    <a:pt x="154660" y="753559"/>
                    <a:pt x="99186" y="676388"/>
                  </a:cubicBezTo>
                  <a:lnTo>
                    <a:pt x="129920" y="694025"/>
                  </a:lnTo>
                  <a:cubicBezTo>
                    <a:pt x="134868" y="696852"/>
                    <a:pt x="141194" y="695141"/>
                    <a:pt x="144059" y="690192"/>
                  </a:cubicBezTo>
                  <a:cubicBezTo>
                    <a:pt x="146924" y="685244"/>
                    <a:pt x="145175" y="678918"/>
                    <a:pt x="140227" y="676053"/>
                  </a:cubicBezTo>
                  <a:lnTo>
                    <a:pt x="72510" y="637209"/>
                  </a:lnTo>
                  <a:cubicBezTo>
                    <a:pt x="72510" y="637209"/>
                    <a:pt x="72398" y="637172"/>
                    <a:pt x="72360" y="637135"/>
                  </a:cubicBezTo>
                  <a:cubicBezTo>
                    <a:pt x="72026" y="636949"/>
                    <a:pt x="71691" y="636801"/>
                    <a:pt x="71356" y="636651"/>
                  </a:cubicBezTo>
                  <a:cubicBezTo>
                    <a:pt x="71282" y="636614"/>
                    <a:pt x="71207" y="636577"/>
                    <a:pt x="71132" y="636540"/>
                  </a:cubicBezTo>
                  <a:cubicBezTo>
                    <a:pt x="70724" y="636391"/>
                    <a:pt x="70314" y="636242"/>
                    <a:pt x="69905" y="636168"/>
                  </a:cubicBezTo>
                  <a:cubicBezTo>
                    <a:pt x="69830" y="636130"/>
                    <a:pt x="69719" y="636130"/>
                    <a:pt x="69645" y="636093"/>
                  </a:cubicBezTo>
                  <a:cubicBezTo>
                    <a:pt x="69309" y="636019"/>
                    <a:pt x="68938" y="635944"/>
                    <a:pt x="68565" y="635907"/>
                  </a:cubicBezTo>
                  <a:cubicBezTo>
                    <a:pt x="68491" y="635907"/>
                    <a:pt x="68380" y="635870"/>
                    <a:pt x="68305" y="635870"/>
                  </a:cubicBezTo>
                  <a:cubicBezTo>
                    <a:pt x="67859" y="635833"/>
                    <a:pt x="67412" y="635796"/>
                    <a:pt x="67002" y="635833"/>
                  </a:cubicBezTo>
                  <a:lnTo>
                    <a:pt x="66965" y="635833"/>
                  </a:lnTo>
                  <a:cubicBezTo>
                    <a:pt x="66519" y="635870"/>
                    <a:pt x="66110" y="635907"/>
                    <a:pt x="65663" y="635981"/>
                  </a:cubicBezTo>
                  <a:cubicBezTo>
                    <a:pt x="65589" y="635981"/>
                    <a:pt x="65515" y="636019"/>
                    <a:pt x="65440" y="636019"/>
                  </a:cubicBezTo>
                  <a:cubicBezTo>
                    <a:pt x="65031" y="636093"/>
                    <a:pt x="64621" y="636205"/>
                    <a:pt x="64213" y="636317"/>
                  </a:cubicBezTo>
                  <a:cubicBezTo>
                    <a:pt x="64175" y="636317"/>
                    <a:pt x="64175" y="636317"/>
                    <a:pt x="64138" y="636354"/>
                  </a:cubicBezTo>
                  <a:cubicBezTo>
                    <a:pt x="63729" y="636502"/>
                    <a:pt x="63319" y="636651"/>
                    <a:pt x="62909" y="636838"/>
                  </a:cubicBezTo>
                  <a:cubicBezTo>
                    <a:pt x="62798" y="636875"/>
                    <a:pt x="62724" y="636949"/>
                    <a:pt x="62649" y="636986"/>
                  </a:cubicBezTo>
                  <a:cubicBezTo>
                    <a:pt x="62501" y="637061"/>
                    <a:pt x="62314" y="637135"/>
                    <a:pt x="62166" y="637246"/>
                  </a:cubicBezTo>
                  <a:cubicBezTo>
                    <a:pt x="62017" y="637321"/>
                    <a:pt x="61906" y="637433"/>
                    <a:pt x="61757" y="637507"/>
                  </a:cubicBezTo>
                  <a:cubicBezTo>
                    <a:pt x="61682" y="637545"/>
                    <a:pt x="61645" y="637582"/>
                    <a:pt x="61570" y="637619"/>
                  </a:cubicBezTo>
                  <a:cubicBezTo>
                    <a:pt x="61533" y="637656"/>
                    <a:pt x="61496" y="637693"/>
                    <a:pt x="61459" y="637693"/>
                  </a:cubicBezTo>
                  <a:cubicBezTo>
                    <a:pt x="61086" y="637954"/>
                    <a:pt x="60752" y="638214"/>
                    <a:pt x="60417" y="638511"/>
                  </a:cubicBezTo>
                  <a:lnTo>
                    <a:pt x="60380" y="638549"/>
                  </a:lnTo>
                  <a:cubicBezTo>
                    <a:pt x="60082" y="638847"/>
                    <a:pt x="59784" y="639145"/>
                    <a:pt x="59487" y="639479"/>
                  </a:cubicBezTo>
                  <a:cubicBezTo>
                    <a:pt x="59413" y="639553"/>
                    <a:pt x="59375" y="639628"/>
                    <a:pt x="59300" y="639702"/>
                  </a:cubicBezTo>
                  <a:cubicBezTo>
                    <a:pt x="59040" y="640000"/>
                    <a:pt x="58818" y="640335"/>
                    <a:pt x="58594" y="640670"/>
                  </a:cubicBezTo>
                  <a:cubicBezTo>
                    <a:pt x="58557" y="640707"/>
                    <a:pt x="58557" y="640744"/>
                    <a:pt x="58519" y="640781"/>
                  </a:cubicBezTo>
                  <a:cubicBezTo>
                    <a:pt x="58297" y="641154"/>
                    <a:pt x="58073" y="641526"/>
                    <a:pt x="57924" y="641897"/>
                  </a:cubicBezTo>
                  <a:cubicBezTo>
                    <a:pt x="57887" y="641972"/>
                    <a:pt x="57850" y="642083"/>
                    <a:pt x="57813" y="642158"/>
                  </a:cubicBezTo>
                  <a:cubicBezTo>
                    <a:pt x="57664" y="642456"/>
                    <a:pt x="57552" y="642791"/>
                    <a:pt x="57440" y="643125"/>
                  </a:cubicBezTo>
                  <a:cubicBezTo>
                    <a:pt x="57403" y="643237"/>
                    <a:pt x="57366" y="643312"/>
                    <a:pt x="57329" y="643423"/>
                  </a:cubicBezTo>
                  <a:cubicBezTo>
                    <a:pt x="57217" y="643832"/>
                    <a:pt x="57106" y="644242"/>
                    <a:pt x="57069" y="644651"/>
                  </a:cubicBezTo>
                  <a:cubicBezTo>
                    <a:pt x="57069" y="644725"/>
                    <a:pt x="57032" y="644800"/>
                    <a:pt x="57032" y="644911"/>
                  </a:cubicBezTo>
                  <a:cubicBezTo>
                    <a:pt x="56994" y="645284"/>
                    <a:pt x="56956" y="645618"/>
                    <a:pt x="56956" y="645990"/>
                  </a:cubicBezTo>
                  <a:lnTo>
                    <a:pt x="56956" y="646288"/>
                  </a:lnTo>
                  <a:cubicBezTo>
                    <a:pt x="56956" y="646734"/>
                    <a:pt x="56994" y="647181"/>
                    <a:pt x="57032" y="647628"/>
                  </a:cubicBezTo>
                  <a:lnTo>
                    <a:pt x="67301" y="724981"/>
                  </a:lnTo>
                  <a:cubicBezTo>
                    <a:pt x="68007" y="730190"/>
                    <a:pt x="72434" y="733985"/>
                    <a:pt x="77532" y="733985"/>
                  </a:cubicBezTo>
                  <a:cubicBezTo>
                    <a:pt x="77978" y="733985"/>
                    <a:pt x="78462" y="733948"/>
                    <a:pt x="78909" y="733874"/>
                  </a:cubicBezTo>
                  <a:cubicBezTo>
                    <a:pt x="84564" y="733129"/>
                    <a:pt x="88582" y="727921"/>
                    <a:pt x="87801" y="722227"/>
                  </a:cubicBezTo>
                  <a:lnTo>
                    <a:pt x="83560" y="690229"/>
                  </a:lnTo>
                  <a:cubicBezTo>
                    <a:pt x="141789" y="770336"/>
                    <a:pt x="224949" y="827713"/>
                    <a:pt x="321904" y="853678"/>
                  </a:cubicBezTo>
                  <a:cubicBezTo>
                    <a:pt x="359297" y="863687"/>
                    <a:pt x="397248" y="868635"/>
                    <a:pt x="434937" y="868635"/>
                  </a:cubicBezTo>
                  <a:cubicBezTo>
                    <a:pt x="510169" y="868635"/>
                    <a:pt x="584432" y="848916"/>
                    <a:pt x="651335" y="810258"/>
                  </a:cubicBezTo>
                  <a:cubicBezTo>
                    <a:pt x="751758" y="752252"/>
                    <a:pt x="823605" y="658677"/>
                    <a:pt x="853627" y="546644"/>
                  </a:cubicBezTo>
                  <a:cubicBezTo>
                    <a:pt x="869775" y="486443"/>
                    <a:pt x="872863" y="424981"/>
                    <a:pt x="862780" y="363992"/>
                  </a:cubicBezTo>
                  <a:close/>
                  <a:moveTo>
                    <a:pt x="690638" y="469264"/>
                  </a:moveTo>
                  <a:cubicBezTo>
                    <a:pt x="731119" y="488798"/>
                    <a:pt x="759136" y="530283"/>
                    <a:pt x="759136" y="578173"/>
                  </a:cubicBezTo>
                  <a:cubicBezTo>
                    <a:pt x="759136" y="644811"/>
                    <a:pt x="704925" y="699026"/>
                    <a:pt x="638282" y="699026"/>
                  </a:cubicBezTo>
                  <a:cubicBezTo>
                    <a:pt x="618377" y="699026"/>
                    <a:pt x="599624" y="694153"/>
                    <a:pt x="583067" y="685632"/>
                  </a:cubicBezTo>
                  <a:cubicBezTo>
                    <a:pt x="539832" y="694413"/>
                    <a:pt x="488486" y="699026"/>
                    <a:pt x="434315" y="699026"/>
                  </a:cubicBezTo>
                  <a:cubicBezTo>
                    <a:pt x="306956" y="699026"/>
                    <a:pt x="178035" y="672536"/>
                    <a:pt x="178035" y="621933"/>
                  </a:cubicBezTo>
                  <a:lnTo>
                    <a:pt x="177998" y="246696"/>
                  </a:lnTo>
                  <a:cubicBezTo>
                    <a:pt x="177998" y="196131"/>
                    <a:pt x="306919" y="169677"/>
                    <a:pt x="434278" y="169677"/>
                  </a:cubicBezTo>
                  <a:cubicBezTo>
                    <a:pt x="561637" y="169677"/>
                    <a:pt x="690596" y="196131"/>
                    <a:pt x="690596" y="246696"/>
                  </a:cubicBezTo>
                  <a:lnTo>
                    <a:pt x="690596" y="469266"/>
                  </a:lnTo>
                  <a:close/>
                  <a:moveTo>
                    <a:pt x="198719" y="246694"/>
                  </a:moveTo>
                  <a:cubicBezTo>
                    <a:pt x="198719" y="255809"/>
                    <a:pt x="215573" y="270990"/>
                    <a:pt x="263124" y="283900"/>
                  </a:cubicBezTo>
                  <a:cubicBezTo>
                    <a:pt x="308703" y="296253"/>
                    <a:pt x="369499" y="303062"/>
                    <a:pt x="434317" y="303062"/>
                  </a:cubicBezTo>
                  <a:cubicBezTo>
                    <a:pt x="499135" y="303062"/>
                    <a:pt x="559961" y="296253"/>
                    <a:pt x="605548" y="283900"/>
                  </a:cubicBezTo>
                  <a:cubicBezTo>
                    <a:pt x="653061" y="271026"/>
                    <a:pt x="669953" y="255809"/>
                    <a:pt x="669953" y="246694"/>
                  </a:cubicBezTo>
                  <a:cubicBezTo>
                    <a:pt x="669953" y="237578"/>
                    <a:pt x="653099" y="222435"/>
                    <a:pt x="605548" y="209524"/>
                  </a:cubicBezTo>
                  <a:cubicBezTo>
                    <a:pt x="559969" y="197171"/>
                    <a:pt x="499135" y="190363"/>
                    <a:pt x="434317" y="190363"/>
                  </a:cubicBezTo>
                  <a:cubicBezTo>
                    <a:pt x="369499" y="190363"/>
                    <a:pt x="308701" y="197171"/>
                    <a:pt x="263124" y="209524"/>
                  </a:cubicBezTo>
                  <a:cubicBezTo>
                    <a:pt x="215610" y="222398"/>
                    <a:pt x="198756" y="237578"/>
                    <a:pt x="198756" y="246694"/>
                  </a:cubicBezTo>
                  <a:close/>
                  <a:moveTo>
                    <a:pt x="558735" y="668994"/>
                  </a:moveTo>
                  <a:cubicBezTo>
                    <a:pt x="533472" y="646819"/>
                    <a:pt x="517436" y="614337"/>
                    <a:pt x="517436" y="578171"/>
                  </a:cubicBezTo>
                  <a:cubicBezTo>
                    <a:pt x="517436" y="575455"/>
                    <a:pt x="517547" y="572739"/>
                    <a:pt x="517733" y="570060"/>
                  </a:cubicBezTo>
                  <a:cubicBezTo>
                    <a:pt x="491242" y="572628"/>
                    <a:pt x="463225" y="573930"/>
                    <a:pt x="434278" y="573930"/>
                  </a:cubicBezTo>
                  <a:cubicBezTo>
                    <a:pt x="337647" y="573930"/>
                    <a:pt x="240131" y="558712"/>
                    <a:pt x="198687" y="529281"/>
                  </a:cubicBezTo>
                  <a:lnTo>
                    <a:pt x="198687" y="621964"/>
                  </a:lnTo>
                  <a:cubicBezTo>
                    <a:pt x="198687" y="631080"/>
                    <a:pt x="215541" y="646261"/>
                    <a:pt x="263092" y="659171"/>
                  </a:cubicBezTo>
                  <a:cubicBezTo>
                    <a:pt x="308672" y="671524"/>
                    <a:pt x="369468" y="678332"/>
                    <a:pt x="434285" y="678332"/>
                  </a:cubicBezTo>
                  <a:cubicBezTo>
                    <a:pt x="478860" y="678332"/>
                    <a:pt x="521349" y="675133"/>
                    <a:pt x="558701" y="669030"/>
                  </a:cubicBezTo>
                  <a:close/>
                  <a:moveTo>
                    <a:pt x="638284" y="478008"/>
                  </a:moveTo>
                  <a:cubicBezTo>
                    <a:pt x="583069" y="478008"/>
                    <a:pt x="538157" y="522917"/>
                    <a:pt x="538157" y="578135"/>
                  </a:cubicBezTo>
                  <a:cubicBezTo>
                    <a:pt x="538157" y="633353"/>
                    <a:pt x="583066" y="678262"/>
                    <a:pt x="638284" y="678262"/>
                  </a:cubicBezTo>
                  <a:cubicBezTo>
                    <a:pt x="693500" y="678262"/>
                    <a:pt x="738411" y="633353"/>
                    <a:pt x="738411" y="578135"/>
                  </a:cubicBezTo>
                  <a:cubicBezTo>
                    <a:pt x="738411" y="522917"/>
                    <a:pt x="693503" y="478008"/>
                    <a:pt x="638284" y="478008"/>
                  </a:cubicBezTo>
                  <a:close/>
                  <a:moveTo>
                    <a:pt x="669947" y="461525"/>
                  </a:moveTo>
                  <a:lnTo>
                    <a:pt x="669947" y="404152"/>
                  </a:lnTo>
                  <a:cubicBezTo>
                    <a:pt x="628498" y="433621"/>
                    <a:pt x="530978" y="448838"/>
                    <a:pt x="434318" y="448838"/>
                  </a:cubicBezTo>
                  <a:cubicBezTo>
                    <a:pt x="337658" y="448838"/>
                    <a:pt x="240170" y="433583"/>
                    <a:pt x="198726" y="404152"/>
                  </a:cubicBezTo>
                  <a:lnTo>
                    <a:pt x="198726" y="496873"/>
                  </a:lnTo>
                  <a:cubicBezTo>
                    <a:pt x="198726" y="505951"/>
                    <a:pt x="215581" y="521132"/>
                    <a:pt x="263095" y="534042"/>
                  </a:cubicBezTo>
                  <a:cubicBezTo>
                    <a:pt x="308674" y="546395"/>
                    <a:pt x="369470" y="553203"/>
                    <a:pt x="434287" y="553203"/>
                  </a:cubicBezTo>
                  <a:cubicBezTo>
                    <a:pt x="464537" y="553203"/>
                    <a:pt x="493633" y="551753"/>
                    <a:pt x="521017" y="548888"/>
                  </a:cubicBezTo>
                  <a:cubicBezTo>
                    <a:pt x="534151" y="496352"/>
                    <a:pt x="581702" y="457321"/>
                    <a:pt x="638260" y="457321"/>
                  </a:cubicBezTo>
                  <a:cubicBezTo>
                    <a:pt x="649199" y="457321"/>
                    <a:pt x="659803" y="458809"/>
                    <a:pt x="669923" y="461563"/>
                  </a:cubicBezTo>
                  <a:close/>
                  <a:moveTo>
                    <a:pt x="669947" y="371745"/>
                  </a:moveTo>
                  <a:lnTo>
                    <a:pt x="669947" y="279024"/>
                  </a:lnTo>
                  <a:cubicBezTo>
                    <a:pt x="628498" y="308493"/>
                    <a:pt x="530978" y="323710"/>
                    <a:pt x="434318" y="323710"/>
                  </a:cubicBezTo>
                  <a:cubicBezTo>
                    <a:pt x="337658" y="323710"/>
                    <a:pt x="240170" y="308455"/>
                    <a:pt x="198726" y="279024"/>
                  </a:cubicBezTo>
                  <a:lnTo>
                    <a:pt x="198726" y="371745"/>
                  </a:lnTo>
                  <a:cubicBezTo>
                    <a:pt x="198726" y="380823"/>
                    <a:pt x="215581" y="396041"/>
                    <a:pt x="263132" y="408914"/>
                  </a:cubicBezTo>
                  <a:cubicBezTo>
                    <a:pt x="308711" y="421304"/>
                    <a:pt x="369545" y="428113"/>
                    <a:pt x="434325" y="428113"/>
                  </a:cubicBezTo>
                  <a:cubicBezTo>
                    <a:pt x="499139" y="428113"/>
                    <a:pt x="559969" y="421304"/>
                    <a:pt x="605555" y="408914"/>
                  </a:cubicBezTo>
                  <a:cubicBezTo>
                    <a:pt x="653069" y="396003"/>
                    <a:pt x="669961" y="380823"/>
                    <a:pt x="669961" y="371745"/>
                  </a:cubicBezTo>
                  <a:close/>
                  <a:moveTo>
                    <a:pt x="279203" y="355969"/>
                  </a:moveTo>
                  <a:cubicBezTo>
                    <a:pt x="279203" y="371038"/>
                    <a:pt x="266925" y="383317"/>
                    <a:pt x="251856" y="383317"/>
                  </a:cubicBezTo>
                  <a:cubicBezTo>
                    <a:pt x="236750" y="383317"/>
                    <a:pt x="224509" y="371038"/>
                    <a:pt x="224509" y="355969"/>
                  </a:cubicBezTo>
                  <a:cubicBezTo>
                    <a:pt x="224509" y="340864"/>
                    <a:pt x="236787" y="328622"/>
                    <a:pt x="251856" y="328622"/>
                  </a:cubicBezTo>
                  <a:cubicBezTo>
                    <a:pt x="266962" y="328622"/>
                    <a:pt x="279203" y="340901"/>
                    <a:pt x="279203" y="355969"/>
                  </a:cubicBezTo>
                  <a:close/>
                  <a:moveTo>
                    <a:pt x="258479" y="355969"/>
                  </a:moveTo>
                  <a:cubicBezTo>
                    <a:pt x="258479" y="352286"/>
                    <a:pt x="255502" y="349347"/>
                    <a:pt x="251856" y="349347"/>
                  </a:cubicBezTo>
                  <a:cubicBezTo>
                    <a:pt x="248210" y="349347"/>
                    <a:pt x="245233" y="352323"/>
                    <a:pt x="245233" y="355969"/>
                  </a:cubicBezTo>
                  <a:cubicBezTo>
                    <a:pt x="245233" y="359615"/>
                    <a:pt x="248210" y="362592"/>
                    <a:pt x="251856" y="362592"/>
                  </a:cubicBezTo>
                  <a:cubicBezTo>
                    <a:pt x="255502" y="362592"/>
                    <a:pt x="258479" y="359615"/>
                    <a:pt x="258479" y="355969"/>
                  </a:cubicBezTo>
                  <a:close/>
                  <a:moveTo>
                    <a:pt x="355624" y="371001"/>
                  </a:moveTo>
                  <a:cubicBezTo>
                    <a:pt x="355624" y="386069"/>
                    <a:pt x="343346" y="398348"/>
                    <a:pt x="328277" y="398348"/>
                  </a:cubicBezTo>
                  <a:cubicBezTo>
                    <a:pt x="313171" y="398348"/>
                    <a:pt x="300930" y="386069"/>
                    <a:pt x="300930" y="371001"/>
                  </a:cubicBezTo>
                  <a:cubicBezTo>
                    <a:pt x="300930" y="355895"/>
                    <a:pt x="313208" y="343653"/>
                    <a:pt x="328277" y="343653"/>
                  </a:cubicBezTo>
                  <a:cubicBezTo>
                    <a:pt x="343383" y="343653"/>
                    <a:pt x="355624" y="355932"/>
                    <a:pt x="355624" y="371001"/>
                  </a:cubicBezTo>
                  <a:close/>
                  <a:moveTo>
                    <a:pt x="334900" y="371001"/>
                  </a:moveTo>
                  <a:cubicBezTo>
                    <a:pt x="334900" y="367317"/>
                    <a:pt x="331923" y="364378"/>
                    <a:pt x="328277" y="364378"/>
                  </a:cubicBezTo>
                  <a:cubicBezTo>
                    <a:pt x="324631" y="364378"/>
                    <a:pt x="321654" y="367355"/>
                    <a:pt x="321654" y="371001"/>
                  </a:cubicBezTo>
                  <a:cubicBezTo>
                    <a:pt x="321654" y="374647"/>
                    <a:pt x="324631" y="377623"/>
                    <a:pt x="328277" y="377623"/>
                  </a:cubicBezTo>
                  <a:cubicBezTo>
                    <a:pt x="331923" y="377623"/>
                    <a:pt x="334900" y="374647"/>
                    <a:pt x="334900" y="371001"/>
                  </a:cubicBezTo>
                  <a:close/>
                  <a:moveTo>
                    <a:pt x="355624" y="495159"/>
                  </a:moveTo>
                  <a:cubicBezTo>
                    <a:pt x="355624" y="510228"/>
                    <a:pt x="343346" y="522506"/>
                    <a:pt x="328277" y="522506"/>
                  </a:cubicBezTo>
                  <a:cubicBezTo>
                    <a:pt x="313171" y="522506"/>
                    <a:pt x="300930" y="510228"/>
                    <a:pt x="300930" y="495159"/>
                  </a:cubicBezTo>
                  <a:cubicBezTo>
                    <a:pt x="300930" y="480053"/>
                    <a:pt x="313208" y="467849"/>
                    <a:pt x="328277" y="467849"/>
                  </a:cubicBezTo>
                  <a:cubicBezTo>
                    <a:pt x="343383" y="467849"/>
                    <a:pt x="355624" y="480091"/>
                    <a:pt x="355624" y="495159"/>
                  </a:cubicBezTo>
                  <a:close/>
                  <a:moveTo>
                    <a:pt x="334900" y="495159"/>
                  </a:moveTo>
                  <a:cubicBezTo>
                    <a:pt x="334900" y="491513"/>
                    <a:pt x="331923" y="488573"/>
                    <a:pt x="328277" y="488573"/>
                  </a:cubicBezTo>
                  <a:cubicBezTo>
                    <a:pt x="324631" y="488573"/>
                    <a:pt x="321654" y="491550"/>
                    <a:pt x="321654" y="495159"/>
                  </a:cubicBezTo>
                  <a:cubicBezTo>
                    <a:pt x="321654" y="498842"/>
                    <a:pt x="324631" y="501782"/>
                    <a:pt x="328277" y="501782"/>
                  </a:cubicBezTo>
                  <a:cubicBezTo>
                    <a:pt x="331923" y="501782"/>
                    <a:pt x="334900" y="498805"/>
                    <a:pt x="334900" y="495159"/>
                  </a:cubicBezTo>
                  <a:close/>
                  <a:moveTo>
                    <a:pt x="279163" y="480165"/>
                  </a:moveTo>
                  <a:cubicBezTo>
                    <a:pt x="279163" y="495233"/>
                    <a:pt x="266885" y="507512"/>
                    <a:pt x="251816" y="507512"/>
                  </a:cubicBezTo>
                  <a:cubicBezTo>
                    <a:pt x="236710" y="507512"/>
                    <a:pt x="224469" y="495233"/>
                    <a:pt x="224469" y="480165"/>
                  </a:cubicBezTo>
                  <a:cubicBezTo>
                    <a:pt x="224469" y="465059"/>
                    <a:pt x="236747" y="452818"/>
                    <a:pt x="251816" y="452818"/>
                  </a:cubicBezTo>
                  <a:cubicBezTo>
                    <a:pt x="266922" y="452818"/>
                    <a:pt x="279163" y="465096"/>
                    <a:pt x="279163" y="480165"/>
                  </a:cubicBezTo>
                  <a:close/>
                  <a:moveTo>
                    <a:pt x="258439" y="480165"/>
                  </a:moveTo>
                  <a:cubicBezTo>
                    <a:pt x="258439" y="476482"/>
                    <a:pt x="255462" y="473542"/>
                    <a:pt x="251816" y="473542"/>
                  </a:cubicBezTo>
                  <a:cubicBezTo>
                    <a:pt x="248170" y="473542"/>
                    <a:pt x="245193" y="476519"/>
                    <a:pt x="245193" y="480165"/>
                  </a:cubicBezTo>
                  <a:cubicBezTo>
                    <a:pt x="245193" y="483811"/>
                    <a:pt x="248170" y="486788"/>
                    <a:pt x="251816" y="486788"/>
                  </a:cubicBezTo>
                  <a:cubicBezTo>
                    <a:pt x="255462" y="486788"/>
                    <a:pt x="258439" y="483811"/>
                    <a:pt x="258439" y="480165"/>
                  </a:cubicBezTo>
                  <a:close/>
                  <a:moveTo>
                    <a:pt x="355584" y="623078"/>
                  </a:moveTo>
                  <a:cubicBezTo>
                    <a:pt x="355584" y="638147"/>
                    <a:pt x="343305" y="650425"/>
                    <a:pt x="328237" y="650425"/>
                  </a:cubicBezTo>
                  <a:cubicBezTo>
                    <a:pt x="313131" y="650425"/>
                    <a:pt x="300890" y="638147"/>
                    <a:pt x="300890" y="623078"/>
                  </a:cubicBezTo>
                  <a:cubicBezTo>
                    <a:pt x="300890" y="607972"/>
                    <a:pt x="313168" y="595731"/>
                    <a:pt x="328237" y="595731"/>
                  </a:cubicBezTo>
                  <a:cubicBezTo>
                    <a:pt x="343343" y="595731"/>
                    <a:pt x="355584" y="608009"/>
                    <a:pt x="355584" y="623078"/>
                  </a:cubicBezTo>
                  <a:close/>
                  <a:moveTo>
                    <a:pt x="334860" y="623078"/>
                  </a:moveTo>
                  <a:cubicBezTo>
                    <a:pt x="334860" y="619395"/>
                    <a:pt x="331883" y="616455"/>
                    <a:pt x="328237" y="616455"/>
                  </a:cubicBezTo>
                  <a:cubicBezTo>
                    <a:pt x="324591" y="616455"/>
                    <a:pt x="321614" y="619432"/>
                    <a:pt x="321614" y="623078"/>
                  </a:cubicBezTo>
                  <a:cubicBezTo>
                    <a:pt x="321614" y="626724"/>
                    <a:pt x="324591" y="629701"/>
                    <a:pt x="328237" y="629701"/>
                  </a:cubicBezTo>
                  <a:cubicBezTo>
                    <a:pt x="331883" y="629701"/>
                    <a:pt x="334860" y="626724"/>
                    <a:pt x="334860" y="623078"/>
                  </a:cubicBezTo>
                  <a:close/>
                  <a:moveTo>
                    <a:pt x="279123" y="608047"/>
                  </a:moveTo>
                  <a:cubicBezTo>
                    <a:pt x="279123" y="623115"/>
                    <a:pt x="266845" y="635394"/>
                    <a:pt x="251776" y="635394"/>
                  </a:cubicBezTo>
                  <a:cubicBezTo>
                    <a:pt x="236670" y="635394"/>
                    <a:pt x="224429" y="623115"/>
                    <a:pt x="224429" y="608047"/>
                  </a:cubicBezTo>
                  <a:cubicBezTo>
                    <a:pt x="224429" y="592941"/>
                    <a:pt x="236707" y="580699"/>
                    <a:pt x="251776" y="580699"/>
                  </a:cubicBezTo>
                  <a:cubicBezTo>
                    <a:pt x="266882" y="580699"/>
                    <a:pt x="279123" y="592978"/>
                    <a:pt x="279123" y="608047"/>
                  </a:cubicBezTo>
                  <a:close/>
                  <a:moveTo>
                    <a:pt x="258399" y="608047"/>
                  </a:moveTo>
                  <a:cubicBezTo>
                    <a:pt x="258399" y="604363"/>
                    <a:pt x="255422" y="601424"/>
                    <a:pt x="251776" y="601424"/>
                  </a:cubicBezTo>
                  <a:cubicBezTo>
                    <a:pt x="248130" y="601424"/>
                    <a:pt x="245153" y="604400"/>
                    <a:pt x="245153" y="608047"/>
                  </a:cubicBezTo>
                  <a:cubicBezTo>
                    <a:pt x="245153" y="611693"/>
                    <a:pt x="248130" y="614669"/>
                    <a:pt x="251776" y="614669"/>
                  </a:cubicBezTo>
                  <a:cubicBezTo>
                    <a:pt x="255422" y="614669"/>
                    <a:pt x="258399" y="611693"/>
                    <a:pt x="258399" y="608047"/>
                  </a:cubicBezTo>
                  <a:close/>
                  <a:moveTo>
                    <a:pt x="638208" y="495194"/>
                  </a:moveTo>
                  <a:cubicBezTo>
                    <a:pt x="683936" y="495194"/>
                    <a:pt x="721105" y="532364"/>
                    <a:pt x="721105" y="578091"/>
                  </a:cubicBezTo>
                  <a:cubicBezTo>
                    <a:pt x="721105" y="623782"/>
                    <a:pt x="683936" y="660914"/>
                    <a:pt x="638208" y="660914"/>
                  </a:cubicBezTo>
                  <a:cubicBezTo>
                    <a:pt x="592518" y="660914"/>
                    <a:pt x="555385" y="623745"/>
                    <a:pt x="555385" y="578091"/>
                  </a:cubicBezTo>
                  <a:cubicBezTo>
                    <a:pt x="555385" y="532401"/>
                    <a:pt x="592555" y="495194"/>
                    <a:pt x="638208" y="495194"/>
                  </a:cubicBezTo>
                  <a:close/>
                  <a:moveTo>
                    <a:pt x="638208" y="515919"/>
                  </a:moveTo>
                  <a:cubicBezTo>
                    <a:pt x="603940" y="515919"/>
                    <a:pt x="576073" y="543824"/>
                    <a:pt x="576073" y="578091"/>
                  </a:cubicBezTo>
                  <a:cubicBezTo>
                    <a:pt x="576073" y="612358"/>
                    <a:pt x="603941" y="640227"/>
                    <a:pt x="638208" y="640227"/>
                  </a:cubicBezTo>
                  <a:cubicBezTo>
                    <a:pt x="672475" y="640227"/>
                    <a:pt x="700381" y="612358"/>
                    <a:pt x="700381" y="578091"/>
                  </a:cubicBezTo>
                  <a:cubicBezTo>
                    <a:pt x="700381" y="543824"/>
                    <a:pt x="672475" y="515919"/>
                    <a:pt x="638208" y="515919"/>
                  </a:cubicBezTo>
                  <a:close/>
                  <a:moveTo>
                    <a:pt x="617186" y="564734"/>
                  </a:moveTo>
                  <a:cubicBezTo>
                    <a:pt x="614321" y="559786"/>
                    <a:pt x="607997" y="558075"/>
                    <a:pt x="603048" y="560940"/>
                  </a:cubicBezTo>
                  <a:cubicBezTo>
                    <a:pt x="598099" y="563804"/>
                    <a:pt x="596388" y="570129"/>
                    <a:pt x="599253" y="575079"/>
                  </a:cubicBezTo>
                  <a:lnTo>
                    <a:pt x="616368" y="604733"/>
                  </a:lnTo>
                  <a:cubicBezTo>
                    <a:pt x="617967" y="607523"/>
                    <a:pt x="620795" y="609383"/>
                    <a:pt x="623995" y="609830"/>
                  </a:cubicBezTo>
                  <a:cubicBezTo>
                    <a:pt x="624442" y="609904"/>
                    <a:pt x="624888" y="609904"/>
                    <a:pt x="625372" y="609904"/>
                  </a:cubicBezTo>
                  <a:cubicBezTo>
                    <a:pt x="628088" y="609904"/>
                    <a:pt x="630730" y="608826"/>
                    <a:pt x="632702" y="606890"/>
                  </a:cubicBezTo>
                  <a:lnTo>
                    <a:pt x="675638" y="563991"/>
                  </a:lnTo>
                  <a:cubicBezTo>
                    <a:pt x="679694" y="559935"/>
                    <a:pt x="679694" y="553386"/>
                    <a:pt x="675638" y="549368"/>
                  </a:cubicBezTo>
                  <a:cubicBezTo>
                    <a:pt x="671583" y="545312"/>
                    <a:pt x="665034" y="545312"/>
                    <a:pt x="661016" y="549368"/>
                  </a:cubicBezTo>
                  <a:lnTo>
                    <a:pt x="627641" y="582705"/>
                  </a:lnTo>
                  <a:lnTo>
                    <a:pt x="617298" y="564734"/>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0" name="Group 9">
            <a:extLst>
              <a:ext uri="{FF2B5EF4-FFF2-40B4-BE49-F238E27FC236}">
                <a16:creationId xmlns:a16="http://schemas.microsoft.com/office/drawing/2014/main" id="{95A996BB-AB0D-062B-186A-C82B6862C649}"/>
              </a:ext>
            </a:extLst>
          </p:cNvPr>
          <p:cNvGrpSpPr/>
          <p:nvPr/>
        </p:nvGrpSpPr>
        <p:grpSpPr>
          <a:xfrm>
            <a:off x="6302940" y="3199661"/>
            <a:ext cx="5617195" cy="1072915"/>
            <a:chOff x="4308083" y="4215591"/>
            <a:chExt cx="5617195" cy="1072915"/>
          </a:xfrm>
        </p:grpSpPr>
        <p:sp>
          <p:nvSpPr>
            <p:cNvPr id="135" name="Google Shape;4891;p434">
              <a:extLst>
                <a:ext uri="{FF2B5EF4-FFF2-40B4-BE49-F238E27FC236}">
                  <a16:creationId xmlns:a16="http://schemas.microsoft.com/office/drawing/2014/main" id="{B1BE8B70-02B2-1C89-3C8E-74509DBED24E}"/>
                </a:ext>
              </a:extLst>
            </p:cNvPr>
            <p:cNvSpPr txBox="1">
              <a:spLocks/>
            </p:cNvSpPr>
            <p:nvPr/>
          </p:nvSpPr>
          <p:spPr>
            <a:xfrm>
              <a:off x="4464921" y="4598176"/>
              <a:ext cx="5316590"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ct val="0"/>
                </a:spcAft>
                <a:buClr>
                  <a:srgbClr val="000000"/>
                </a:buClr>
                <a:buSzPts val="1100"/>
                <a:buFont typeface="Arial"/>
                <a:buNone/>
                <a:tabLst/>
                <a:defRPr/>
              </a:pPr>
              <a:r>
                <a:rPr kumimoji="0" lang="en-US" sz="1400" b="1" i="0" u="none" strike="noStrike" kern="1200" cap="none" spc="0" normalizeH="0" baseline="0" noProof="0">
                  <a:ln>
                    <a:noFill/>
                  </a:ln>
                  <a:solidFill>
                    <a:srgbClr val="834895">
                      <a:lumMod val="60000"/>
                      <a:lumOff val="40000"/>
                    </a:srgbClr>
                  </a:solidFill>
                  <a:effectLst/>
                  <a:uLnTx/>
                  <a:uFillTx/>
                  <a:latin typeface="Arial" panose="020B0604020202020204"/>
                  <a:ea typeface="+mn-ea"/>
                  <a:cs typeface="+mn-cs"/>
                </a:rPr>
                <a:t>One Platform = Lower Cost, Higher Efficiency</a:t>
              </a:r>
            </a:p>
          </p:txBody>
        </p:sp>
        <p:sp>
          <p:nvSpPr>
            <p:cNvPr id="136" name="Rectangle 135">
              <a:extLst>
                <a:ext uri="{FF2B5EF4-FFF2-40B4-BE49-F238E27FC236}">
                  <a16:creationId xmlns:a16="http://schemas.microsoft.com/office/drawing/2014/main" id="{285A2999-9042-1EDA-FD60-DED22DAF3221}"/>
                </a:ext>
              </a:extLst>
            </p:cNvPr>
            <p:cNvSpPr>
              <a:spLocks/>
            </p:cNvSpPr>
            <p:nvPr/>
          </p:nvSpPr>
          <p:spPr>
            <a:xfrm>
              <a:off x="4464921" y="4857619"/>
              <a:ext cx="5460357" cy="4308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fontAlgn="base">
                <a:spcAft>
                  <a:spcPct val="0"/>
                </a:spcAf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By consolidating tools and automating scale, Commvault Cloud cuts complexity and </a:t>
              </a:r>
              <a:r>
                <a:rPr lang="en-US" sz="1400">
                  <a:solidFill>
                    <a:srgbClr val="FFFFFF"/>
                  </a:solidFill>
                  <a:latin typeface="Arial" panose="020B0604020202020204"/>
                </a:rPr>
                <a:t>helps reduce costs</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 while strengthening resilience</a:t>
              </a:r>
            </a:p>
          </p:txBody>
        </p:sp>
        <p:cxnSp>
          <p:nvCxnSpPr>
            <p:cNvPr id="137" name="Straight Connector 136">
              <a:extLst>
                <a:ext uri="{FF2B5EF4-FFF2-40B4-BE49-F238E27FC236}">
                  <a16:creationId xmlns:a16="http://schemas.microsoft.com/office/drawing/2014/main" id="{4EC41835-B8F8-64BC-E60C-61FB1DE5B6BC}"/>
                </a:ext>
              </a:extLst>
            </p:cNvPr>
            <p:cNvCxnSpPr>
              <a:cxnSpLocks/>
            </p:cNvCxnSpPr>
            <p:nvPr/>
          </p:nvCxnSpPr>
          <p:spPr>
            <a:xfrm>
              <a:off x="4308083" y="4215591"/>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7D1C666E-E3EE-658C-4C89-AB60533B2E72}"/>
                </a:ext>
              </a:extLst>
            </p:cNvPr>
            <p:cNvCxnSpPr>
              <a:cxnSpLocks/>
            </p:cNvCxnSpPr>
            <p:nvPr/>
          </p:nvCxnSpPr>
          <p:spPr>
            <a:xfrm>
              <a:off x="4308083" y="4675755"/>
              <a:ext cx="0" cy="612751"/>
            </a:xfrm>
            <a:prstGeom prst="line">
              <a:avLst/>
            </a:prstGeom>
          </p:spPr>
          <p:style>
            <a:lnRef idx="1">
              <a:schemeClr val="accent1"/>
            </a:lnRef>
            <a:fillRef idx="0">
              <a:schemeClr val="accent1"/>
            </a:fillRef>
            <a:effectRef idx="0">
              <a:schemeClr val="accent1"/>
            </a:effectRef>
            <a:fontRef idx="minor">
              <a:schemeClr val="tx1"/>
            </a:fontRef>
          </p:style>
        </p:cxnSp>
        <p:sp>
          <p:nvSpPr>
            <p:cNvPr id="178" name="Freeform: Shape 177">
              <a:extLst>
                <a:ext uri="{FF2B5EF4-FFF2-40B4-BE49-F238E27FC236}">
                  <a16:creationId xmlns:a16="http://schemas.microsoft.com/office/drawing/2014/main" id="{43CAD086-CFB7-0C0C-ACDF-B5BC34CD09C5}"/>
                </a:ext>
              </a:extLst>
            </p:cNvPr>
            <p:cNvSpPr/>
            <p:nvPr/>
          </p:nvSpPr>
          <p:spPr>
            <a:xfrm>
              <a:off x="4464921" y="4274283"/>
              <a:ext cx="447747" cy="277465"/>
            </a:xfrm>
            <a:custGeom>
              <a:avLst/>
              <a:gdLst>
                <a:gd name="connsiteX0" fmla="*/ 869161 w 904389"/>
                <a:gd name="connsiteY0" fmla="*/ 273731 h 560443"/>
                <a:gd name="connsiteX1" fmla="*/ 703997 w 904389"/>
                <a:gd name="connsiteY1" fmla="*/ 74563 h 560443"/>
                <a:gd name="connsiteX2" fmla="*/ 456233 w 904389"/>
                <a:gd name="connsiteY2" fmla="*/ 0 h 560443"/>
                <a:gd name="connsiteX3" fmla="*/ 447676 w 904389"/>
                <a:gd name="connsiteY3" fmla="*/ 0 h 560443"/>
                <a:gd name="connsiteX4" fmla="*/ 130893 w 904389"/>
                <a:gd name="connsiteY4" fmla="*/ 131302 h 560443"/>
                <a:gd name="connsiteX5" fmla="*/ 0 w 904389"/>
                <a:gd name="connsiteY5" fmla="*/ 448228 h 560443"/>
                <a:gd name="connsiteX6" fmla="*/ 2940 w 904389"/>
                <a:gd name="connsiteY6" fmla="*/ 455334 h 560443"/>
                <a:gd name="connsiteX7" fmla="*/ 10083 w 904389"/>
                <a:gd name="connsiteY7" fmla="*/ 458237 h 560443"/>
                <a:gd name="connsiteX8" fmla="*/ 340038 w 904389"/>
                <a:gd name="connsiteY8" fmla="*/ 458237 h 560443"/>
                <a:gd name="connsiteX9" fmla="*/ 413189 w 904389"/>
                <a:gd name="connsiteY9" fmla="*/ 553487 h 560443"/>
                <a:gd name="connsiteX10" fmla="*/ 452069 w 904389"/>
                <a:gd name="connsiteY10" fmla="*/ 560444 h 560443"/>
                <a:gd name="connsiteX11" fmla="*/ 563874 w 904389"/>
                <a:gd name="connsiteY11" fmla="*/ 458241 h 560443"/>
                <a:gd name="connsiteX12" fmla="*/ 894305 w 904389"/>
                <a:gd name="connsiteY12" fmla="*/ 458241 h 560443"/>
                <a:gd name="connsiteX13" fmla="*/ 901412 w 904389"/>
                <a:gd name="connsiteY13" fmla="*/ 455339 h 560443"/>
                <a:gd name="connsiteX14" fmla="*/ 904388 w 904389"/>
                <a:gd name="connsiteY14" fmla="*/ 448232 h 560443"/>
                <a:gd name="connsiteX15" fmla="*/ 869153 w 904389"/>
                <a:gd name="connsiteY15" fmla="*/ 273734 h 560443"/>
                <a:gd name="connsiteX16" fmla="*/ 538539 w 904389"/>
                <a:gd name="connsiteY16" fmla="*/ 480337 h 560443"/>
                <a:gd name="connsiteX17" fmla="*/ 420143 w 904389"/>
                <a:gd name="connsiteY17" fmla="*/ 535106 h 560443"/>
                <a:gd name="connsiteX18" fmla="*/ 359644 w 904389"/>
                <a:gd name="connsiteY18" fmla="*/ 448526 h 560443"/>
                <a:gd name="connsiteX19" fmla="*/ 365374 w 904389"/>
                <a:gd name="connsiteY19" fmla="*/ 416602 h 560443"/>
                <a:gd name="connsiteX20" fmla="*/ 368127 w 904389"/>
                <a:gd name="connsiteY20" fmla="*/ 409942 h 560443"/>
                <a:gd name="connsiteX21" fmla="*/ 369280 w 904389"/>
                <a:gd name="connsiteY21" fmla="*/ 407672 h 560443"/>
                <a:gd name="connsiteX22" fmla="*/ 371364 w 904389"/>
                <a:gd name="connsiteY22" fmla="*/ 403468 h 560443"/>
                <a:gd name="connsiteX23" fmla="*/ 373076 w 904389"/>
                <a:gd name="connsiteY23" fmla="*/ 400788 h 560443"/>
                <a:gd name="connsiteX24" fmla="*/ 375159 w 904389"/>
                <a:gd name="connsiteY24" fmla="*/ 397366 h 560443"/>
                <a:gd name="connsiteX25" fmla="*/ 377056 w 904389"/>
                <a:gd name="connsiteY25" fmla="*/ 394612 h 560443"/>
                <a:gd name="connsiteX26" fmla="*/ 379252 w 904389"/>
                <a:gd name="connsiteY26" fmla="*/ 391673 h 560443"/>
                <a:gd name="connsiteX27" fmla="*/ 381522 w 904389"/>
                <a:gd name="connsiteY27" fmla="*/ 388920 h 560443"/>
                <a:gd name="connsiteX28" fmla="*/ 383792 w 904389"/>
                <a:gd name="connsiteY28" fmla="*/ 386352 h 560443"/>
                <a:gd name="connsiteX29" fmla="*/ 383866 w 904389"/>
                <a:gd name="connsiteY29" fmla="*/ 386315 h 560443"/>
                <a:gd name="connsiteX30" fmla="*/ 386321 w 904389"/>
                <a:gd name="connsiteY30" fmla="*/ 383748 h 560443"/>
                <a:gd name="connsiteX31" fmla="*/ 388703 w 904389"/>
                <a:gd name="connsiteY31" fmla="*/ 381255 h 560443"/>
                <a:gd name="connsiteX32" fmla="*/ 391455 w 904389"/>
                <a:gd name="connsiteY32" fmla="*/ 378874 h 560443"/>
                <a:gd name="connsiteX33" fmla="*/ 394023 w 904389"/>
                <a:gd name="connsiteY33" fmla="*/ 376679 h 560443"/>
                <a:gd name="connsiteX34" fmla="*/ 396887 w 904389"/>
                <a:gd name="connsiteY34" fmla="*/ 374483 h 560443"/>
                <a:gd name="connsiteX35" fmla="*/ 399641 w 904389"/>
                <a:gd name="connsiteY35" fmla="*/ 372474 h 560443"/>
                <a:gd name="connsiteX36" fmla="*/ 402692 w 904389"/>
                <a:gd name="connsiteY36" fmla="*/ 370465 h 560443"/>
                <a:gd name="connsiteX37" fmla="*/ 405557 w 904389"/>
                <a:gd name="connsiteY37" fmla="*/ 368754 h 560443"/>
                <a:gd name="connsiteX38" fmla="*/ 405557 w 904389"/>
                <a:gd name="connsiteY38" fmla="*/ 368791 h 560443"/>
                <a:gd name="connsiteX39" fmla="*/ 408719 w 904389"/>
                <a:gd name="connsiteY39" fmla="*/ 367079 h 560443"/>
                <a:gd name="connsiteX40" fmla="*/ 411770 w 904389"/>
                <a:gd name="connsiteY40" fmla="*/ 365442 h 560443"/>
                <a:gd name="connsiteX41" fmla="*/ 415008 w 904389"/>
                <a:gd name="connsiteY41" fmla="*/ 364029 h 560443"/>
                <a:gd name="connsiteX42" fmla="*/ 418133 w 904389"/>
                <a:gd name="connsiteY42" fmla="*/ 362614 h 560443"/>
                <a:gd name="connsiteX43" fmla="*/ 424830 w 904389"/>
                <a:gd name="connsiteY43" fmla="*/ 360307 h 560443"/>
                <a:gd name="connsiteX44" fmla="*/ 428179 w 904389"/>
                <a:gd name="connsiteY44" fmla="*/ 359340 h 560443"/>
                <a:gd name="connsiteX45" fmla="*/ 431714 w 904389"/>
                <a:gd name="connsiteY45" fmla="*/ 358484 h 560443"/>
                <a:gd name="connsiteX46" fmla="*/ 435136 w 904389"/>
                <a:gd name="connsiteY46" fmla="*/ 357814 h 560443"/>
                <a:gd name="connsiteX47" fmla="*/ 438076 w 904389"/>
                <a:gd name="connsiteY47" fmla="*/ 357256 h 560443"/>
                <a:gd name="connsiteX48" fmla="*/ 438745 w 904389"/>
                <a:gd name="connsiteY48" fmla="*/ 357256 h 560443"/>
                <a:gd name="connsiteX49" fmla="*/ 442429 w 904389"/>
                <a:gd name="connsiteY49" fmla="*/ 356512 h 560443"/>
                <a:gd name="connsiteX50" fmla="*/ 455080 w 904389"/>
                <a:gd name="connsiteY50" fmla="*/ 356512 h 560443"/>
                <a:gd name="connsiteX51" fmla="*/ 462149 w 904389"/>
                <a:gd name="connsiteY51" fmla="*/ 353833 h 560443"/>
                <a:gd name="connsiteX52" fmla="*/ 463860 w 904389"/>
                <a:gd name="connsiteY52" fmla="*/ 351861 h 560443"/>
                <a:gd name="connsiteX53" fmla="*/ 522907 w 904389"/>
                <a:gd name="connsiteY53" fmla="*/ 257951 h 560443"/>
                <a:gd name="connsiteX54" fmla="*/ 506238 w 904389"/>
                <a:gd name="connsiteY54" fmla="*/ 367078 h 560443"/>
                <a:gd name="connsiteX55" fmla="*/ 509960 w 904389"/>
                <a:gd name="connsiteY55" fmla="*/ 376603 h 560443"/>
                <a:gd name="connsiteX56" fmla="*/ 544265 w 904389"/>
                <a:gd name="connsiteY56" fmla="*/ 448413 h 560443"/>
                <a:gd name="connsiteX57" fmla="*/ 538535 w 904389"/>
                <a:gd name="connsiteY57" fmla="*/ 480337 h 560443"/>
                <a:gd name="connsiteX58" fmla="*/ 563877 w 904389"/>
                <a:gd name="connsiteY58" fmla="*/ 438443 h 560443"/>
                <a:gd name="connsiteX59" fmla="*/ 563877 w 904389"/>
                <a:gd name="connsiteY59" fmla="*/ 437475 h 560443"/>
                <a:gd name="connsiteX60" fmla="*/ 563207 w 904389"/>
                <a:gd name="connsiteY60" fmla="*/ 432712 h 560443"/>
                <a:gd name="connsiteX61" fmla="*/ 562463 w 904389"/>
                <a:gd name="connsiteY61" fmla="*/ 427280 h 560443"/>
                <a:gd name="connsiteX62" fmla="*/ 562463 w 904389"/>
                <a:gd name="connsiteY62" fmla="*/ 425755 h 560443"/>
                <a:gd name="connsiteX63" fmla="*/ 561421 w 904389"/>
                <a:gd name="connsiteY63" fmla="*/ 421290 h 560443"/>
                <a:gd name="connsiteX64" fmla="*/ 559598 w 904389"/>
                <a:gd name="connsiteY64" fmla="*/ 414890 h 560443"/>
                <a:gd name="connsiteX65" fmla="*/ 558072 w 904389"/>
                <a:gd name="connsiteY65" fmla="*/ 410426 h 560443"/>
                <a:gd name="connsiteX66" fmla="*/ 555691 w 904389"/>
                <a:gd name="connsiteY66" fmla="*/ 404324 h 560443"/>
                <a:gd name="connsiteX67" fmla="*/ 553794 w 904389"/>
                <a:gd name="connsiteY67" fmla="*/ 400045 h 560443"/>
                <a:gd name="connsiteX68" fmla="*/ 550854 w 904389"/>
                <a:gd name="connsiteY68" fmla="*/ 394129 h 560443"/>
                <a:gd name="connsiteX69" fmla="*/ 548585 w 904389"/>
                <a:gd name="connsiteY69" fmla="*/ 390111 h 560443"/>
                <a:gd name="connsiteX70" fmla="*/ 548547 w 904389"/>
                <a:gd name="connsiteY70" fmla="*/ 390148 h 560443"/>
                <a:gd name="connsiteX71" fmla="*/ 544827 w 904389"/>
                <a:gd name="connsiteY71" fmla="*/ 384418 h 560443"/>
                <a:gd name="connsiteX72" fmla="*/ 542334 w 904389"/>
                <a:gd name="connsiteY72" fmla="*/ 380809 h 560443"/>
                <a:gd name="connsiteX73" fmla="*/ 537683 w 904389"/>
                <a:gd name="connsiteY73" fmla="*/ 374893 h 560443"/>
                <a:gd name="connsiteX74" fmla="*/ 535302 w 904389"/>
                <a:gd name="connsiteY74" fmla="*/ 372140 h 560443"/>
                <a:gd name="connsiteX75" fmla="*/ 527414 w 904389"/>
                <a:gd name="connsiteY75" fmla="*/ 364140 h 560443"/>
                <a:gd name="connsiteX76" fmla="*/ 548846 w 904389"/>
                <a:gd name="connsiteY76" fmla="*/ 213635 h 560443"/>
                <a:gd name="connsiteX77" fmla="*/ 545311 w 904389"/>
                <a:gd name="connsiteY77" fmla="*/ 204110 h 560443"/>
                <a:gd name="connsiteX78" fmla="*/ 542334 w 904389"/>
                <a:gd name="connsiteY78" fmla="*/ 202399 h 560443"/>
                <a:gd name="connsiteX79" fmla="*/ 530354 w 904389"/>
                <a:gd name="connsiteY79" fmla="*/ 206492 h 560443"/>
                <a:gd name="connsiteX80" fmla="*/ 449019 w 904389"/>
                <a:gd name="connsiteY80" fmla="*/ 335822 h 560443"/>
                <a:gd name="connsiteX81" fmla="*/ 423941 w 904389"/>
                <a:gd name="connsiteY81" fmla="*/ 339357 h 560443"/>
                <a:gd name="connsiteX82" fmla="*/ 415942 w 904389"/>
                <a:gd name="connsiteY82" fmla="*/ 341738 h 560443"/>
                <a:gd name="connsiteX83" fmla="*/ 400613 w 904389"/>
                <a:gd name="connsiteY83" fmla="*/ 348212 h 560443"/>
                <a:gd name="connsiteX84" fmla="*/ 346514 w 904389"/>
                <a:gd name="connsiteY84" fmla="*/ 409455 h 560443"/>
                <a:gd name="connsiteX85" fmla="*/ 342792 w 904389"/>
                <a:gd name="connsiteY85" fmla="*/ 422031 h 560443"/>
                <a:gd name="connsiteX86" fmla="*/ 342048 w 904389"/>
                <a:gd name="connsiteY86" fmla="*/ 425268 h 560443"/>
                <a:gd name="connsiteX87" fmla="*/ 340151 w 904389"/>
                <a:gd name="connsiteY87" fmla="*/ 437769 h 560443"/>
                <a:gd name="connsiteX88" fmla="*/ 92501 w 904389"/>
                <a:gd name="connsiteY88" fmla="*/ 437769 h 560443"/>
                <a:gd name="connsiteX89" fmla="*/ 96184 w 904389"/>
                <a:gd name="connsiteY89" fmla="*/ 396246 h 560443"/>
                <a:gd name="connsiteX90" fmla="*/ 149427 w 904389"/>
                <a:gd name="connsiteY90" fmla="*/ 405771 h 560443"/>
                <a:gd name="connsiteX91" fmla="*/ 151176 w 904389"/>
                <a:gd name="connsiteY91" fmla="*/ 405771 h 560443"/>
                <a:gd name="connsiteX92" fmla="*/ 161519 w 904389"/>
                <a:gd name="connsiteY92" fmla="*/ 396618 h 560443"/>
                <a:gd name="connsiteX93" fmla="*/ 152887 w 904389"/>
                <a:gd name="connsiteY93" fmla="*/ 385828 h 560443"/>
                <a:gd name="connsiteX94" fmla="*/ 99644 w 904389"/>
                <a:gd name="connsiteY94" fmla="*/ 376303 h 560443"/>
                <a:gd name="connsiteX95" fmla="*/ 135921 w 904389"/>
                <a:gd name="connsiteY95" fmla="*/ 278415 h 560443"/>
                <a:gd name="connsiteX96" fmla="*/ 182392 w 904389"/>
                <a:gd name="connsiteY96" fmla="*/ 305167 h 560443"/>
                <a:gd name="connsiteX97" fmla="*/ 187341 w 904389"/>
                <a:gd name="connsiteY97" fmla="*/ 306506 h 560443"/>
                <a:gd name="connsiteX98" fmla="*/ 197908 w 904389"/>
                <a:gd name="connsiteY98" fmla="*/ 299102 h 560443"/>
                <a:gd name="connsiteX99" fmla="*/ 192402 w 904389"/>
                <a:gd name="connsiteY99" fmla="*/ 287456 h 560443"/>
                <a:gd name="connsiteX100" fmla="*/ 146005 w 904389"/>
                <a:gd name="connsiteY100" fmla="*/ 261262 h 560443"/>
                <a:gd name="connsiteX101" fmla="*/ 213833 w 904389"/>
                <a:gd name="connsiteY101" fmla="*/ 181155 h 560443"/>
                <a:gd name="connsiteX102" fmla="*/ 247729 w 904389"/>
                <a:gd name="connsiteY102" fmla="*/ 221525 h 560443"/>
                <a:gd name="connsiteX103" fmla="*/ 255468 w 904389"/>
                <a:gd name="connsiteY103" fmla="*/ 225171 h 560443"/>
                <a:gd name="connsiteX104" fmla="*/ 261458 w 904389"/>
                <a:gd name="connsiteY104" fmla="*/ 223162 h 560443"/>
                <a:gd name="connsiteX105" fmla="*/ 265030 w 904389"/>
                <a:gd name="connsiteY105" fmla="*/ 216316 h 560443"/>
                <a:gd name="connsiteX106" fmla="*/ 262686 w 904389"/>
                <a:gd name="connsiteY106" fmla="*/ 208986 h 560443"/>
                <a:gd name="connsiteX107" fmla="*/ 229088 w 904389"/>
                <a:gd name="connsiteY107" fmla="*/ 168394 h 560443"/>
                <a:gd name="connsiteX108" fmla="*/ 319650 w 904389"/>
                <a:gd name="connsiteY108" fmla="*/ 116676 h 560443"/>
                <a:gd name="connsiteX109" fmla="*/ 337658 w 904389"/>
                <a:gd name="connsiteY109" fmla="*/ 165343 h 560443"/>
                <a:gd name="connsiteX110" fmla="*/ 347183 w 904389"/>
                <a:gd name="connsiteY110" fmla="*/ 171928 h 560443"/>
                <a:gd name="connsiteX111" fmla="*/ 350606 w 904389"/>
                <a:gd name="connsiteY111" fmla="*/ 171333 h 560443"/>
                <a:gd name="connsiteX112" fmla="*/ 356560 w 904389"/>
                <a:gd name="connsiteY112" fmla="*/ 166272 h 560443"/>
                <a:gd name="connsiteX113" fmla="*/ 356708 w 904389"/>
                <a:gd name="connsiteY113" fmla="*/ 158496 h 560443"/>
                <a:gd name="connsiteX114" fmla="*/ 339072 w 904389"/>
                <a:gd name="connsiteY114" fmla="*/ 109903 h 560443"/>
                <a:gd name="connsiteX115" fmla="*/ 441465 w 904389"/>
                <a:gd name="connsiteY115" fmla="*/ 92565 h 560443"/>
                <a:gd name="connsiteX116" fmla="*/ 441465 w 904389"/>
                <a:gd name="connsiteY116" fmla="*/ 143241 h 560443"/>
                <a:gd name="connsiteX117" fmla="*/ 451511 w 904389"/>
                <a:gd name="connsiteY117" fmla="*/ 152357 h 560443"/>
                <a:gd name="connsiteX118" fmla="*/ 461595 w 904389"/>
                <a:gd name="connsiteY118" fmla="*/ 143241 h 560443"/>
                <a:gd name="connsiteX119" fmla="*/ 461595 w 904389"/>
                <a:gd name="connsiteY119" fmla="*/ 92565 h 560443"/>
                <a:gd name="connsiteX120" fmla="*/ 563693 w 904389"/>
                <a:gd name="connsiteY120" fmla="*/ 108861 h 560443"/>
                <a:gd name="connsiteX121" fmla="*/ 545982 w 904389"/>
                <a:gd name="connsiteY121" fmla="*/ 157528 h 560443"/>
                <a:gd name="connsiteX122" fmla="*/ 551973 w 904389"/>
                <a:gd name="connsiteY122" fmla="*/ 170477 h 560443"/>
                <a:gd name="connsiteX123" fmla="*/ 555396 w 904389"/>
                <a:gd name="connsiteY123" fmla="*/ 171072 h 560443"/>
                <a:gd name="connsiteX124" fmla="*/ 564921 w 904389"/>
                <a:gd name="connsiteY124" fmla="*/ 164486 h 560443"/>
                <a:gd name="connsiteX125" fmla="*/ 582632 w 904389"/>
                <a:gd name="connsiteY125" fmla="*/ 115522 h 560443"/>
                <a:gd name="connsiteX126" fmla="*/ 673529 w 904389"/>
                <a:gd name="connsiteY126" fmla="*/ 166868 h 560443"/>
                <a:gd name="connsiteX127" fmla="*/ 639596 w 904389"/>
                <a:gd name="connsiteY127" fmla="*/ 207535 h 560443"/>
                <a:gd name="connsiteX128" fmla="*/ 640824 w 904389"/>
                <a:gd name="connsiteY128" fmla="*/ 221748 h 560443"/>
                <a:gd name="connsiteX129" fmla="*/ 655037 w 904389"/>
                <a:gd name="connsiteY129" fmla="*/ 220483 h 560443"/>
                <a:gd name="connsiteX130" fmla="*/ 689044 w 904389"/>
                <a:gd name="connsiteY130" fmla="*/ 179890 h 560443"/>
                <a:gd name="connsiteX131" fmla="*/ 707052 w 904389"/>
                <a:gd name="connsiteY131" fmla="*/ 196559 h 560443"/>
                <a:gd name="connsiteX132" fmla="*/ 707052 w 904389"/>
                <a:gd name="connsiteY132" fmla="*/ 196596 h 560443"/>
                <a:gd name="connsiteX133" fmla="*/ 756761 w 904389"/>
                <a:gd name="connsiteY133" fmla="*/ 259364 h 560443"/>
                <a:gd name="connsiteX134" fmla="*/ 710290 w 904389"/>
                <a:gd name="connsiteY134" fmla="*/ 286227 h 560443"/>
                <a:gd name="connsiteX135" fmla="*/ 704783 w 904389"/>
                <a:gd name="connsiteY135" fmla="*/ 297798 h 560443"/>
                <a:gd name="connsiteX136" fmla="*/ 715239 w 904389"/>
                <a:gd name="connsiteY136" fmla="*/ 305277 h 560443"/>
                <a:gd name="connsiteX137" fmla="*/ 720298 w 904389"/>
                <a:gd name="connsiteY137" fmla="*/ 303938 h 560443"/>
                <a:gd name="connsiteX138" fmla="*/ 766956 w 904389"/>
                <a:gd name="connsiteY138" fmla="*/ 277001 h 560443"/>
                <a:gd name="connsiteX139" fmla="*/ 766956 w 904389"/>
                <a:gd name="connsiteY139" fmla="*/ 276962 h 560443"/>
                <a:gd name="connsiteX140" fmla="*/ 803716 w 904389"/>
                <a:gd name="connsiteY140" fmla="*/ 375565 h 560443"/>
                <a:gd name="connsiteX141" fmla="*/ 750361 w 904389"/>
                <a:gd name="connsiteY141" fmla="*/ 385090 h 560443"/>
                <a:gd name="connsiteX142" fmla="*/ 742287 w 904389"/>
                <a:gd name="connsiteY142" fmla="*/ 396811 h 560443"/>
                <a:gd name="connsiteX143" fmla="*/ 751812 w 904389"/>
                <a:gd name="connsiteY143" fmla="*/ 405108 h 560443"/>
                <a:gd name="connsiteX144" fmla="*/ 753524 w 904389"/>
                <a:gd name="connsiteY144" fmla="*/ 405108 h 560443"/>
                <a:gd name="connsiteX145" fmla="*/ 806879 w 904389"/>
                <a:gd name="connsiteY145" fmla="*/ 395583 h 560443"/>
                <a:gd name="connsiteX146" fmla="*/ 810786 w 904389"/>
                <a:gd name="connsiteY146" fmla="*/ 438818 h 560443"/>
                <a:gd name="connsiteX147" fmla="*/ 831139 w 904389"/>
                <a:gd name="connsiteY147" fmla="*/ 438443 h 560443"/>
                <a:gd name="connsiteX148" fmla="*/ 717811 w 904389"/>
                <a:gd name="connsiteY148" fmla="*/ 178924 h 560443"/>
                <a:gd name="connsiteX149" fmla="*/ 455502 w 904389"/>
                <a:gd name="connsiteY149" fmla="*/ 72292 h 560443"/>
                <a:gd name="connsiteX150" fmla="*/ 448432 w 904389"/>
                <a:gd name="connsiteY150" fmla="*/ 72292 h 560443"/>
                <a:gd name="connsiteX151" fmla="*/ 186237 w 904389"/>
                <a:gd name="connsiteY151" fmla="*/ 178820 h 560443"/>
                <a:gd name="connsiteX152" fmla="*/ 72795 w 904389"/>
                <a:gd name="connsiteY152" fmla="*/ 438157 h 560443"/>
                <a:gd name="connsiteX153" fmla="*/ 19738 w 904389"/>
                <a:gd name="connsiteY153" fmla="*/ 438157 h 560443"/>
                <a:gd name="connsiteX154" fmla="*/ 148696 w 904389"/>
                <a:gd name="connsiteY154" fmla="*/ 142101 h 560443"/>
                <a:gd name="connsiteX155" fmla="*/ 447696 w 904389"/>
                <a:gd name="connsiteY155" fmla="*/ 20095 h 560443"/>
                <a:gd name="connsiteX156" fmla="*/ 456253 w 904389"/>
                <a:gd name="connsiteY156" fmla="*/ 20095 h 560443"/>
                <a:gd name="connsiteX157" fmla="*/ 755252 w 904389"/>
                <a:gd name="connsiteY157" fmla="*/ 142101 h 560443"/>
                <a:gd name="connsiteX158" fmla="*/ 884211 w 904389"/>
                <a:gd name="connsiteY158" fmla="*/ 438157 h 560443"/>
                <a:gd name="connsiteX159" fmla="*/ 451958 w 904389"/>
                <a:gd name="connsiteY159" fmla="*/ 386055 h 560443"/>
                <a:gd name="connsiteX160" fmla="*/ 394511 w 904389"/>
                <a:gd name="connsiteY160" fmla="*/ 424452 h 560443"/>
                <a:gd name="connsiteX161" fmla="*/ 407980 w 904389"/>
                <a:gd name="connsiteY161" fmla="*/ 492206 h 560443"/>
                <a:gd name="connsiteX162" fmla="*/ 475772 w 904389"/>
                <a:gd name="connsiteY162" fmla="*/ 505713 h 560443"/>
                <a:gd name="connsiteX163" fmla="*/ 514169 w 904389"/>
                <a:gd name="connsiteY163" fmla="*/ 448228 h 560443"/>
                <a:gd name="connsiteX164" fmla="*/ 451959 w 904389"/>
                <a:gd name="connsiteY164" fmla="*/ 386055 h 560443"/>
                <a:gd name="connsiteX165" fmla="*/ 451958 w 904389"/>
                <a:gd name="connsiteY165" fmla="*/ 489859 h 560443"/>
                <a:gd name="connsiteX166" fmla="*/ 413040 w 904389"/>
                <a:gd name="connsiteY166" fmla="*/ 463850 h 560443"/>
                <a:gd name="connsiteX167" fmla="*/ 422230 w 904389"/>
                <a:gd name="connsiteY167" fmla="*/ 417937 h 560443"/>
                <a:gd name="connsiteX168" fmla="*/ 468143 w 904389"/>
                <a:gd name="connsiteY168" fmla="*/ 408896 h 560443"/>
                <a:gd name="connsiteX169" fmla="*/ 494077 w 904389"/>
                <a:gd name="connsiteY169" fmla="*/ 447851 h 560443"/>
                <a:gd name="connsiteX170" fmla="*/ 451958 w 904389"/>
                <a:gd name="connsiteY170" fmla="*/ 489859 h 56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904389" h="560443">
                  <a:moveTo>
                    <a:pt x="869161" y="273731"/>
                  </a:moveTo>
                  <a:cubicBezTo>
                    <a:pt x="834930" y="192545"/>
                    <a:pt x="777483" y="123226"/>
                    <a:pt x="703997" y="74563"/>
                  </a:cubicBezTo>
                  <a:cubicBezTo>
                    <a:pt x="630551" y="25859"/>
                    <a:pt x="544377" y="-74"/>
                    <a:pt x="456233" y="0"/>
                  </a:cubicBezTo>
                  <a:lnTo>
                    <a:pt x="447676" y="0"/>
                  </a:lnTo>
                  <a:cubicBezTo>
                    <a:pt x="328832" y="0"/>
                    <a:pt x="214875" y="47253"/>
                    <a:pt x="130893" y="131302"/>
                  </a:cubicBezTo>
                  <a:cubicBezTo>
                    <a:pt x="46954" y="215390"/>
                    <a:pt x="-152" y="329432"/>
                    <a:pt x="0" y="448228"/>
                  </a:cubicBezTo>
                  <a:cubicBezTo>
                    <a:pt x="0" y="450906"/>
                    <a:pt x="1042" y="453474"/>
                    <a:pt x="2940" y="455334"/>
                  </a:cubicBezTo>
                  <a:cubicBezTo>
                    <a:pt x="4837" y="457232"/>
                    <a:pt x="7405" y="458274"/>
                    <a:pt x="10083" y="458237"/>
                  </a:cubicBezTo>
                  <a:lnTo>
                    <a:pt x="340038" y="458237"/>
                  </a:lnTo>
                  <a:cubicBezTo>
                    <a:pt x="344131" y="501396"/>
                    <a:pt x="372558" y="538418"/>
                    <a:pt x="413189" y="553487"/>
                  </a:cubicBezTo>
                  <a:cubicBezTo>
                    <a:pt x="425652" y="558025"/>
                    <a:pt x="438787" y="560406"/>
                    <a:pt x="452069" y="560444"/>
                  </a:cubicBezTo>
                  <a:cubicBezTo>
                    <a:pt x="510113" y="560332"/>
                    <a:pt x="558558" y="516055"/>
                    <a:pt x="563874" y="458241"/>
                  </a:cubicBezTo>
                  <a:lnTo>
                    <a:pt x="894305" y="458241"/>
                  </a:lnTo>
                  <a:cubicBezTo>
                    <a:pt x="896947" y="458278"/>
                    <a:pt x="899514" y="457236"/>
                    <a:pt x="901412" y="455339"/>
                  </a:cubicBezTo>
                  <a:cubicBezTo>
                    <a:pt x="903310" y="453479"/>
                    <a:pt x="904388" y="450911"/>
                    <a:pt x="904388" y="448232"/>
                  </a:cubicBezTo>
                  <a:cubicBezTo>
                    <a:pt x="904538" y="388292"/>
                    <a:pt x="892556" y="328951"/>
                    <a:pt x="869153" y="273734"/>
                  </a:cubicBezTo>
                  <a:close/>
                  <a:moveTo>
                    <a:pt x="538539" y="480337"/>
                  </a:moveTo>
                  <a:cubicBezTo>
                    <a:pt x="520939" y="528148"/>
                    <a:pt x="467956" y="552630"/>
                    <a:pt x="420143" y="535106"/>
                  </a:cubicBezTo>
                  <a:cubicBezTo>
                    <a:pt x="383866" y="521712"/>
                    <a:pt x="359756" y="487184"/>
                    <a:pt x="359644" y="448526"/>
                  </a:cubicBezTo>
                  <a:cubicBezTo>
                    <a:pt x="359644" y="437624"/>
                    <a:pt x="361578" y="426834"/>
                    <a:pt x="365374" y="416602"/>
                  </a:cubicBezTo>
                  <a:cubicBezTo>
                    <a:pt x="366229" y="414332"/>
                    <a:pt x="367197" y="412137"/>
                    <a:pt x="368127" y="409942"/>
                  </a:cubicBezTo>
                  <a:lnTo>
                    <a:pt x="369280" y="407672"/>
                  </a:lnTo>
                  <a:lnTo>
                    <a:pt x="371364" y="403468"/>
                  </a:lnTo>
                  <a:lnTo>
                    <a:pt x="373076" y="400788"/>
                  </a:lnTo>
                  <a:cubicBezTo>
                    <a:pt x="373746" y="399636"/>
                    <a:pt x="374415" y="398519"/>
                    <a:pt x="375159" y="397366"/>
                  </a:cubicBezTo>
                  <a:cubicBezTo>
                    <a:pt x="375903" y="396213"/>
                    <a:pt x="376387" y="395542"/>
                    <a:pt x="377056" y="394612"/>
                  </a:cubicBezTo>
                  <a:lnTo>
                    <a:pt x="379252" y="391673"/>
                  </a:lnTo>
                  <a:lnTo>
                    <a:pt x="381522" y="388920"/>
                  </a:lnTo>
                  <a:lnTo>
                    <a:pt x="383792" y="386352"/>
                  </a:lnTo>
                  <a:lnTo>
                    <a:pt x="383866" y="386315"/>
                  </a:lnTo>
                  <a:cubicBezTo>
                    <a:pt x="384610" y="385385"/>
                    <a:pt x="385428" y="384529"/>
                    <a:pt x="386321" y="383748"/>
                  </a:cubicBezTo>
                  <a:lnTo>
                    <a:pt x="388703" y="381255"/>
                  </a:lnTo>
                  <a:lnTo>
                    <a:pt x="391455" y="378874"/>
                  </a:lnTo>
                  <a:lnTo>
                    <a:pt x="394023" y="376679"/>
                  </a:lnTo>
                  <a:lnTo>
                    <a:pt x="396887" y="374483"/>
                  </a:lnTo>
                  <a:lnTo>
                    <a:pt x="399641" y="372474"/>
                  </a:lnTo>
                  <a:lnTo>
                    <a:pt x="402692" y="370465"/>
                  </a:lnTo>
                  <a:lnTo>
                    <a:pt x="405557" y="368754"/>
                  </a:lnTo>
                  <a:lnTo>
                    <a:pt x="405557" y="368791"/>
                  </a:lnTo>
                  <a:cubicBezTo>
                    <a:pt x="406562" y="368120"/>
                    <a:pt x="407603" y="367562"/>
                    <a:pt x="408719" y="367079"/>
                  </a:cubicBezTo>
                  <a:lnTo>
                    <a:pt x="411770" y="365442"/>
                  </a:lnTo>
                  <a:lnTo>
                    <a:pt x="415008" y="364029"/>
                  </a:lnTo>
                  <a:lnTo>
                    <a:pt x="418133" y="362614"/>
                  </a:lnTo>
                  <a:lnTo>
                    <a:pt x="424830" y="360307"/>
                  </a:lnTo>
                  <a:lnTo>
                    <a:pt x="428179" y="359340"/>
                  </a:lnTo>
                  <a:lnTo>
                    <a:pt x="431714" y="358484"/>
                  </a:lnTo>
                  <a:lnTo>
                    <a:pt x="435136" y="357814"/>
                  </a:lnTo>
                  <a:lnTo>
                    <a:pt x="438076" y="357256"/>
                  </a:lnTo>
                  <a:lnTo>
                    <a:pt x="438745" y="357256"/>
                  </a:lnTo>
                  <a:lnTo>
                    <a:pt x="442429" y="356512"/>
                  </a:lnTo>
                  <a:lnTo>
                    <a:pt x="455080" y="356512"/>
                  </a:lnTo>
                  <a:cubicBezTo>
                    <a:pt x="457721" y="356624"/>
                    <a:pt x="460251" y="355656"/>
                    <a:pt x="462149" y="353833"/>
                  </a:cubicBezTo>
                  <a:cubicBezTo>
                    <a:pt x="462819" y="353275"/>
                    <a:pt x="463377" y="352605"/>
                    <a:pt x="463860" y="351861"/>
                  </a:cubicBezTo>
                  <a:lnTo>
                    <a:pt x="522907" y="257951"/>
                  </a:lnTo>
                  <a:lnTo>
                    <a:pt x="506238" y="367078"/>
                  </a:lnTo>
                  <a:cubicBezTo>
                    <a:pt x="505718" y="370687"/>
                    <a:pt x="507132" y="374296"/>
                    <a:pt x="509960" y="376603"/>
                  </a:cubicBezTo>
                  <a:cubicBezTo>
                    <a:pt x="531540" y="394240"/>
                    <a:pt x="544115" y="420582"/>
                    <a:pt x="544265" y="448413"/>
                  </a:cubicBezTo>
                  <a:cubicBezTo>
                    <a:pt x="544265" y="459315"/>
                    <a:pt x="542330" y="470142"/>
                    <a:pt x="538535" y="480337"/>
                  </a:cubicBezTo>
                  <a:close/>
                  <a:moveTo>
                    <a:pt x="563877" y="438443"/>
                  </a:moveTo>
                  <a:lnTo>
                    <a:pt x="563877" y="437475"/>
                  </a:lnTo>
                  <a:lnTo>
                    <a:pt x="563207" y="432712"/>
                  </a:lnTo>
                  <a:cubicBezTo>
                    <a:pt x="563207" y="430889"/>
                    <a:pt x="563207" y="429103"/>
                    <a:pt x="562463" y="427280"/>
                  </a:cubicBezTo>
                  <a:cubicBezTo>
                    <a:pt x="562388" y="426759"/>
                    <a:pt x="562388" y="426276"/>
                    <a:pt x="562463" y="425755"/>
                  </a:cubicBezTo>
                  <a:cubicBezTo>
                    <a:pt x="562463" y="424229"/>
                    <a:pt x="561719" y="422816"/>
                    <a:pt x="561421" y="421290"/>
                  </a:cubicBezTo>
                  <a:cubicBezTo>
                    <a:pt x="561123" y="419765"/>
                    <a:pt x="560268" y="417011"/>
                    <a:pt x="559598" y="414890"/>
                  </a:cubicBezTo>
                  <a:cubicBezTo>
                    <a:pt x="558929" y="412807"/>
                    <a:pt x="558631" y="411952"/>
                    <a:pt x="558072" y="410426"/>
                  </a:cubicBezTo>
                  <a:cubicBezTo>
                    <a:pt x="557514" y="408900"/>
                    <a:pt x="556547" y="406333"/>
                    <a:pt x="555691" y="404324"/>
                  </a:cubicBezTo>
                  <a:cubicBezTo>
                    <a:pt x="554836" y="402314"/>
                    <a:pt x="554463" y="401459"/>
                    <a:pt x="553794" y="400045"/>
                  </a:cubicBezTo>
                  <a:cubicBezTo>
                    <a:pt x="553124" y="398631"/>
                    <a:pt x="551896" y="396027"/>
                    <a:pt x="550854" y="394129"/>
                  </a:cubicBezTo>
                  <a:cubicBezTo>
                    <a:pt x="549812" y="392231"/>
                    <a:pt x="549441" y="391450"/>
                    <a:pt x="548585" y="390111"/>
                  </a:cubicBezTo>
                  <a:lnTo>
                    <a:pt x="548547" y="390148"/>
                  </a:lnTo>
                  <a:cubicBezTo>
                    <a:pt x="547431" y="388176"/>
                    <a:pt x="546166" y="386241"/>
                    <a:pt x="544827" y="384418"/>
                  </a:cubicBezTo>
                  <a:cubicBezTo>
                    <a:pt x="544083" y="383190"/>
                    <a:pt x="543190" y="381925"/>
                    <a:pt x="542334" y="380809"/>
                  </a:cubicBezTo>
                  <a:cubicBezTo>
                    <a:pt x="541478" y="379655"/>
                    <a:pt x="539283" y="376790"/>
                    <a:pt x="537683" y="374893"/>
                  </a:cubicBezTo>
                  <a:cubicBezTo>
                    <a:pt x="536046" y="372995"/>
                    <a:pt x="536157" y="372995"/>
                    <a:pt x="535302" y="372140"/>
                  </a:cubicBezTo>
                  <a:cubicBezTo>
                    <a:pt x="532809" y="369312"/>
                    <a:pt x="530167" y="366670"/>
                    <a:pt x="527414" y="364140"/>
                  </a:cubicBezTo>
                  <a:lnTo>
                    <a:pt x="548846" y="213635"/>
                  </a:lnTo>
                  <a:cubicBezTo>
                    <a:pt x="549404" y="210064"/>
                    <a:pt x="548065" y="206455"/>
                    <a:pt x="545311" y="204110"/>
                  </a:cubicBezTo>
                  <a:cubicBezTo>
                    <a:pt x="544417" y="203404"/>
                    <a:pt x="543413" y="202808"/>
                    <a:pt x="542334" y="202399"/>
                  </a:cubicBezTo>
                  <a:cubicBezTo>
                    <a:pt x="537869" y="200762"/>
                    <a:pt x="532884" y="202473"/>
                    <a:pt x="530354" y="206492"/>
                  </a:cubicBezTo>
                  <a:lnTo>
                    <a:pt x="449019" y="335822"/>
                  </a:lnTo>
                  <a:cubicBezTo>
                    <a:pt x="440536" y="336083"/>
                    <a:pt x="432164" y="337274"/>
                    <a:pt x="423941" y="339357"/>
                  </a:cubicBezTo>
                  <a:cubicBezTo>
                    <a:pt x="421188" y="340026"/>
                    <a:pt x="418509" y="340883"/>
                    <a:pt x="415942" y="341738"/>
                  </a:cubicBezTo>
                  <a:cubicBezTo>
                    <a:pt x="410696" y="343524"/>
                    <a:pt x="405562" y="345682"/>
                    <a:pt x="400613" y="348212"/>
                  </a:cubicBezTo>
                  <a:cubicBezTo>
                    <a:pt x="375535" y="361123"/>
                    <a:pt x="356224" y="383000"/>
                    <a:pt x="346514" y="409455"/>
                  </a:cubicBezTo>
                  <a:cubicBezTo>
                    <a:pt x="345062" y="413585"/>
                    <a:pt x="343797" y="417789"/>
                    <a:pt x="342792" y="422031"/>
                  </a:cubicBezTo>
                  <a:cubicBezTo>
                    <a:pt x="342792" y="423073"/>
                    <a:pt x="342792" y="424227"/>
                    <a:pt x="342048" y="425268"/>
                  </a:cubicBezTo>
                  <a:cubicBezTo>
                    <a:pt x="341156" y="429398"/>
                    <a:pt x="340522" y="433565"/>
                    <a:pt x="340151" y="437769"/>
                  </a:cubicBezTo>
                  <a:lnTo>
                    <a:pt x="92501" y="437769"/>
                  </a:lnTo>
                  <a:cubicBezTo>
                    <a:pt x="92910" y="423854"/>
                    <a:pt x="94138" y="409975"/>
                    <a:pt x="96184" y="396246"/>
                  </a:cubicBezTo>
                  <a:lnTo>
                    <a:pt x="149427" y="405771"/>
                  </a:lnTo>
                  <a:lnTo>
                    <a:pt x="151176" y="405771"/>
                  </a:lnTo>
                  <a:cubicBezTo>
                    <a:pt x="156497" y="405958"/>
                    <a:pt x="161073" y="401939"/>
                    <a:pt x="161519" y="396618"/>
                  </a:cubicBezTo>
                  <a:cubicBezTo>
                    <a:pt x="161966" y="391298"/>
                    <a:pt x="158170" y="386535"/>
                    <a:pt x="152887" y="385828"/>
                  </a:cubicBezTo>
                  <a:lnTo>
                    <a:pt x="99644" y="376303"/>
                  </a:lnTo>
                  <a:cubicBezTo>
                    <a:pt x="106787" y="342072"/>
                    <a:pt x="119029" y="309070"/>
                    <a:pt x="135921" y="278415"/>
                  </a:cubicBezTo>
                  <a:lnTo>
                    <a:pt x="182392" y="305167"/>
                  </a:lnTo>
                  <a:cubicBezTo>
                    <a:pt x="183881" y="306060"/>
                    <a:pt x="185630" y="306506"/>
                    <a:pt x="187341" y="306506"/>
                  </a:cubicBezTo>
                  <a:cubicBezTo>
                    <a:pt x="192215" y="306916"/>
                    <a:pt x="196642" y="303791"/>
                    <a:pt x="197908" y="299102"/>
                  </a:cubicBezTo>
                  <a:cubicBezTo>
                    <a:pt x="199136" y="294414"/>
                    <a:pt x="196829" y="289503"/>
                    <a:pt x="192402" y="287456"/>
                  </a:cubicBezTo>
                  <a:lnTo>
                    <a:pt x="146005" y="261262"/>
                  </a:lnTo>
                  <a:cubicBezTo>
                    <a:pt x="164571" y="231385"/>
                    <a:pt x="187417" y="204410"/>
                    <a:pt x="213833" y="181155"/>
                  </a:cubicBezTo>
                  <a:lnTo>
                    <a:pt x="247729" y="221525"/>
                  </a:lnTo>
                  <a:cubicBezTo>
                    <a:pt x="249663" y="223832"/>
                    <a:pt x="252491" y="225171"/>
                    <a:pt x="255468" y="225171"/>
                  </a:cubicBezTo>
                  <a:cubicBezTo>
                    <a:pt x="257625" y="225208"/>
                    <a:pt x="259747" y="224502"/>
                    <a:pt x="261458" y="223162"/>
                  </a:cubicBezTo>
                  <a:cubicBezTo>
                    <a:pt x="263504" y="221451"/>
                    <a:pt x="264806" y="218995"/>
                    <a:pt x="265030" y="216316"/>
                  </a:cubicBezTo>
                  <a:cubicBezTo>
                    <a:pt x="265290" y="213674"/>
                    <a:pt x="264435" y="210995"/>
                    <a:pt x="262686" y="208986"/>
                  </a:cubicBezTo>
                  <a:lnTo>
                    <a:pt x="229088" y="168394"/>
                  </a:lnTo>
                  <a:cubicBezTo>
                    <a:pt x="256547" y="146777"/>
                    <a:pt x="287094" y="129363"/>
                    <a:pt x="319650" y="116676"/>
                  </a:cubicBezTo>
                  <a:lnTo>
                    <a:pt x="337658" y="165343"/>
                  </a:lnTo>
                  <a:cubicBezTo>
                    <a:pt x="339109" y="169323"/>
                    <a:pt x="342942" y="171965"/>
                    <a:pt x="347183" y="171928"/>
                  </a:cubicBezTo>
                  <a:cubicBezTo>
                    <a:pt x="348337" y="171928"/>
                    <a:pt x="349490" y="171704"/>
                    <a:pt x="350606" y="171333"/>
                  </a:cubicBezTo>
                  <a:cubicBezTo>
                    <a:pt x="353211" y="170589"/>
                    <a:pt x="355369" y="168728"/>
                    <a:pt x="356560" y="166272"/>
                  </a:cubicBezTo>
                  <a:cubicBezTo>
                    <a:pt x="357712" y="163817"/>
                    <a:pt x="357787" y="160989"/>
                    <a:pt x="356708" y="158496"/>
                  </a:cubicBezTo>
                  <a:lnTo>
                    <a:pt x="339072" y="109903"/>
                  </a:lnTo>
                  <a:cubicBezTo>
                    <a:pt x="372186" y="99113"/>
                    <a:pt x="406677" y="93272"/>
                    <a:pt x="441465" y="92565"/>
                  </a:cubicBezTo>
                  <a:lnTo>
                    <a:pt x="441465" y="143241"/>
                  </a:lnTo>
                  <a:cubicBezTo>
                    <a:pt x="441986" y="148413"/>
                    <a:pt x="446339" y="152357"/>
                    <a:pt x="451511" y="152357"/>
                  </a:cubicBezTo>
                  <a:cubicBezTo>
                    <a:pt x="456721" y="152357"/>
                    <a:pt x="461074" y="148413"/>
                    <a:pt x="461595" y="143241"/>
                  </a:cubicBezTo>
                  <a:lnTo>
                    <a:pt x="461595" y="92565"/>
                  </a:lnTo>
                  <a:cubicBezTo>
                    <a:pt x="496234" y="93049"/>
                    <a:pt x="530614" y="98518"/>
                    <a:pt x="563693" y="108861"/>
                  </a:cubicBezTo>
                  <a:lnTo>
                    <a:pt x="545982" y="157528"/>
                  </a:lnTo>
                  <a:cubicBezTo>
                    <a:pt x="544122" y="162775"/>
                    <a:pt x="546763" y="168541"/>
                    <a:pt x="551973" y="170477"/>
                  </a:cubicBezTo>
                  <a:cubicBezTo>
                    <a:pt x="553089" y="170849"/>
                    <a:pt x="554242" y="171072"/>
                    <a:pt x="555396" y="171072"/>
                  </a:cubicBezTo>
                  <a:cubicBezTo>
                    <a:pt x="559637" y="171035"/>
                    <a:pt x="563395" y="168431"/>
                    <a:pt x="564921" y="164486"/>
                  </a:cubicBezTo>
                  <a:lnTo>
                    <a:pt x="582632" y="115522"/>
                  </a:lnTo>
                  <a:cubicBezTo>
                    <a:pt x="615300" y="128061"/>
                    <a:pt x="645921" y="145362"/>
                    <a:pt x="673529" y="166868"/>
                  </a:cubicBezTo>
                  <a:lnTo>
                    <a:pt x="639596" y="207535"/>
                  </a:lnTo>
                  <a:cubicBezTo>
                    <a:pt x="636098" y="211813"/>
                    <a:pt x="636657" y="218139"/>
                    <a:pt x="640824" y="221748"/>
                  </a:cubicBezTo>
                  <a:cubicBezTo>
                    <a:pt x="645140" y="225208"/>
                    <a:pt x="651391" y="224650"/>
                    <a:pt x="655037" y="220483"/>
                  </a:cubicBezTo>
                  <a:lnTo>
                    <a:pt x="689044" y="179890"/>
                  </a:lnTo>
                  <a:cubicBezTo>
                    <a:pt x="695220" y="185211"/>
                    <a:pt x="701247" y="190754"/>
                    <a:pt x="707052" y="196559"/>
                  </a:cubicBezTo>
                  <a:lnTo>
                    <a:pt x="707052" y="196596"/>
                  </a:lnTo>
                  <a:cubicBezTo>
                    <a:pt x="725879" y="215609"/>
                    <a:pt x="742548" y="236668"/>
                    <a:pt x="756761" y="259364"/>
                  </a:cubicBezTo>
                  <a:lnTo>
                    <a:pt x="710290" y="286227"/>
                  </a:lnTo>
                  <a:cubicBezTo>
                    <a:pt x="705899" y="288237"/>
                    <a:pt x="703593" y="293148"/>
                    <a:pt x="704783" y="297798"/>
                  </a:cubicBezTo>
                  <a:cubicBezTo>
                    <a:pt x="706011" y="302487"/>
                    <a:pt x="710401" y="305649"/>
                    <a:pt x="715239" y="305277"/>
                  </a:cubicBezTo>
                  <a:cubicBezTo>
                    <a:pt x="716987" y="305240"/>
                    <a:pt x="718735" y="304794"/>
                    <a:pt x="720298" y="303938"/>
                  </a:cubicBezTo>
                  <a:lnTo>
                    <a:pt x="766956" y="277001"/>
                  </a:lnTo>
                  <a:lnTo>
                    <a:pt x="766956" y="276962"/>
                  </a:lnTo>
                  <a:cubicBezTo>
                    <a:pt x="784145" y="307770"/>
                    <a:pt x="796536" y="341033"/>
                    <a:pt x="803716" y="375565"/>
                  </a:cubicBezTo>
                  <a:lnTo>
                    <a:pt x="750361" y="385090"/>
                  </a:lnTo>
                  <a:cubicBezTo>
                    <a:pt x="744929" y="386095"/>
                    <a:pt x="741283" y="391341"/>
                    <a:pt x="742287" y="396811"/>
                  </a:cubicBezTo>
                  <a:cubicBezTo>
                    <a:pt x="743106" y="401462"/>
                    <a:pt x="747088" y="404922"/>
                    <a:pt x="751812" y="405108"/>
                  </a:cubicBezTo>
                  <a:lnTo>
                    <a:pt x="753524" y="405108"/>
                  </a:lnTo>
                  <a:lnTo>
                    <a:pt x="806879" y="395583"/>
                  </a:lnTo>
                  <a:cubicBezTo>
                    <a:pt x="809037" y="409908"/>
                    <a:pt x="810339" y="424344"/>
                    <a:pt x="810786" y="438818"/>
                  </a:cubicBezTo>
                  <a:close/>
                  <a:moveTo>
                    <a:pt x="831139" y="438443"/>
                  </a:moveTo>
                  <a:cubicBezTo>
                    <a:pt x="828683" y="340440"/>
                    <a:pt x="787979" y="247352"/>
                    <a:pt x="717811" y="178924"/>
                  </a:cubicBezTo>
                  <a:cubicBezTo>
                    <a:pt x="647638" y="110538"/>
                    <a:pt x="553504" y="72254"/>
                    <a:pt x="455502" y="72292"/>
                  </a:cubicBezTo>
                  <a:lnTo>
                    <a:pt x="448432" y="72292"/>
                  </a:lnTo>
                  <a:cubicBezTo>
                    <a:pt x="350506" y="72255"/>
                    <a:pt x="256408" y="110503"/>
                    <a:pt x="186237" y="178820"/>
                  </a:cubicBezTo>
                  <a:cubicBezTo>
                    <a:pt x="116028" y="247169"/>
                    <a:pt x="75319" y="340221"/>
                    <a:pt x="72795" y="438157"/>
                  </a:cubicBezTo>
                  <a:lnTo>
                    <a:pt x="19738" y="438157"/>
                  </a:lnTo>
                  <a:cubicBezTo>
                    <a:pt x="22491" y="326429"/>
                    <a:pt x="68776" y="220196"/>
                    <a:pt x="148696" y="142101"/>
                  </a:cubicBezTo>
                  <a:cubicBezTo>
                    <a:pt x="228654" y="64041"/>
                    <a:pt x="335920" y="20247"/>
                    <a:pt x="447696" y="20095"/>
                  </a:cubicBezTo>
                  <a:lnTo>
                    <a:pt x="456253" y="20095"/>
                  </a:lnTo>
                  <a:cubicBezTo>
                    <a:pt x="568020" y="20244"/>
                    <a:pt x="675291" y="64037"/>
                    <a:pt x="755252" y="142101"/>
                  </a:cubicBezTo>
                  <a:cubicBezTo>
                    <a:pt x="835173" y="220198"/>
                    <a:pt x="881459" y="326429"/>
                    <a:pt x="884211" y="438157"/>
                  </a:cubicBezTo>
                  <a:close/>
                  <a:moveTo>
                    <a:pt x="451958" y="386055"/>
                  </a:moveTo>
                  <a:cubicBezTo>
                    <a:pt x="426806" y="386055"/>
                    <a:pt x="404110" y="401198"/>
                    <a:pt x="394511" y="424452"/>
                  </a:cubicBezTo>
                  <a:cubicBezTo>
                    <a:pt x="384875" y="447669"/>
                    <a:pt x="390195" y="474421"/>
                    <a:pt x="407980" y="492206"/>
                  </a:cubicBezTo>
                  <a:cubicBezTo>
                    <a:pt x="425765" y="509992"/>
                    <a:pt x="452517" y="515312"/>
                    <a:pt x="475772" y="505713"/>
                  </a:cubicBezTo>
                  <a:cubicBezTo>
                    <a:pt x="498989" y="496076"/>
                    <a:pt x="514169" y="473380"/>
                    <a:pt x="514169" y="448228"/>
                  </a:cubicBezTo>
                  <a:cubicBezTo>
                    <a:pt x="514095" y="413922"/>
                    <a:pt x="486301" y="386092"/>
                    <a:pt x="451959" y="386055"/>
                  </a:cubicBezTo>
                  <a:close/>
                  <a:moveTo>
                    <a:pt x="451958" y="489859"/>
                  </a:moveTo>
                  <a:cubicBezTo>
                    <a:pt x="434917" y="489859"/>
                    <a:pt x="419551" y="479590"/>
                    <a:pt x="413040" y="463850"/>
                  </a:cubicBezTo>
                  <a:cubicBezTo>
                    <a:pt x="406529" y="448112"/>
                    <a:pt x="410175" y="429992"/>
                    <a:pt x="422230" y="417937"/>
                  </a:cubicBezTo>
                  <a:cubicBezTo>
                    <a:pt x="434285" y="405919"/>
                    <a:pt x="452405" y="402348"/>
                    <a:pt x="468143" y="408896"/>
                  </a:cubicBezTo>
                  <a:cubicBezTo>
                    <a:pt x="483881" y="415445"/>
                    <a:pt x="494114" y="430811"/>
                    <a:pt x="494077" y="447851"/>
                  </a:cubicBezTo>
                  <a:cubicBezTo>
                    <a:pt x="494002" y="471069"/>
                    <a:pt x="475175" y="489859"/>
                    <a:pt x="451958" y="489859"/>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1" name="Group 10">
            <a:extLst>
              <a:ext uri="{FF2B5EF4-FFF2-40B4-BE49-F238E27FC236}">
                <a16:creationId xmlns:a16="http://schemas.microsoft.com/office/drawing/2014/main" id="{959F3132-A493-79F6-F42A-ABA832D5C780}"/>
              </a:ext>
            </a:extLst>
          </p:cNvPr>
          <p:cNvGrpSpPr/>
          <p:nvPr/>
        </p:nvGrpSpPr>
        <p:grpSpPr>
          <a:xfrm>
            <a:off x="6283324" y="4631372"/>
            <a:ext cx="5617189" cy="1431421"/>
            <a:chOff x="8200571" y="4215591"/>
            <a:chExt cx="5617189" cy="1431421"/>
          </a:xfrm>
        </p:grpSpPr>
        <p:sp>
          <p:nvSpPr>
            <p:cNvPr id="140" name="Google Shape;4891;p434">
              <a:extLst>
                <a:ext uri="{FF2B5EF4-FFF2-40B4-BE49-F238E27FC236}">
                  <a16:creationId xmlns:a16="http://schemas.microsoft.com/office/drawing/2014/main" id="{D117D4DE-6EE4-8AD2-66B5-BD6963DD9656}"/>
                </a:ext>
              </a:extLst>
            </p:cNvPr>
            <p:cNvSpPr txBox="1">
              <a:spLocks/>
            </p:cNvSpPr>
            <p:nvPr/>
          </p:nvSpPr>
          <p:spPr>
            <a:xfrm>
              <a:off x="8357409" y="4731258"/>
              <a:ext cx="5336205"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ct val="0"/>
                </a:spcAft>
                <a:buClr>
                  <a:srgbClr val="000000"/>
                </a:buClr>
                <a:buSzPts val="1100"/>
                <a:buFont typeface="Arial"/>
                <a:buNone/>
                <a:tabLst/>
                <a:defRPr/>
              </a:pPr>
              <a:r>
                <a:rPr kumimoji="0" lang="en-US" sz="1400" b="1" i="0" u="none" strike="noStrike" kern="1200" cap="none" spc="0" normalizeH="0" baseline="0" noProof="0">
                  <a:ln>
                    <a:noFill/>
                  </a:ln>
                  <a:solidFill>
                    <a:srgbClr val="834895">
                      <a:lumMod val="60000"/>
                      <a:lumOff val="40000"/>
                    </a:srgbClr>
                  </a:solidFill>
                  <a:effectLst/>
                  <a:uLnTx/>
                  <a:uFillTx/>
                  <a:latin typeface="Arial" panose="020B0604020202020204"/>
                  <a:ea typeface="+mn-ea"/>
                  <a:cs typeface="+mn-cs"/>
                </a:rPr>
                <a:t>Built-In Cyber Resilience = Proven Protection</a:t>
              </a:r>
            </a:p>
          </p:txBody>
        </p:sp>
        <p:sp>
          <p:nvSpPr>
            <p:cNvPr id="141" name="Rectangle 140">
              <a:extLst>
                <a:ext uri="{FF2B5EF4-FFF2-40B4-BE49-F238E27FC236}">
                  <a16:creationId xmlns:a16="http://schemas.microsoft.com/office/drawing/2014/main" id="{CB8EE2EE-65D2-5C74-6FA8-08EAC6E49194}"/>
                </a:ext>
              </a:extLst>
            </p:cNvPr>
            <p:cNvSpPr>
              <a:spLocks/>
            </p:cNvSpPr>
            <p:nvPr/>
          </p:nvSpPr>
          <p:spPr>
            <a:xfrm>
              <a:off x="8357409" y="5000681"/>
              <a:ext cx="5460351"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fontAlgn="base">
                <a:spcAft>
                  <a:spcPct val="0"/>
                </a:spcAf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Air-gapped by design with integrated Threat Scan and Cleanroom Recovery, Commvault Cloud</a:t>
              </a:r>
              <a:r>
                <a:rPr lang="en-US" sz="1400">
                  <a:solidFill>
                    <a:srgbClr val="FFFFFF"/>
                  </a:solidFill>
                  <a:latin typeface="Arial" panose="020B0604020202020204"/>
                </a:rPr>
                <a:t> helps</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 </a:t>
              </a:r>
              <a:r>
                <a:rPr lang="en-US" sz="1400">
                  <a:solidFill>
                    <a:srgbClr val="FFFFFF"/>
                  </a:solidFill>
                  <a:latin typeface="Arial" panose="020B0604020202020204"/>
                </a:rPr>
                <a:t>keep</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 your backups secure and your business recoverable after any attack</a:t>
              </a:r>
            </a:p>
          </p:txBody>
        </p:sp>
        <p:cxnSp>
          <p:nvCxnSpPr>
            <p:cNvPr id="142" name="Straight Connector 141">
              <a:extLst>
                <a:ext uri="{FF2B5EF4-FFF2-40B4-BE49-F238E27FC236}">
                  <a16:creationId xmlns:a16="http://schemas.microsoft.com/office/drawing/2014/main" id="{53CF0B4A-D5FB-D474-CD3B-8D7FAE38D276}"/>
                </a:ext>
              </a:extLst>
            </p:cNvPr>
            <p:cNvCxnSpPr>
              <a:cxnSpLocks/>
            </p:cNvCxnSpPr>
            <p:nvPr/>
          </p:nvCxnSpPr>
          <p:spPr>
            <a:xfrm>
              <a:off x="8200571" y="4215591"/>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67EF43B1-3F33-49B2-3251-30F8149E64E8}"/>
                </a:ext>
              </a:extLst>
            </p:cNvPr>
            <p:cNvCxnSpPr>
              <a:cxnSpLocks/>
            </p:cNvCxnSpPr>
            <p:nvPr/>
          </p:nvCxnSpPr>
          <p:spPr>
            <a:xfrm>
              <a:off x="8200571" y="4675755"/>
              <a:ext cx="0" cy="971257"/>
            </a:xfrm>
            <a:prstGeom prst="line">
              <a:avLst/>
            </a:prstGeom>
          </p:spPr>
          <p:style>
            <a:lnRef idx="1">
              <a:schemeClr val="accent1"/>
            </a:lnRef>
            <a:fillRef idx="0">
              <a:schemeClr val="accent1"/>
            </a:fillRef>
            <a:effectRef idx="0">
              <a:schemeClr val="accent1"/>
            </a:effectRef>
            <a:fontRef idx="minor">
              <a:schemeClr val="tx1"/>
            </a:fontRef>
          </p:style>
        </p:cxnSp>
        <p:sp>
          <p:nvSpPr>
            <p:cNvPr id="179" name="Freeform: Shape 178">
              <a:extLst>
                <a:ext uri="{FF2B5EF4-FFF2-40B4-BE49-F238E27FC236}">
                  <a16:creationId xmlns:a16="http://schemas.microsoft.com/office/drawing/2014/main" id="{F5552A68-A6FB-8D1E-E271-E4C1815C5AF0}"/>
                </a:ext>
              </a:extLst>
            </p:cNvPr>
            <p:cNvSpPr/>
            <p:nvPr/>
          </p:nvSpPr>
          <p:spPr>
            <a:xfrm>
              <a:off x="8357409" y="4281026"/>
              <a:ext cx="313708" cy="329294"/>
            </a:xfrm>
            <a:custGeom>
              <a:avLst/>
              <a:gdLst>
                <a:gd name="connsiteX0" fmla="*/ 409942 w 876226"/>
                <a:gd name="connsiteY0" fmla="*/ 914239 h 919764"/>
                <a:gd name="connsiteX1" fmla="*/ 178475 w 876226"/>
                <a:gd name="connsiteY1" fmla="*/ 758344 h 919764"/>
                <a:gd name="connsiteX2" fmla="*/ 72 w 876226"/>
                <a:gd name="connsiteY2" fmla="*/ 198226 h 919764"/>
                <a:gd name="connsiteX3" fmla="*/ 59752 w 876226"/>
                <a:gd name="connsiteY3" fmla="*/ 121840 h 919764"/>
                <a:gd name="connsiteX4" fmla="*/ 405966 w 876226"/>
                <a:gd name="connsiteY4" fmla="*/ 7283 h 919764"/>
                <a:gd name="connsiteX5" fmla="*/ 470260 w 876226"/>
                <a:gd name="connsiteY5" fmla="*/ 7283 h 919764"/>
                <a:gd name="connsiteX6" fmla="*/ 816475 w 876226"/>
                <a:gd name="connsiteY6" fmla="*/ 121840 h 919764"/>
                <a:gd name="connsiteX7" fmla="*/ 876155 w 876226"/>
                <a:gd name="connsiteY7" fmla="*/ 198226 h 919764"/>
                <a:gd name="connsiteX8" fmla="*/ 697751 w 876226"/>
                <a:gd name="connsiteY8" fmla="*/ 758344 h 919764"/>
                <a:gd name="connsiteX9" fmla="*/ 466284 w 876226"/>
                <a:gd name="connsiteY9" fmla="*/ 914239 h 919764"/>
                <a:gd name="connsiteX10" fmla="*/ 409953 w 876226"/>
                <a:gd name="connsiteY10" fmla="*/ 914239 h 919764"/>
                <a:gd name="connsiteX11" fmla="*/ 420025 w 876226"/>
                <a:gd name="connsiteY11" fmla="*/ 889422 h 919764"/>
                <a:gd name="connsiteX12" fmla="*/ 456191 w 876226"/>
                <a:gd name="connsiteY12" fmla="*/ 889422 h 919764"/>
                <a:gd name="connsiteX13" fmla="*/ 677761 w 876226"/>
                <a:gd name="connsiteY13" fmla="*/ 740480 h 919764"/>
                <a:gd name="connsiteX14" fmla="*/ 849364 w 876226"/>
                <a:gd name="connsiteY14" fmla="*/ 197069 h 919764"/>
                <a:gd name="connsiteX15" fmla="*/ 811115 w 876226"/>
                <a:gd name="connsiteY15" fmla="*/ 148067 h 919764"/>
                <a:gd name="connsiteX16" fmla="*/ 458728 w 876226"/>
                <a:gd name="connsiteY16" fmla="*/ 31424 h 919764"/>
                <a:gd name="connsiteX17" fmla="*/ 417503 w 876226"/>
                <a:gd name="connsiteY17" fmla="*/ 31424 h 919764"/>
                <a:gd name="connsiteX18" fmla="*/ 65116 w 876226"/>
                <a:gd name="connsiteY18" fmla="*/ 148067 h 919764"/>
                <a:gd name="connsiteX19" fmla="*/ 26868 w 876226"/>
                <a:gd name="connsiteY19" fmla="*/ 197069 h 919764"/>
                <a:gd name="connsiteX20" fmla="*/ 198470 w 876226"/>
                <a:gd name="connsiteY20" fmla="*/ 740480 h 919764"/>
                <a:gd name="connsiteX21" fmla="*/ 420040 w 876226"/>
                <a:gd name="connsiteY21" fmla="*/ 889422 h 919764"/>
                <a:gd name="connsiteX22" fmla="*/ 433048 w 876226"/>
                <a:gd name="connsiteY22" fmla="*/ 857461 h 919764"/>
                <a:gd name="connsiteX23" fmla="*/ 224203 w 876226"/>
                <a:gd name="connsiteY23" fmla="*/ 717529 h 919764"/>
                <a:gd name="connsiteX24" fmla="*/ 61306 w 876226"/>
                <a:gd name="connsiteY24" fmla="*/ 195588 h 919764"/>
                <a:gd name="connsiteX25" fmla="*/ 71985 w 876226"/>
                <a:gd name="connsiteY25" fmla="*/ 181858 h 919764"/>
                <a:gd name="connsiteX26" fmla="*/ 432334 w 876226"/>
                <a:gd name="connsiteY26" fmla="*/ 62577 h 919764"/>
                <a:gd name="connsiteX27" fmla="*/ 443868 w 876226"/>
                <a:gd name="connsiteY27" fmla="*/ 62577 h 919764"/>
                <a:gd name="connsiteX28" fmla="*/ 804218 w 876226"/>
                <a:gd name="connsiteY28" fmla="*/ 181858 h 919764"/>
                <a:gd name="connsiteX29" fmla="*/ 814897 w 876226"/>
                <a:gd name="connsiteY29" fmla="*/ 195588 h 919764"/>
                <a:gd name="connsiteX30" fmla="*/ 652000 w 876226"/>
                <a:gd name="connsiteY30" fmla="*/ 717529 h 919764"/>
                <a:gd name="connsiteX31" fmla="*/ 443155 w 876226"/>
                <a:gd name="connsiteY31" fmla="*/ 857461 h 919764"/>
                <a:gd name="connsiteX32" fmla="*/ 433034 w 876226"/>
                <a:gd name="connsiteY32" fmla="*/ 857461 h 919764"/>
                <a:gd name="connsiteX33" fmla="*/ 438108 w 876226"/>
                <a:gd name="connsiteY33" fmla="*/ 830597 h 919764"/>
                <a:gd name="connsiteX34" fmla="*/ 787628 w 876226"/>
                <a:gd name="connsiteY34" fmla="*/ 205776 h 919764"/>
                <a:gd name="connsiteX35" fmla="*/ 438108 w 876226"/>
                <a:gd name="connsiteY35" fmla="*/ 89505 h 919764"/>
                <a:gd name="connsiteX36" fmla="*/ 88588 w 876226"/>
                <a:gd name="connsiteY36" fmla="*/ 205776 h 919764"/>
                <a:gd name="connsiteX37" fmla="*/ 438108 w 876226"/>
                <a:gd name="connsiteY37" fmla="*/ 830597 h 919764"/>
                <a:gd name="connsiteX38" fmla="*/ 438108 w 876226"/>
                <a:gd name="connsiteY38" fmla="*/ 241800 h 919764"/>
                <a:gd name="connsiteX39" fmla="*/ 630323 w 876226"/>
                <a:gd name="connsiteY39" fmla="*/ 434015 h 919764"/>
                <a:gd name="connsiteX40" fmla="*/ 438108 w 876226"/>
                <a:gd name="connsiteY40" fmla="*/ 626191 h 919764"/>
                <a:gd name="connsiteX41" fmla="*/ 245893 w 876226"/>
                <a:gd name="connsiteY41" fmla="*/ 434015 h 919764"/>
                <a:gd name="connsiteX42" fmla="*/ 438108 w 876226"/>
                <a:gd name="connsiteY42" fmla="*/ 241800 h 919764"/>
                <a:gd name="connsiteX43" fmla="*/ 438108 w 876226"/>
                <a:gd name="connsiteY43" fmla="*/ 268589 h 919764"/>
                <a:gd name="connsiteX44" fmla="*/ 272687 w 876226"/>
                <a:gd name="connsiteY44" fmla="*/ 434010 h 919764"/>
                <a:gd name="connsiteX45" fmla="*/ 438108 w 876226"/>
                <a:gd name="connsiteY45" fmla="*/ 599392 h 919764"/>
                <a:gd name="connsiteX46" fmla="*/ 603529 w 876226"/>
                <a:gd name="connsiteY46" fmla="*/ 434010 h 919764"/>
                <a:gd name="connsiteX47" fmla="*/ 438108 w 876226"/>
                <a:gd name="connsiteY47" fmla="*/ 268589 h 919764"/>
                <a:gd name="connsiteX48" fmla="*/ 361611 w 876226"/>
                <a:gd name="connsiteY48" fmla="*/ 436658 h 919764"/>
                <a:gd name="connsiteX49" fmla="*/ 362690 w 876226"/>
                <a:gd name="connsiteY49" fmla="*/ 417756 h 919764"/>
                <a:gd name="connsiteX50" fmla="*/ 381591 w 876226"/>
                <a:gd name="connsiteY50" fmla="*/ 418835 h 919764"/>
                <a:gd name="connsiteX51" fmla="*/ 415934 w 876226"/>
                <a:gd name="connsiteY51" fmla="*/ 457345 h 919764"/>
                <a:gd name="connsiteX52" fmla="*/ 495408 w 876226"/>
                <a:gd name="connsiteY52" fmla="*/ 381703 h 919764"/>
                <a:gd name="connsiteX53" fmla="*/ 514310 w 876226"/>
                <a:gd name="connsiteY53" fmla="*/ 382187 h 919764"/>
                <a:gd name="connsiteX54" fmla="*/ 513863 w 876226"/>
                <a:gd name="connsiteY54" fmla="*/ 401088 h 919764"/>
                <a:gd name="connsiteX55" fmla="*/ 424418 w 876226"/>
                <a:gd name="connsiteY55" fmla="*/ 486292 h 919764"/>
                <a:gd name="connsiteX56" fmla="*/ 414633 w 876226"/>
                <a:gd name="connsiteY56" fmla="*/ 489976 h 919764"/>
                <a:gd name="connsiteX57" fmla="*/ 405182 w 876226"/>
                <a:gd name="connsiteY57" fmla="*/ 485511 h 919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876226" h="919764">
                  <a:moveTo>
                    <a:pt x="409942" y="914239"/>
                  </a:moveTo>
                  <a:cubicBezTo>
                    <a:pt x="324143" y="879302"/>
                    <a:pt x="244779" y="832644"/>
                    <a:pt x="178475" y="758344"/>
                  </a:cubicBezTo>
                  <a:cubicBezTo>
                    <a:pt x="82892" y="651225"/>
                    <a:pt x="12530" y="484128"/>
                    <a:pt x="72" y="198226"/>
                  </a:cubicBezTo>
                  <a:cubicBezTo>
                    <a:pt x="-1528" y="161577"/>
                    <a:pt x="23773" y="129170"/>
                    <a:pt x="59752" y="121840"/>
                  </a:cubicBezTo>
                  <a:cubicBezTo>
                    <a:pt x="175804" y="98102"/>
                    <a:pt x="291104" y="62049"/>
                    <a:pt x="405966" y="7283"/>
                  </a:cubicBezTo>
                  <a:cubicBezTo>
                    <a:pt x="426281" y="-2428"/>
                    <a:pt x="449945" y="-2428"/>
                    <a:pt x="470260" y="7283"/>
                  </a:cubicBezTo>
                  <a:cubicBezTo>
                    <a:pt x="585122" y="62052"/>
                    <a:pt x="700422" y="98106"/>
                    <a:pt x="816475" y="121840"/>
                  </a:cubicBezTo>
                  <a:cubicBezTo>
                    <a:pt x="852454" y="129170"/>
                    <a:pt x="877755" y="161578"/>
                    <a:pt x="876155" y="198226"/>
                  </a:cubicBezTo>
                  <a:cubicBezTo>
                    <a:pt x="863690" y="484128"/>
                    <a:pt x="793332" y="651225"/>
                    <a:pt x="697751" y="758344"/>
                  </a:cubicBezTo>
                  <a:cubicBezTo>
                    <a:pt x="631449" y="832646"/>
                    <a:pt x="552086" y="879302"/>
                    <a:pt x="466284" y="914239"/>
                  </a:cubicBezTo>
                  <a:cubicBezTo>
                    <a:pt x="448239" y="921606"/>
                    <a:pt x="427999" y="921606"/>
                    <a:pt x="409953" y="914239"/>
                  </a:cubicBezTo>
                  <a:close/>
                  <a:moveTo>
                    <a:pt x="420025" y="889422"/>
                  </a:moveTo>
                  <a:cubicBezTo>
                    <a:pt x="431634" y="894147"/>
                    <a:pt x="444582" y="894147"/>
                    <a:pt x="456191" y="889422"/>
                  </a:cubicBezTo>
                  <a:cubicBezTo>
                    <a:pt x="538232" y="855973"/>
                    <a:pt x="614325" y="811585"/>
                    <a:pt x="677761" y="740480"/>
                  </a:cubicBezTo>
                  <a:cubicBezTo>
                    <a:pt x="770444" y="636676"/>
                    <a:pt x="837305" y="474227"/>
                    <a:pt x="849364" y="197069"/>
                  </a:cubicBezTo>
                  <a:cubicBezTo>
                    <a:pt x="850406" y="173553"/>
                    <a:pt x="834183" y="152793"/>
                    <a:pt x="811115" y="148067"/>
                  </a:cubicBezTo>
                  <a:cubicBezTo>
                    <a:pt x="692986" y="123920"/>
                    <a:pt x="575628" y="87197"/>
                    <a:pt x="458728" y="31424"/>
                  </a:cubicBezTo>
                  <a:cubicBezTo>
                    <a:pt x="445706" y="25211"/>
                    <a:pt x="430526" y="25211"/>
                    <a:pt x="417503" y="31424"/>
                  </a:cubicBezTo>
                  <a:cubicBezTo>
                    <a:pt x="300603" y="87198"/>
                    <a:pt x="183245" y="123920"/>
                    <a:pt x="65116" y="148067"/>
                  </a:cubicBezTo>
                  <a:cubicBezTo>
                    <a:pt x="42048" y="152793"/>
                    <a:pt x="25825" y="173554"/>
                    <a:pt x="26868" y="197069"/>
                  </a:cubicBezTo>
                  <a:cubicBezTo>
                    <a:pt x="38922" y="474227"/>
                    <a:pt x="105784" y="636667"/>
                    <a:pt x="198470" y="740480"/>
                  </a:cubicBezTo>
                  <a:cubicBezTo>
                    <a:pt x="261908" y="811582"/>
                    <a:pt x="337992" y="855970"/>
                    <a:pt x="420040" y="889422"/>
                  </a:cubicBezTo>
                  <a:close/>
                  <a:moveTo>
                    <a:pt x="433048" y="857461"/>
                  </a:moveTo>
                  <a:cubicBezTo>
                    <a:pt x="355769" y="825984"/>
                    <a:pt x="283924" y="784460"/>
                    <a:pt x="224203" y="717529"/>
                  </a:cubicBezTo>
                  <a:cubicBezTo>
                    <a:pt x="135278" y="617926"/>
                    <a:pt x="72879" y="461507"/>
                    <a:pt x="61306" y="195588"/>
                  </a:cubicBezTo>
                  <a:cubicBezTo>
                    <a:pt x="61008" y="189002"/>
                    <a:pt x="65548" y="183197"/>
                    <a:pt x="71985" y="181858"/>
                  </a:cubicBezTo>
                  <a:cubicBezTo>
                    <a:pt x="192800" y="157190"/>
                    <a:pt x="312786" y="119573"/>
                    <a:pt x="432334" y="62577"/>
                  </a:cubicBezTo>
                  <a:cubicBezTo>
                    <a:pt x="435981" y="60865"/>
                    <a:pt x="440222" y="60865"/>
                    <a:pt x="443868" y="62577"/>
                  </a:cubicBezTo>
                  <a:cubicBezTo>
                    <a:pt x="563417" y="119578"/>
                    <a:pt x="683403" y="157194"/>
                    <a:pt x="804218" y="181858"/>
                  </a:cubicBezTo>
                  <a:cubicBezTo>
                    <a:pt x="810655" y="183198"/>
                    <a:pt x="815194" y="189002"/>
                    <a:pt x="814897" y="195588"/>
                  </a:cubicBezTo>
                  <a:cubicBezTo>
                    <a:pt x="803326" y="461507"/>
                    <a:pt x="740929" y="617926"/>
                    <a:pt x="652000" y="717529"/>
                  </a:cubicBezTo>
                  <a:cubicBezTo>
                    <a:pt x="592283" y="784464"/>
                    <a:pt x="520441" y="825990"/>
                    <a:pt x="443155" y="857461"/>
                  </a:cubicBezTo>
                  <a:cubicBezTo>
                    <a:pt x="439918" y="858800"/>
                    <a:pt x="436271" y="858800"/>
                    <a:pt x="433034" y="857461"/>
                  </a:cubicBezTo>
                  <a:close/>
                  <a:moveTo>
                    <a:pt x="438108" y="830597"/>
                  </a:moveTo>
                  <a:cubicBezTo>
                    <a:pt x="619083" y="755514"/>
                    <a:pt x="767016" y="620485"/>
                    <a:pt x="787628" y="205776"/>
                  </a:cubicBezTo>
                  <a:cubicBezTo>
                    <a:pt x="670461" y="181070"/>
                    <a:pt x="554075" y="144199"/>
                    <a:pt x="438108" y="89505"/>
                  </a:cubicBezTo>
                  <a:cubicBezTo>
                    <a:pt x="322132" y="144199"/>
                    <a:pt x="205746" y="181071"/>
                    <a:pt x="88588" y="205776"/>
                  </a:cubicBezTo>
                  <a:cubicBezTo>
                    <a:pt x="109201" y="620485"/>
                    <a:pt x="257133" y="755512"/>
                    <a:pt x="438108" y="830597"/>
                  </a:cubicBezTo>
                  <a:close/>
                  <a:moveTo>
                    <a:pt x="438108" y="241800"/>
                  </a:moveTo>
                  <a:cubicBezTo>
                    <a:pt x="544188" y="241800"/>
                    <a:pt x="630323" y="327935"/>
                    <a:pt x="630323" y="434015"/>
                  </a:cubicBezTo>
                  <a:cubicBezTo>
                    <a:pt x="630323" y="540094"/>
                    <a:pt x="544188" y="626191"/>
                    <a:pt x="438108" y="626191"/>
                  </a:cubicBezTo>
                  <a:cubicBezTo>
                    <a:pt x="332028" y="626191"/>
                    <a:pt x="245893" y="540093"/>
                    <a:pt x="245893" y="434015"/>
                  </a:cubicBezTo>
                  <a:cubicBezTo>
                    <a:pt x="245893" y="327935"/>
                    <a:pt x="332028" y="241800"/>
                    <a:pt x="438108" y="241800"/>
                  </a:cubicBezTo>
                  <a:close/>
                  <a:moveTo>
                    <a:pt x="438108" y="268589"/>
                  </a:moveTo>
                  <a:cubicBezTo>
                    <a:pt x="346802" y="268589"/>
                    <a:pt x="272687" y="342705"/>
                    <a:pt x="272687" y="434010"/>
                  </a:cubicBezTo>
                  <a:cubicBezTo>
                    <a:pt x="272687" y="525278"/>
                    <a:pt x="346803" y="599392"/>
                    <a:pt x="438108" y="599392"/>
                  </a:cubicBezTo>
                  <a:cubicBezTo>
                    <a:pt x="529413" y="599392"/>
                    <a:pt x="603529" y="525276"/>
                    <a:pt x="603529" y="434010"/>
                  </a:cubicBezTo>
                  <a:cubicBezTo>
                    <a:pt x="603529" y="342704"/>
                    <a:pt x="529413" y="268589"/>
                    <a:pt x="438108" y="268589"/>
                  </a:cubicBezTo>
                  <a:close/>
                  <a:moveTo>
                    <a:pt x="361611" y="436658"/>
                  </a:moveTo>
                  <a:cubicBezTo>
                    <a:pt x="356662" y="431151"/>
                    <a:pt x="357146" y="422667"/>
                    <a:pt x="362690" y="417756"/>
                  </a:cubicBezTo>
                  <a:cubicBezTo>
                    <a:pt x="368196" y="412845"/>
                    <a:pt x="376680" y="413329"/>
                    <a:pt x="381591" y="418835"/>
                  </a:cubicBezTo>
                  <a:lnTo>
                    <a:pt x="415934" y="457345"/>
                  </a:lnTo>
                  <a:lnTo>
                    <a:pt x="495408" y="381703"/>
                  </a:lnTo>
                  <a:cubicBezTo>
                    <a:pt x="500729" y="376606"/>
                    <a:pt x="509212" y="376829"/>
                    <a:pt x="514310" y="382187"/>
                  </a:cubicBezTo>
                  <a:cubicBezTo>
                    <a:pt x="519444" y="387544"/>
                    <a:pt x="519221" y="396027"/>
                    <a:pt x="513863" y="401088"/>
                  </a:cubicBezTo>
                  <a:lnTo>
                    <a:pt x="424418" y="486292"/>
                  </a:lnTo>
                  <a:cubicBezTo>
                    <a:pt x="421776" y="488822"/>
                    <a:pt x="418241" y="490124"/>
                    <a:pt x="414633" y="489976"/>
                  </a:cubicBezTo>
                  <a:cubicBezTo>
                    <a:pt x="410986" y="489864"/>
                    <a:pt x="407601" y="488227"/>
                    <a:pt x="405182" y="485511"/>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2" name="TextBox 1">
            <a:extLst>
              <a:ext uri="{FF2B5EF4-FFF2-40B4-BE49-F238E27FC236}">
                <a16:creationId xmlns:a16="http://schemas.microsoft.com/office/drawing/2014/main" id="{5D9F2728-E68B-7F73-8B97-9778B5C4E955}"/>
              </a:ext>
            </a:extLst>
          </p:cNvPr>
          <p:cNvSpPr txBox="1"/>
          <p:nvPr/>
        </p:nvSpPr>
        <p:spPr>
          <a:xfrm>
            <a:off x="8206505" y="170645"/>
            <a:ext cx="3474966" cy="164440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Tree>
    <p:extLst>
      <p:ext uri="{BB962C8B-B14F-4D97-AF65-F5344CB8AC3E}">
        <p14:creationId xmlns:p14="http://schemas.microsoft.com/office/powerpoint/2010/main" val="33371902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8D35D-B89C-C0FA-4553-CB5A42BC0741}"/>
              </a:ext>
            </a:extLst>
          </p:cNvPr>
          <p:cNvSpPr>
            <a:spLocks noGrp="1"/>
          </p:cNvSpPr>
          <p:nvPr>
            <p:ph type="title"/>
          </p:nvPr>
        </p:nvSpPr>
        <p:spPr/>
        <p:txBody>
          <a:bodyPr/>
          <a:lstStyle/>
          <a:p>
            <a:r>
              <a:rPr lang="en-US"/>
              <a:t>Identity Resilience</a:t>
            </a:r>
          </a:p>
        </p:txBody>
      </p:sp>
      <p:sp>
        <p:nvSpPr>
          <p:cNvPr id="5" name="Text Placeholder 4">
            <a:extLst>
              <a:ext uri="{FF2B5EF4-FFF2-40B4-BE49-F238E27FC236}">
                <a16:creationId xmlns:a16="http://schemas.microsoft.com/office/drawing/2014/main" id="{EDC34359-AAB2-1BA9-EC2C-D0763A98B234}"/>
              </a:ext>
            </a:extLst>
          </p:cNvPr>
          <p:cNvSpPr>
            <a:spLocks noGrp="1"/>
          </p:cNvSpPr>
          <p:nvPr>
            <p:ph type="body" sz="quarter" idx="23"/>
          </p:nvPr>
        </p:nvSpPr>
        <p:spPr/>
        <p:txBody>
          <a:bodyPr/>
          <a:lstStyle/>
          <a:p>
            <a:endParaRPr lang="en-US"/>
          </a:p>
        </p:txBody>
      </p:sp>
      <p:sp>
        <p:nvSpPr>
          <p:cNvPr id="9" name="Footer Placeholder 2">
            <a:extLst>
              <a:ext uri="{FF2B5EF4-FFF2-40B4-BE49-F238E27FC236}">
                <a16:creationId xmlns:a16="http://schemas.microsoft.com/office/drawing/2014/main" id="{DAFEFB75-D4D3-EF35-A186-EA87227B40D5}"/>
              </a:ext>
            </a:extLst>
          </p:cNvPr>
          <p:cNvSpPr txBox="1">
            <a:spLocks/>
          </p:cNvSpPr>
          <p:nvPr/>
        </p:nvSpPr>
        <p:spPr>
          <a:xfrm>
            <a:off x="10172700" y="6344667"/>
            <a:ext cx="1123950" cy="28336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800">
                <a:solidFill>
                  <a:srgbClr val="FFFFFF"/>
                </a:solidFill>
                <a:latin typeface="Arial" panose="020B0604020202020204"/>
              </a:rPr>
              <a:t>© Commvault 2025</a:t>
            </a:r>
          </a:p>
        </p:txBody>
      </p:sp>
      <p:sp>
        <p:nvSpPr>
          <p:cNvPr id="10" name="Slide Number Placeholder 4">
            <a:extLst>
              <a:ext uri="{FF2B5EF4-FFF2-40B4-BE49-F238E27FC236}">
                <a16:creationId xmlns:a16="http://schemas.microsoft.com/office/drawing/2014/main" id="{71334238-A648-CBC0-6F49-B29F4FBE7B56}"/>
              </a:ext>
            </a:extLst>
          </p:cNvPr>
          <p:cNvSpPr txBox="1">
            <a:spLocks/>
          </p:cNvSpPr>
          <p:nvPr/>
        </p:nvSpPr>
        <p:spPr>
          <a:xfrm>
            <a:off x="11403176" y="6377920"/>
            <a:ext cx="373227" cy="25577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71676EBD-8486-AA4B-82C3-0598DF1E43FA}" type="slidenum">
              <a:rPr lang="en-US" sz="800" smtClean="0">
                <a:solidFill>
                  <a:srgbClr val="FFFFFF"/>
                </a:solidFill>
                <a:latin typeface="Arial" panose="020B0604020202020204"/>
              </a:rPr>
              <a:pPr algn="r">
                <a:defRPr/>
              </a:pPr>
              <a:t>11</a:t>
            </a:fld>
            <a:endParaRPr lang="en-US" sz="800">
              <a:solidFill>
                <a:srgbClr val="FFFFFF"/>
              </a:solidFill>
              <a:latin typeface="Arial" panose="020B0604020202020204"/>
            </a:endParaRPr>
          </a:p>
        </p:txBody>
      </p:sp>
    </p:spTree>
    <p:extLst>
      <p:ext uri="{BB962C8B-B14F-4D97-AF65-F5344CB8AC3E}">
        <p14:creationId xmlns:p14="http://schemas.microsoft.com/office/powerpoint/2010/main" val="40002098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631990-D376-CC7D-44C6-23A72E50FF37}"/>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29A2E60B-69DE-6646-B965-19D25066C7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1" name="think-cell data - do not delete" hidden="1">
                        <a:extLst>
                          <a:ext uri="{FF2B5EF4-FFF2-40B4-BE49-F238E27FC236}">
                            <a16:creationId xmlns:a16="http://schemas.microsoft.com/office/drawing/2014/main" id="{29A2E60B-69DE-6646-B965-19D25066C7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0" name="2" descr="preencoded.png">
            <a:extLst>
              <a:ext uri="{FF2B5EF4-FFF2-40B4-BE49-F238E27FC236}">
                <a16:creationId xmlns:a16="http://schemas.microsoft.com/office/drawing/2014/main" id="{46EE7D8B-860A-6AAC-699C-96B280316180}"/>
              </a:ext>
            </a:extLst>
          </p:cNvPr>
          <p:cNvPicPr>
            <a:picLocks/>
          </p:cNvPicPr>
          <p:nvPr>
            <p:custDataLst>
              <p:tags r:id="rId2"/>
            </p:custDataLst>
          </p:nvPr>
        </p:nvPicPr>
        <p:blipFill>
          <a:blip r:embed="rId7">
            <a:alphaModFix amt="80000"/>
          </a:blip>
          <a:srcRect/>
          <a:stretch/>
        </p:blipFill>
        <p:spPr>
          <a:xfrm>
            <a:off x="0" y="0"/>
            <a:ext cx="12192000" cy="6858000"/>
          </a:xfrm>
          <a:prstGeom prst="rect">
            <a:avLst/>
          </a:prstGeom>
        </p:spPr>
      </p:pic>
      <p:sp>
        <p:nvSpPr>
          <p:cNvPr id="19" name="Title 18">
            <a:extLst>
              <a:ext uri="{FF2B5EF4-FFF2-40B4-BE49-F238E27FC236}">
                <a16:creationId xmlns:a16="http://schemas.microsoft.com/office/drawing/2014/main" id="{95415211-1335-862C-9D73-80ABDBB58D42}"/>
              </a:ext>
            </a:extLst>
          </p:cNvPr>
          <p:cNvSpPr>
            <a:spLocks noGrp="1"/>
          </p:cNvSpPr>
          <p:nvPr>
            <p:ph type="title"/>
          </p:nvPr>
        </p:nvSpPr>
        <p:spPr>
          <a:xfrm>
            <a:off x="415596" y="462505"/>
            <a:ext cx="11360808" cy="430887"/>
          </a:xfrm>
        </p:spPr>
        <p:txBody>
          <a:bodyPr vert="horz"/>
          <a:lstStyle/>
          <a:p>
            <a:r>
              <a:rPr lang="en-US"/>
              <a:t>Advancing Identity Resilience: Detect and Reverse AD Threats</a:t>
            </a:r>
          </a:p>
        </p:txBody>
      </p:sp>
      <p:sp>
        <p:nvSpPr>
          <p:cNvPr id="62" name="Footer Placeholder 2">
            <a:extLst>
              <a:ext uri="{FF2B5EF4-FFF2-40B4-BE49-F238E27FC236}">
                <a16:creationId xmlns:a16="http://schemas.microsoft.com/office/drawing/2014/main" id="{CF5FC48B-1E64-7A2B-EDE4-F1D74316C993}"/>
              </a:ext>
            </a:extLst>
          </p:cNvPr>
          <p:cNvSpPr>
            <a:spLocks noGrp="1"/>
          </p:cNvSpPr>
          <p:nvPr>
            <p:ph type="ftr" sz="quarter" idx="14"/>
          </p:nvPr>
        </p:nvSpPr>
        <p:spPr>
          <a:xfrm>
            <a:off x="10172700" y="6364123"/>
            <a:ext cx="1123950" cy="28336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mn-ea"/>
                <a:cs typeface="+mn-cs"/>
              </a:rPr>
              <a:t>© Commvault 2025</a:t>
            </a:r>
          </a:p>
        </p:txBody>
      </p:sp>
      <p:sp>
        <p:nvSpPr>
          <p:cNvPr id="63" name="Slide Number Placeholder 4">
            <a:extLst>
              <a:ext uri="{FF2B5EF4-FFF2-40B4-BE49-F238E27FC236}">
                <a16:creationId xmlns:a16="http://schemas.microsoft.com/office/drawing/2014/main" id="{083FD02A-061F-765C-839B-4F6E05E83129}"/>
              </a:ext>
            </a:extLst>
          </p:cNvPr>
          <p:cNvSpPr>
            <a:spLocks noGrp="1"/>
          </p:cNvSpPr>
          <p:nvPr>
            <p:ph type="sldNum" sz="quarter" idx="15"/>
          </p:nvPr>
        </p:nvSpPr>
        <p:spPr>
          <a:xfrm>
            <a:off x="11403176" y="6377920"/>
            <a:ext cx="373227" cy="25577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676EBD-8486-AA4B-82C3-0598DF1E43FA}" type="slidenum">
              <a:rPr kumimoji="0" lang="en-US" sz="8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4" name="Graphic 63">
            <a:extLst>
              <a:ext uri="{FF2B5EF4-FFF2-40B4-BE49-F238E27FC236}">
                <a16:creationId xmlns:a16="http://schemas.microsoft.com/office/drawing/2014/main" id="{6A2440C3-330B-6D18-0499-BD11B3E793A6}"/>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400017" y="6364123"/>
            <a:ext cx="1484309" cy="283368"/>
          </a:xfrm>
          <a:prstGeom prst="rect">
            <a:avLst/>
          </a:prstGeom>
        </p:spPr>
      </p:pic>
      <p:sp>
        <p:nvSpPr>
          <p:cNvPr id="6" name="Google Shape;4891;p434">
            <a:extLst>
              <a:ext uri="{FF2B5EF4-FFF2-40B4-BE49-F238E27FC236}">
                <a16:creationId xmlns:a16="http://schemas.microsoft.com/office/drawing/2014/main" id="{EADE52B0-0A89-CF17-B803-5CC3261D6943}"/>
              </a:ext>
            </a:extLst>
          </p:cNvPr>
          <p:cNvSpPr txBox="1">
            <a:spLocks/>
          </p:cNvSpPr>
          <p:nvPr/>
        </p:nvSpPr>
        <p:spPr>
          <a:xfrm>
            <a:off x="572433" y="1953154"/>
            <a:ext cx="5186108"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ct val="0"/>
              </a:spcAft>
              <a:buClr>
                <a:srgbClr val="000000"/>
              </a:buClr>
              <a:buSzPts val="1100"/>
              <a:buFont typeface="Arial"/>
              <a:buNone/>
              <a:tabLst/>
              <a:defRPr/>
            </a:pPr>
            <a:r>
              <a:rPr kumimoji="0" lang="en-US" sz="1400" b="1" i="0" u="none" strike="noStrike" kern="1200" cap="none" spc="0" normalizeH="0" baseline="0" noProof="0">
                <a:ln>
                  <a:noFill/>
                </a:ln>
                <a:solidFill>
                  <a:srgbClr val="834895">
                    <a:lumMod val="60000"/>
                    <a:lumOff val="40000"/>
                  </a:srgbClr>
                </a:solidFill>
                <a:effectLst/>
                <a:uLnTx/>
                <a:uFillTx/>
                <a:latin typeface="Arial" panose="020B0604020202020204"/>
                <a:ea typeface="+mn-ea"/>
                <a:cs typeface="+mn-cs"/>
              </a:rPr>
              <a:t>Lack of Visibility into Identity Changes</a:t>
            </a:r>
          </a:p>
        </p:txBody>
      </p:sp>
      <p:sp>
        <p:nvSpPr>
          <p:cNvPr id="8" name="Rectangle 7">
            <a:extLst>
              <a:ext uri="{FF2B5EF4-FFF2-40B4-BE49-F238E27FC236}">
                <a16:creationId xmlns:a16="http://schemas.microsoft.com/office/drawing/2014/main" id="{3B530F59-0FA4-DC5C-D271-CFDEAF492C38}"/>
              </a:ext>
            </a:extLst>
          </p:cNvPr>
          <p:cNvSpPr>
            <a:spLocks/>
          </p:cNvSpPr>
          <p:nvPr/>
        </p:nvSpPr>
        <p:spPr>
          <a:xfrm>
            <a:off x="572433" y="2222577"/>
            <a:ext cx="5445145"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Most organizations can’t see how privileges or roles evolve across</a:t>
            </a:r>
            <a:b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Active Directory or Entra ID until it’s</a:t>
            </a:r>
            <a:r>
              <a:rPr lang="en-US" sz="1400">
                <a:solidFill>
                  <a:srgbClr val="FFFFFF"/>
                </a:solidFill>
                <a:latin typeface="Arial" panose="020B0604020202020204"/>
              </a:rPr>
              <a:t> </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too late – attackers escalate quietly and move laterally</a:t>
            </a:r>
          </a:p>
        </p:txBody>
      </p:sp>
      <p:cxnSp>
        <p:nvCxnSpPr>
          <p:cNvPr id="14" name="Straight Connector 13">
            <a:extLst>
              <a:ext uri="{FF2B5EF4-FFF2-40B4-BE49-F238E27FC236}">
                <a16:creationId xmlns:a16="http://schemas.microsoft.com/office/drawing/2014/main" id="{B5E908AC-CFEE-61F9-0D9C-8701E7FEC7F4}"/>
              </a:ext>
            </a:extLst>
          </p:cNvPr>
          <p:cNvCxnSpPr>
            <a:cxnSpLocks/>
          </p:cNvCxnSpPr>
          <p:nvPr/>
        </p:nvCxnSpPr>
        <p:spPr>
          <a:xfrm>
            <a:off x="415595" y="1430139"/>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234925A-997D-4F7C-ECBF-2EB4D739CC07}"/>
              </a:ext>
            </a:extLst>
          </p:cNvPr>
          <p:cNvCxnSpPr>
            <a:cxnSpLocks/>
          </p:cNvCxnSpPr>
          <p:nvPr/>
        </p:nvCxnSpPr>
        <p:spPr>
          <a:xfrm>
            <a:off x="415595" y="1890303"/>
            <a:ext cx="0" cy="978605"/>
          </a:xfrm>
          <a:prstGeom prst="line">
            <a:avLst/>
          </a:prstGeom>
        </p:spPr>
        <p:style>
          <a:lnRef idx="1">
            <a:schemeClr val="accent1"/>
          </a:lnRef>
          <a:fillRef idx="0">
            <a:schemeClr val="accent1"/>
          </a:fillRef>
          <a:effectRef idx="0">
            <a:schemeClr val="accent1"/>
          </a:effectRef>
          <a:fontRef idx="minor">
            <a:schemeClr val="tx1"/>
          </a:fontRef>
        </p:style>
      </p:cxnSp>
      <p:sp>
        <p:nvSpPr>
          <p:cNvPr id="20" name="Google Shape;4891;p434">
            <a:extLst>
              <a:ext uri="{FF2B5EF4-FFF2-40B4-BE49-F238E27FC236}">
                <a16:creationId xmlns:a16="http://schemas.microsoft.com/office/drawing/2014/main" id="{C931A2E1-3812-C035-52D9-2081EBC3FE48}"/>
              </a:ext>
            </a:extLst>
          </p:cNvPr>
          <p:cNvSpPr txBox="1">
            <a:spLocks/>
          </p:cNvSpPr>
          <p:nvPr/>
        </p:nvSpPr>
        <p:spPr>
          <a:xfrm>
            <a:off x="572433" y="3562123"/>
            <a:ext cx="3418995"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ct val="0"/>
              </a:spcAft>
              <a:buClr>
                <a:srgbClr val="000000"/>
              </a:buClr>
              <a:buSzPts val="1100"/>
              <a:buFont typeface="Arial"/>
              <a:buNone/>
              <a:tabLst/>
              <a:defRPr/>
            </a:pPr>
            <a:r>
              <a:rPr kumimoji="0" lang="en-US" sz="1400" b="1" i="0" u="none" strike="noStrike" kern="1200" cap="none" spc="0" normalizeH="0" baseline="0" noProof="0">
                <a:ln>
                  <a:noFill/>
                </a:ln>
                <a:solidFill>
                  <a:srgbClr val="834895">
                    <a:lumMod val="60000"/>
                    <a:lumOff val="40000"/>
                  </a:srgbClr>
                </a:solidFill>
                <a:effectLst/>
                <a:uLnTx/>
                <a:uFillTx/>
                <a:latin typeface="Arial" panose="020B0604020202020204"/>
                <a:ea typeface="+mn-ea"/>
                <a:cs typeface="+mn-cs"/>
              </a:rPr>
              <a:t>Complex, Manual Recovery</a:t>
            </a:r>
          </a:p>
        </p:txBody>
      </p:sp>
      <p:sp>
        <p:nvSpPr>
          <p:cNvPr id="21" name="Rectangle 20">
            <a:extLst>
              <a:ext uri="{FF2B5EF4-FFF2-40B4-BE49-F238E27FC236}">
                <a16:creationId xmlns:a16="http://schemas.microsoft.com/office/drawing/2014/main" id="{D6D8558D-D97B-6ADF-AAA4-318FA1F778EE}"/>
              </a:ext>
            </a:extLst>
          </p:cNvPr>
          <p:cNvSpPr>
            <a:spLocks/>
          </p:cNvSpPr>
          <p:nvPr/>
        </p:nvSpPr>
        <p:spPr>
          <a:xfrm>
            <a:off x="572433" y="3831546"/>
            <a:ext cx="5285319"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When attacks occur, most tools can’t precisely restore objects, attributes, or policies; full forest recovery is slow, manual, and error-prone</a:t>
            </a:r>
          </a:p>
        </p:txBody>
      </p:sp>
      <p:cxnSp>
        <p:nvCxnSpPr>
          <p:cNvPr id="22" name="Straight Connector 21">
            <a:extLst>
              <a:ext uri="{FF2B5EF4-FFF2-40B4-BE49-F238E27FC236}">
                <a16:creationId xmlns:a16="http://schemas.microsoft.com/office/drawing/2014/main" id="{910A3970-A58B-8822-C13E-AB26F385CF1C}"/>
              </a:ext>
            </a:extLst>
          </p:cNvPr>
          <p:cNvCxnSpPr>
            <a:cxnSpLocks/>
          </p:cNvCxnSpPr>
          <p:nvPr/>
        </p:nvCxnSpPr>
        <p:spPr>
          <a:xfrm>
            <a:off x="415595" y="3071941"/>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F5012C4-0D8F-E711-17AD-1B3FF9723882}"/>
              </a:ext>
            </a:extLst>
          </p:cNvPr>
          <p:cNvCxnSpPr>
            <a:cxnSpLocks/>
          </p:cNvCxnSpPr>
          <p:nvPr/>
        </p:nvCxnSpPr>
        <p:spPr>
          <a:xfrm>
            <a:off x="415595" y="3532105"/>
            <a:ext cx="0" cy="945772"/>
          </a:xfrm>
          <a:prstGeom prst="line">
            <a:avLst/>
          </a:prstGeom>
        </p:spPr>
        <p:style>
          <a:lnRef idx="1">
            <a:schemeClr val="accent1"/>
          </a:lnRef>
          <a:fillRef idx="0">
            <a:schemeClr val="accent1"/>
          </a:fillRef>
          <a:effectRef idx="0">
            <a:schemeClr val="accent1"/>
          </a:effectRef>
          <a:fontRef idx="minor">
            <a:schemeClr val="tx1"/>
          </a:fontRef>
        </p:style>
      </p:cxnSp>
      <p:sp>
        <p:nvSpPr>
          <p:cNvPr id="32" name="Google Shape;4891;p434">
            <a:extLst>
              <a:ext uri="{FF2B5EF4-FFF2-40B4-BE49-F238E27FC236}">
                <a16:creationId xmlns:a16="http://schemas.microsoft.com/office/drawing/2014/main" id="{CFBFD929-83FD-113D-64DC-7F968141F003}"/>
              </a:ext>
            </a:extLst>
          </p:cNvPr>
          <p:cNvSpPr txBox="1">
            <a:spLocks/>
          </p:cNvSpPr>
          <p:nvPr/>
        </p:nvSpPr>
        <p:spPr>
          <a:xfrm>
            <a:off x="574845" y="5203384"/>
            <a:ext cx="3418995"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ct val="0"/>
              </a:spcAft>
              <a:buClr>
                <a:srgbClr val="000000"/>
              </a:buClr>
              <a:buSzPts val="1100"/>
              <a:buFont typeface="Arial"/>
              <a:buNone/>
              <a:tabLst/>
              <a:defRPr/>
            </a:pPr>
            <a:r>
              <a:rPr kumimoji="0" lang="en-US" sz="1400" b="1" i="0" u="none" strike="noStrike" kern="1200" cap="none" spc="0" normalizeH="0" baseline="0" noProof="0">
                <a:ln>
                  <a:noFill/>
                </a:ln>
                <a:solidFill>
                  <a:srgbClr val="834895">
                    <a:lumMod val="60000"/>
                    <a:lumOff val="40000"/>
                  </a:srgbClr>
                </a:solidFill>
                <a:effectLst/>
                <a:uLnTx/>
                <a:uFillTx/>
                <a:latin typeface="Arial" panose="020B0604020202020204"/>
                <a:ea typeface="+mn-ea"/>
                <a:cs typeface="+mn-cs"/>
              </a:rPr>
              <a:t>Uncertain Clean Recovery</a:t>
            </a:r>
          </a:p>
        </p:txBody>
      </p:sp>
      <p:sp>
        <p:nvSpPr>
          <p:cNvPr id="40" name="Rectangle 39">
            <a:extLst>
              <a:ext uri="{FF2B5EF4-FFF2-40B4-BE49-F238E27FC236}">
                <a16:creationId xmlns:a16="http://schemas.microsoft.com/office/drawing/2014/main" id="{404336ED-84A6-556D-A98C-589A10F6AC28}"/>
              </a:ext>
            </a:extLst>
          </p:cNvPr>
          <p:cNvSpPr>
            <a:spLocks/>
          </p:cNvSpPr>
          <p:nvPr/>
        </p:nvSpPr>
        <p:spPr>
          <a:xfrm>
            <a:off x="574846" y="5472807"/>
            <a:ext cx="5282906" cy="4308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Even after systems are restored, teams can’t easily confirm if the environment is truly clean or if hidden identity changes persist</a:t>
            </a:r>
          </a:p>
        </p:txBody>
      </p:sp>
      <p:cxnSp>
        <p:nvCxnSpPr>
          <p:cNvPr id="41" name="Straight Connector 40">
            <a:extLst>
              <a:ext uri="{FF2B5EF4-FFF2-40B4-BE49-F238E27FC236}">
                <a16:creationId xmlns:a16="http://schemas.microsoft.com/office/drawing/2014/main" id="{3D848AD2-575B-49DD-64C7-0788F6063CEF}"/>
              </a:ext>
            </a:extLst>
          </p:cNvPr>
          <p:cNvCxnSpPr>
            <a:cxnSpLocks/>
          </p:cNvCxnSpPr>
          <p:nvPr/>
        </p:nvCxnSpPr>
        <p:spPr>
          <a:xfrm>
            <a:off x="418007" y="4737814"/>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A2841D5-6E5C-335D-FD44-2F0F62712856}"/>
              </a:ext>
            </a:extLst>
          </p:cNvPr>
          <p:cNvCxnSpPr>
            <a:cxnSpLocks/>
          </p:cNvCxnSpPr>
          <p:nvPr/>
        </p:nvCxnSpPr>
        <p:spPr>
          <a:xfrm>
            <a:off x="418007" y="5197978"/>
            <a:ext cx="0" cy="705716"/>
          </a:xfrm>
          <a:prstGeom prst="line">
            <a:avLst/>
          </a:prstGeom>
        </p:spPr>
        <p:style>
          <a:lnRef idx="1">
            <a:schemeClr val="accent1"/>
          </a:lnRef>
          <a:fillRef idx="0">
            <a:schemeClr val="accent1"/>
          </a:fillRef>
          <a:effectRef idx="0">
            <a:schemeClr val="accent1"/>
          </a:effectRef>
          <a:fontRef idx="minor">
            <a:schemeClr val="tx1"/>
          </a:fontRef>
        </p:style>
      </p:cxnSp>
      <p:sp>
        <p:nvSpPr>
          <p:cNvPr id="46" name="Google Shape;4891;p434">
            <a:extLst>
              <a:ext uri="{FF2B5EF4-FFF2-40B4-BE49-F238E27FC236}">
                <a16:creationId xmlns:a16="http://schemas.microsoft.com/office/drawing/2014/main" id="{FE9F132E-4FAA-0979-2EE3-B05BEFA1A38C}"/>
              </a:ext>
            </a:extLst>
          </p:cNvPr>
          <p:cNvSpPr txBox="1">
            <a:spLocks/>
          </p:cNvSpPr>
          <p:nvPr/>
        </p:nvSpPr>
        <p:spPr>
          <a:xfrm>
            <a:off x="6491073" y="1894207"/>
            <a:ext cx="5285330"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ct val="0"/>
              </a:spcAft>
              <a:buClr>
                <a:srgbClr val="000000"/>
              </a:buClr>
              <a:buSzPts val="1100"/>
              <a:buFont typeface="Arial"/>
              <a:buNone/>
              <a:tabLst/>
              <a:defRPr/>
            </a:pPr>
            <a:r>
              <a:rPr kumimoji="0" lang="en-US" sz="1400" b="1" i="0" u="none" strike="noStrike" kern="1200" cap="none" spc="0" normalizeH="0" baseline="0" noProof="0">
                <a:ln>
                  <a:noFill/>
                </a:ln>
                <a:solidFill>
                  <a:srgbClr val="834895">
                    <a:lumMod val="60000"/>
                    <a:lumOff val="40000"/>
                  </a:srgbClr>
                </a:solidFill>
                <a:effectLst/>
                <a:uLnTx/>
                <a:uFillTx/>
                <a:latin typeface="Arial" panose="020B0604020202020204"/>
                <a:ea typeface="+mn-ea"/>
                <a:cs typeface="+mn-cs"/>
              </a:rPr>
              <a:t>Real-Time Auditing &amp; Detection = Early Warning</a:t>
            </a:r>
          </a:p>
        </p:txBody>
      </p:sp>
      <p:sp>
        <p:nvSpPr>
          <p:cNvPr id="47" name="Rectangle 46">
            <a:extLst>
              <a:ext uri="{FF2B5EF4-FFF2-40B4-BE49-F238E27FC236}">
                <a16:creationId xmlns:a16="http://schemas.microsoft.com/office/drawing/2014/main" id="{ADF373A3-9335-D92B-6472-57B5BC06F14B}"/>
              </a:ext>
            </a:extLst>
          </p:cNvPr>
          <p:cNvSpPr>
            <a:spLocks/>
          </p:cNvSpPr>
          <p:nvPr/>
        </p:nvSpPr>
        <p:spPr>
          <a:xfrm>
            <a:off x="6491074" y="2163630"/>
            <a:ext cx="4805576"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fontAlgn="base">
              <a:spcAft>
                <a:spcPct val="0"/>
              </a:spcAf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Commvault continuously monitors AD</a:t>
            </a:r>
            <a:r>
              <a:rPr kumimoji="0" lang="en-US" sz="1400">
                <a:solidFill>
                  <a:srgbClr val="FFFFFF"/>
                </a:solidFill>
                <a:latin typeface="Arial" panose="020B0604020202020204"/>
                <a:ea typeface="+mn-ea"/>
                <a:cs typeface="+mn-cs"/>
              </a:rPr>
              <a:t> </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for unauthorized changes, </a:t>
            </a:r>
            <a:r>
              <a:rPr lang="en-US" sz="1400">
                <a:solidFill>
                  <a:srgbClr val="FFFFFF"/>
                </a:solidFill>
                <a:latin typeface="Arial" panose="020B0604020202020204"/>
              </a:rPr>
              <a:t>helping to quickly identify</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 suspicious modifications before they spread</a:t>
            </a:r>
          </a:p>
        </p:txBody>
      </p:sp>
      <p:cxnSp>
        <p:nvCxnSpPr>
          <p:cNvPr id="48" name="Straight Connector 47">
            <a:extLst>
              <a:ext uri="{FF2B5EF4-FFF2-40B4-BE49-F238E27FC236}">
                <a16:creationId xmlns:a16="http://schemas.microsoft.com/office/drawing/2014/main" id="{4979F468-294B-FFC3-5363-D7EB53BD1687}"/>
              </a:ext>
            </a:extLst>
          </p:cNvPr>
          <p:cNvCxnSpPr>
            <a:cxnSpLocks/>
          </p:cNvCxnSpPr>
          <p:nvPr/>
        </p:nvCxnSpPr>
        <p:spPr>
          <a:xfrm>
            <a:off x="6334235" y="1369345"/>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6B39205-9117-7221-347A-81B2BE69E31A}"/>
              </a:ext>
            </a:extLst>
          </p:cNvPr>
          <p:cNvCxnSpPr>
            <a:cxnSpLocks/>
          </p:cNvCxnSpPr>
          <p:nvPr/>
        </p:nvCxnSpPr>
        <p:spPr>
          <a:xfrm>
            <a:off x="6334235" y="1829509"/>
            <a:ext cx="0" cy="1039399"/>
          </a:xfrm>
          <a:prstGeom prst="line">
            <a:avLst/>
          </a:prstGeom>
        </p:spPr>
        <p:style>
          <a:lnRef idx="1">
            <a:schemeClr val="accent1"/>
          </a:lnRef>
          <a:fillRef idx="0">
            <a:schemeClr val="accent1"/>
          </a:fillRef>
          <a:effectRef idx="0">
            <a:schemeClr val="accent1"/>
          </a:effectRef>
          <a:fontRef idx="minor">
            <a:schemeClr val="tx1"/>
          </a:fontRef>
        </p:style>
      </p:cxnSp>
      <p:sp>
        <p:nvSpPr>
          <p:cNvPr id="56" name="Google Shape;4891;p434">
            <a:extLst>
              <a:ext uri="{FF2B5EF4-FFF2-40B4-BE49-F238E27FC236}">
                <a16:creationId xmlns:a16="http://schemas.microsoft.com/office/drawing/2014/main" id="{E9DA7AF8-13F1-B9DD-37B8-52432BF2AF1A}"/>
              </a:ext>
            </a:extLst>
          </p:cNvPr>
          <p:cNvSpPr txBox="1">
            <a:spLocks/>
          </p:cNvSpPr>
          <p:nvPr/>
        </p:nvSpPr>
        <p:spPr>
          <a:xfrm>
            <a:off x="6491073" y="3521598"/>
            <a:ext cx="5363464"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ct val="0"/>
              </a:spcAft>
              <a:buClr>
                <a:srgbClr val="000000"/>
              </a:buClr>
              <a:buSzPts val="1100"/>
              <a:buFont typeface="Arial"/>
              <a:buNone/>
              <a:tabLst/>
              <a:defRPr/>
            </a:pPr>
            <a:r>
              <a:rPr kumimoji="0" lang="en-US" sz="1400" b="1" i="0" u="none" strike="noStrike" kern="1200" cap="none" spc="0" normalizeH="0" baseline="0" noProof="0">
                <a:ln>
                  <a:noFill/>
                </a:ln>
                <a:solidFill>
                  <a:srgbClr val="834895">
                    <a:lumMod val="60000"/>
                    <a:lumOff val="40000"/>
                  </a:srgbClr>
                </a:solidFill>
                <a:effectLst/>
                <a:uLnTx/>
                <a:uFillTx/>
                <a:latin typeface="Arial" panose="020B0604020202020204"/>
                <a:ea typeface="+mn-ea"/>
                <a:cs typeface="+mn-cs"/>
              </a:rPr>
              <a:t>Automated Rollback &amp; Recovery = Fast, Precise Response</a:t>
            </a:r>
          </a:p>
        </p:txBody>
      </p:sp>
      <p:sp>
        <p:nvSpPr>
          <p:cNvPr id="57" name="Rectangle 56">
            <a:extLst>
              <a:ext uri="{FF2B5EF4-FFF2-40B4-BE49-F238E27FC236}">
                <a16:creationId xmlns:a16="http://schemas.microsoft.com/office/drawing/2014/main" id="{CA784B58-D4A7-4D5B-12FC-340BCA3FDDBF}"/>
              </a:ext>
            </a:extLst>
          </p:cNvPr>
          <p:cNvSpPr>
            <a:spLocks/>
          </p:cNvSpPr>
          <p:nvPr/>
        </p:nvSpPr>
        <p:spPr>
          <a:xfrm>
            <a:off x="6491074" y="3791021"/>
            <a:ext cx="4383756"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ct val="0"/>
              </a:spcAft>
              <a:defRPr/>
            </a:pPr>
            <a:r>
              <a:rPr lang="en-US" sz="1400">
                <a:solidFill>
                  <a:srgbClr val="FFFFFF"/>
                </a:solidFill>
                <a:latin typeface="Arial" panose="020B0604020202020204"/>
              </a:rPr>
              <a:t>AI-assisted </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rollback </a:t>
            </a:r>
            <a:r>
              <a:rPr lang="en-US" sz="1400">
                <a:solidFill>
                  <a:srgbClr val="FFFFFF"/>
                </a:solidFill>
                <a:latin typeface="Arial" panose="020B0604020202020204"/>
              </a:rPr>
              <a:t>helps restore </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clean identities</a:t>
            </a:r>
            <a:r>
              <a:rPr lang="en-US" sz="1400">
                <a:solidFill>
                  <a:srgbClr val="FFFFFF"/>
                </a:solidFill>
                <a:latin typeface="Arial" panose="020B0604020202020204"/>
              </a:rPr>
              <a:t> </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and policies with one-click orchestration – no manual sequencing required</a:t>
            </a:r>
            <a:endParaRPr lang="en-US">
              <a:ea typeface="+mn-ea"/>
              <a:cs typeface="+mn-cs"/>
            </a:endParaRPr>
          </a:p>
        </p:txBody>
      </p:sp>
      <p:cxnSp>
        <p:nvCxnSpPr>
          <p:cNvPr id="58" name="Straight Connector 57">
            <a:extLst>
              <a:ext uri="{FF2B5EF4-FFF2-40B4-BE49-F238E27FC236}">
                <a16:creationId xmlns:a16="http://schemas.microsoft.com/office/drawing/2014/main" id="{4CB7014C-87A6-2048-72CA-5FC4CCB84E06}"/>
              </a:ext>
            </a:extLst>
          </p:cNvPr>
          <p:cNvCxnSpPr>
            <a:cxnSpLocks/>
          </p:cNvCxnSpPr>
          <p:nvPr/>
        </p:nvCxnSpPr>
        <p:spPr>
          <a:xfrm>
            <a:off x="6334235" y="3071941"/>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A706913-FDC6-DD0E-54B5-EE280976D682}"/>
              </a:ext>
            </a:extLst>
          </p:cNvPr>
          <p:cNvCxnSpPr>
            <a:cxnSpLocks/>
          </p:cNvCxnSpPr>
          <p:nvPr/>
        </p:nvCxnSpPr>
        <p:spPr>
          <a:xfrm>
            <a:off x="6334235" y="3532918"/>
            <a:ext cx="0" cy="944959"/>
          </a:xfrm>
          <a:prstGeom prst="line">
            <a:avLst/>
          </a:prstGeom>
        </p:spPr>
        <p:style>
          <a:lnRef idx="1">
            <a:schemeClr val="accent1"/>
          </a:lnRef>
          <a:fillRef idx="0">
            <a:schemeClr val="accent1"/>
          </a:fillRef>
          <a:effectRef idx="0">
            <a:schemeClr val="accent1"/>
          </a:effectRef>
          <a:fontRef idx="minor">
            <a:schemeClr val="tx1"/>
          </a:fontRef>
        </p:style>
      </p:cxnSp>
      <p:sp>
        <p:nvSpPr>
          <p:cNvPr id="88" name="Google Shape;4891;p434">
            <a:extLst>
              <a:ext uri="{FF2B5EF4-FFF2-40B4-BE49-F238E27FC236}">
                <a16:creationId xmlns:a16="http://schemas.microsoft.com/office/drawing/2014/main" id="{8EBB6B3C-A933-706C-02D7-8468EEE19C9F}"/>
              </a:ext>
            </a:extLst>
          </p:cNvPr>
          <p:cNvSpPr txBox="1">
            <a:spLocks/>
          </p:cNvSpPr>
          <p:nvPr/>
        </p:nvSpPr>
        <p:spPr>
          <a:xfrm>
            <a:off x="6488664" y="5182315"/>
            <a:ext cx="5282906"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ct val="0"/>
              </a:spcAft>
              <a:buClr>
                <a:srgbClr val="000000"/>
              </a:buClr>
              <a:buSzPts val="1100"/>
              <a:buFont typeface="Arial"/>
              <a:buNone/>
              <a:tabLst/>
              <a:defRPr/>
            </a:pPr>
            <a:r>
              <a:rPr kumimoji="0" lang="en-US" sz="1400" b="1" i="0" u="none" strike="noStrike" kern="1200" cap="none" spc="0" normalizeH="0" baseline="0" noProof="0">
                <a:ln>
                  <a:noFill/>
                </a:ln>
                <a:solidFill>
                  <a:srgbClr val="834895">
                    <a:lumMod val="60000"/>
                    <a:lumOff val="40000"/>
                  </a:srgbClr>
                </a:solidFill>
                <a:effectLst/>
                <a:uLnTx/>
                <a:uFillTx/>
                <a:latin typeface="Arial" panose="020B0604020202020204"/>
                <a:ea typeface="+mn-ea"/>
                <a:cs typeface="+mn-cs"/>
              </a:rPr>
              <a:t>Forensic Timeline &amp; Cleanroom Validation = Trusted Recovery</a:t>
            </a:r>
          </a:p>
        </p:txBody>
      </p:sp>
      <p:sp>
        <p:nvSpPr>
          <p:cNvPr id="97" name="Rectangle 96">
            <a:extLst>
              <a:ext uri="{FF2B5EF4-FFF2-40B4-BE49-F238E27FC236}">
                <a16:creationId xmlns:a16="http://schemas.microsoft.com/office/drawing/2014/main" id="{4DF9F1A2-3CB7-E696-38F9-42CC50CBDA26}"/>
              </a:ext>
            </a:extLst>
          </p:cNvPr>
          <p:cNvSpPr>
            <a:spLocks/>
          </p:cNvSpPr>
          <p:nvPr/>
        </p:nvSpPr>
        <p:spPr>
          <a:xfrm>
            <a:off x="6488664" y="5451738"/>
            <a:ext cx="5282893"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fontAlgn="base">
              <a:spcAft>
                <a:spcPct val="0"/>
              </a:spcAf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Visual attack timelines </a:t>
            </a:r>
            <a:r>
              <a:rPr lang="en-US" sz="1400">
                <a:solidFill>
                  <a:srgbClr val="FFFFFF"/>
                </a:solidFill>
                <a:latin typeface="Arial" panose="020B0604020202020204"/>
              </a:rPr>
              <a:t>help </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show who changed what and when, while Cleanroom Recovery </a:t>
            </a:r>
            <a:r>
              <a:rPr lang="en-US" sz="1400">
                <a:solidFill>
                  <a:srgbClr val="FFFFFF"/>
                </a:solidFill>
                <a:latin typeface="Arial" panose="020B0604020202020204"/>
              </a:rPr>
              <a:t>helps validate the</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 integrity of the restored environment</a:t>
            </a:r>
          </a:p>
        </p:txBody>
      </p:sp>
      <p:cxnSp>
        <p:nvCxnSpPr>
          <p:cNvPr id="98" name="Straight Connector 97">
            <a:extLst>
              <a:ext uri="{FF2B5EF4-FFF2-40B4-BE49-F238E27FC236}">
                <a16:creationId xmlns:a16="http://schemas.microsoft.com/office/drawing/2014/main" id="{E6FD8452-3F75-7B55-469B-36C2A7E7C6D2}"/>
              </a:ext>
            </a:extLst>
          </p:cNvPr>
          <p:cNvCxnSpPr>
            <a:cxnSpLocks/>
          </p:cNvCxnSpPr>
          <p:nvPr/>
        </p:nvCxnSpPr>
        <p:spPr>
          <a:xfrm>
            <a:off x="6331826" y="4715251"/>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9C166000-40EF-76E8-4453-EE270505AB4A}"/>
              </a:ext>
            </a:extLst>
          </p:cNvPr>
          <p:cNvCxnSpPr>
            <a:cxnSpLocks/>
          </p:cNvCxnSpPr>
          <p:nvPr/>
        </p:nvCxnSpPr>
        <p:spPr>
          <a:xfrm>
            <a:off x="6331826" y="5175415"/>
            <a:ext cx="0" cy="922654"/>
          </a:xfrm>
          <a:prstGeom prst="line">
            <a:avLst/>
          </a:prstGeom>
        </p:spPr>
        <p:style>
          <a:lnRef idx="1">
            <a:schemeClr val="accent1"/>
          </a:lnRef>
          <a:fillRef idx="0">
            <a:schemeClr val="accent1"/>
          </a:fillRef>
          <a:effectRef idx="0">
            <a:schemeClr val="accent1"/>
          </a:effectRef>
          <a:fontRef idx="minor">
            <a:schemeClr val="tx1"/>
          </a:fontRef>
        </p:style>
      </p:cxnSp>
      <p:sp>
        <p:nvSpPr>
          <p:cNvPr id="102" name="Freeform: Shape 101">
            <a:extLst>
              <a:ext uri="{FF2B5EF4-FFF2-40B4-BE49-F238E27FC236}">
                <a16:creationId xmlns:a16="http://schemas.microsoft.com/office/drawing/2014/main" id="{067E4E17-3C1B-B3B2-2A28-95794C3F8D89}"/>
              </a:ext>
            </a:extLst>
          </p:cNvPr>
          <p:cNvSpPr/>
          <p:nvPr/>
        </p:nvSpPr>
        <p:spPr>
          <a:xfrm>
            <a:off x="572433" y="3108435"/>
            <a:ext cx="340475" cy="340460"/>
          </a:xfrm>
          <a:custGeom>
            <a:avLst/>
            <a:gdLst>
              <a:gd name="connsiteX0" fmla="*/ 378435 w 892941"/>
              <a:gd name="connsiteY0" fmla="*/ 298708 h 892902"/>
              <a:gd name="connsiteX1" fmla="*/ 384648 w 892941"/>
              <a:gd name="connsiteY1" fmla="*/ 295991 h 892902"/>
              <a:gd name="connsiteX2" fmla="*/ 390936 w 892941"/>
              <a:gd name="connsiteY2" fmla="*/ 293536 h 892902"/>
              <a:gd name="connsiteX3" fmla="*/ 403512 w 892941"/>
              <a:gd name="connsiteY3" fmla="*/ 249930 h 892902"/>
              <a:gd name="connsiteX4" fmla="*/ 412219 w 892941"/>
              <a:gd name="connsiteY4" fmla="*/ 243344 h 892902"/>
              <a:gd name="connsiteX5" fmla="*/ 412219 w 892941"/>
              <a:gd name="connsiteY5" fmla="*/ 243307 h 892902"/>
              <a:gd name="connsiteX6" fmla="*/ 482280 w 892941"/>
              <a:gd name="connsiteY6" fmla="*/ 243307 h 892902"/>
              <a:gd name="connsiteX7" fmla="*/ 491247 w 892941"/>
              <a:gd name="connsiteY7" fmla="*/ 250749 h 892902"/>
              <a:gd name="connsiteX8" fmla="*/ 503600 w 892941"/>
              <a:gd name="connsiteY8" fmla="*/ 293500 h 892902"/>
              <a:gd name="connsiteX9" fmla="*/ 509888 w 892941"/>
              <a:gd name="connsiteY9" fmla="*/ 295955 h 892902"/>
              <a:gd name="connsiteX10" fmla="*/ 516102 w 892941"/>
              <a:gd name="connsiteY10" fmla="*/ 298671 h 892902"/>
              <a:gd name="connsiteX11" fmla="*/ 555876 w 892941"/>
              <a:gd name="connsiteY11" fmla="*/ 276719 h 892902"/>
              <a:gd name="connsiteX12" fmla="*/ 566666 w 892941"/>
              <a:gd name="connsiteY12" fmla="*/ 278245 h 892902"/>
              <a:gd name="connsiteX13" fmla="*/ 616188 w 892941"/>
              <a:gd name="connsiteY13" fmla="*/ 327767 h 892902"/>
              <a:gd name="connsiteX14" fmla="*/ 617453 w 892941"/>
              <a:gd name="connsiteY14" fmla="*/ 339078 h 892902"/>
              <a:gd name="connsiteX15" fmla="*/ 595799 w 892941"/>
              <a:gd name="connsiteY15" fmla="*/ 378331 h 892902"/>
              <a:gd name="connsiteX16" fmla="*/ 598515 w 892941"/>
              <a:gd name="connsiteY16" fmla="*/ 384544 h 892902"/>
              <a:gd name="connsiteX17" fmla="*/ 600971 w 892941"/>
              <a:gd name="connsiteY17" fmla="*/ 390833 h 892902"/>
              <a:gd name="connsiteX18" fmla="*/ 644577 w 892941"/>
              <a:gd name="connsiteY18" fmla="*/ 403409 h 892902"/>
              <a:gd name="connsiteX19" fmla="*/ 651163 w 892941"/>
              <a:gd name="connsiteY19" fmla="*/ 412116 h 892902"/>
              <a:gd name="connsiteX20" fmla="*/ 651200 w 892941"/>
              <a:gd name="connsiteY20" fmla="*/ 412116 h 892902"/>
              <a:gd name="connsiteX21" fmla="*/ 651200 w 892941"/>
              <a:gd name="connsiteY21" fmla="*/ 482177 h 892902"/>
              <a:gd name="connsiteX22" fmla="*/ 643759 w 892941"/>
              <a:gd name="connsiteY22" fmla="*/ 491144 h 892902"/>
              <a:gd name="connsiteX23" fmla="*/ 601008 w 892941"/>
              <a:gd name="connsiteY23" fmla="*/ 503496 h 892902"/>
              <a:gd name="connsiteX24" fmla="*/ 598552 w 892941"/>
              <a:gd name="connsiteY24" fmla="*/ 509784 h 892902"/>
              <a:gd name="connsiteX25" fmla="*/ 595835 w 892941"/>
              <a:gd name="connsiteY25" fmla="*/ 515998 h 892902"/>
              <a:gd name="connsiteX26" fmla="*/ 617788 w 892941"/>
              <a:gd name="connsiteY26" fmla="*/ 555773 h 892902"/>
              <a:gd name="connsiteX27" fmla="*/ 616263 w 892941"/>
              <a:gd name="connsiteY27" fmla="*/ 566600 h 892902"/>
              <a:gd name="connsiteX28" fmla="*/ 566740 w 892941"/>
              <a:gd name="connsiteY28" fmla="*/ 616122 h 892902"/>
              <a:gd name="connsiteX29" fmla="*/ 555429 w 892941"/>
              <a:gd name="connsiteY29" fmla="*/ 617387 h 892902"/>
              <a:gd name="connsiteX30" fmla="*/ 516176 w 892941"/>
              <a:gd name="connsiteY30" fmla="*/ 595733 h 892902"/>
              <a:gd name="connsiteX31" fmla="*/ 509962 w 892941"/>
              <a:gd name="connsiteY31" fmla="*/ 598448 h 892902"/>
              <a:gd name="connsiteX32" fmla="*/ 503674 w 892941"/>
              <a:gd name="connsiteY32" fmla="*/ 600904 h 892902"/>
              <a:gd name="connsiteX33" fmla="*/ 491099 w 892941"/>
              <a:gd name="connsiteY33" fmla="*/ 644510 h 892902"/>
              <a:gd name="connsiteX34" fmla="*/ 482392 w 892941"/>
              <a:gd name="connsiteY34" fmla="*/ 651097 h 892902"/>
              <a:gd name="connsiteX35" fmla="*/ 482392 w 892941"/>
              <a:gd name="connsiteY35" fmla="*/ 651134 h 892902"/>
              <a:gd name="connsiteX36" fmla="*/ 412331 w 892941"/>
              <a:gd name="connsiteY36" fmla="*/ 651134 h 892902"/>
              <a:gd name="connsiteX37" fmla="*/ 403364 w 892941"/>
              <a:gd name="connsiteY37" fmla="*/ 643692 h 892902"/>
              <a:gd name="connsiteX38" fmla="*/ 391011 w 892941"/>
              <a:gd name="connsiteY38" fmla="*/ 600941 h 892902"/>
              <a:gd name="connsiteX39" fmla="*/ 384723 w 892941"/>
              <a:gd name="connsiteY39" fmla="*/ 598485 h 892902"/>
              <a:gd name="connsiteX40" fmla="*/ 378546 w 892941"/>
              <a:gd name="connsiteY40" fmla="*/ 595769 h 892902"/>
              <a:gd name="connsiteX41" fmla="*/ 338772 w 892941"/>
              <a:gd name="connsiteY41" fmla="*/ 617721 h 892902"/>
              <a:gd name="connsiteX42" fmla="*/ 327945 w 892941"/>
              <a:gd name="connsiteY42" fmla="*/ 616196 h 892902"/>
              <a:gd name="connsiteX43" fmla="*/ 278311 w 892941"/>
              <a:gd name="connsiteY43" fmla="*/ 566674 h 892902"/>
              <a:gd name="connsiteX44" fmla="*/ 277046 w 892941"/>
              <a:gd name="connsiteY44" fmla="*/ 555363 h 892902"/>
              <a:gd name="connsiteX45" fmla="*/ 298700 w 892941"/>
              <a:gd name="connsiteY45" fmla="*/ 516109 h 892902"/>
              <a:gd name="connsiteX46" fmla="*/ 295984 w 892941"/>
              <a:gd name="connsiteY46" fmla="*/ 509895 h 892902"/>
              <a:gd name="connsiteX47" fmla="*/ 293528 w 892941"/>
              <a:gd name="connsiteY47" fmla="*/ 503608 h 892902"/>
              <a:gd name="connsiteX48" fmla="*/ 249922 w 892941"/>
              <a:gd name="connsiteY48" fmla="*/ 491032 h 892902"/>
              <a:gd name="connsiteX49" fmla="*/ 243336 w 892941"/>
              <a:gd name="connsiteY49" fmla="*/ 482325 h 892902"/>
              <a:gd name="connsiteX50" fmla="*/ 243299 w 892941"/>
              <a:gd name="connsiteY50" fmla="*/ 482325 h 892902"/>
              <a:gd name="connsiteX51" fmla="*/ 243299 w 892941"/>
              <a:gd name="connsiteY51" fmla="*/ 412264 h 892902"/>
              <a:gd name="connsiteX52" fmla="*/ 250741 w 892941"/>
              <a:gd name="connsiteY52" fmla="*/ 403297 h 892902"/>
              <a:gd name="connsiteX53" fmla="*/ 293492 w 892941"/>
              <a:gd name="connsiteY53" fmla="*/ 390944 h 892902"/>
              <a:gd name="connsiteX54" fmla="*/ 295947 w 892941"/>
              <a:gd name="connsiteY54" fmla="*/ 384656 h 892902"/>
              <a:gd name="connsiteX55" fmla="*/ 298663 w 892941"/>
              <a:gd name="connsiteY55" fmla="*/ 378443 h 892902"/>
              <a:gd name="connsiteX56" fmla="*/ 276711 w 892941"/>
              <a:gd name="connsiteY56" fmla="*/ 338668 h 892902"/>
              <a:gd name="connsiteX57" fmla="*/ 278237 w 892941"/>
              <a:gd name="connsiteY57" fmla="*/ 327841 h 892902"/>
              <a:gd name="connsiteX58" fmla="*/ 327759 w 892941"/>
              <a:gd name="connsiteY58" fmla="*/ 278319 h 892902"/>
              <a:gd name="connsiteX59" fmla="*/ 339070 w 892941"/>
              <a:gd name="connsiteY59" fmla="*/ 277054 h 892902"/>
              <a:gd name="connsiteX60" fmla="*/ 229531 w 892941"/>
              <a:gd name="connsiteY60" fmla="*/ 131611 h 892902"/>
              <a:gd name="connsiteX61" fmla="*/ 217773 w 892941"/>
              <a:gd name="connsiteY61" fmla="*/ 116207 h 892902"/>
              <a:gd name="connsiteX62" fmla="*/ 166986 w 892941"/>
              <a:gd name="connsiteY62" fmla="*/ 95185 h 892902"/>
              <a:gd name="connsiteX63" fmla="*/ 116198 w 892941"/>
              <a:gd name="connsiteY63" fmla="*/ 116244 h 892902"/>
              <a:gd name="connsiteX64" fmla="*/ 95177 w 892941"/>
              <a:gd name="connsiteY64" fmla="*/ 167032 h 892902"/>
              <a:gd name="connsiteX65" fmla="*/ 116198 w 892941"/>
              <a:gd name="connsiteY65" fmla="*/ 217819 h 892902"/>
              <a:gd name="connsiteX66" fmla="*/ 131602 w 892941"/>
              <a:gd name="connsiteY66" fmla="*/ 229577 h 892902"/>
              <a:gd name="connsiteX67" fmla="*/ 60350 w 892941"/>
              <a:gd name="connsiteY67" fmla="*/ 403779 h 892902"/>
              <a:gd name="connsiteX68" fmla="*/ 50082 w 892941"/>
              <a:gd name="connsiteY68" fmla="*/ 402737 h 892902"/>
              <a:gd name="connsiteX69" fmla="*/ 14660 w 892941"/>
              <a:gd name="connsiteY69" fmla="*/ 417397 h 892902"/>
              <a:gd name="connsiteX70" fmla="*/ 0 w 892941"/>
              <a:gd name="connsiteY70" fmla="*/ 452819 h 892902"/>
              <a:gd name="connsiteX71" fmla="*/ 14660 w 892941"/>
              <a:gd name="connsiteY71" fmla="*/ 488240 h 892902"/>
              <a:gd name="connsiteX72" fmla="*/ 50082 w 892941"/>
              <a:gd name="connsiteY72" fmla="*/ 502900 h 892902"/>
              <a:gd name="connsiteX73" fmla="*/ 61020 w 892941"/>
              <a:gd name="connsiteY73" fmla="*/ 501710 h 892902"/>
              <a:gd name="connsiteX74" fmla="*/ 130709 w 892941"/>
              <a:gd name="connsiteY74" fmla="*/ 665530 h 892902"/>
              <a:gd name="connsiteX75" fmla="*/ 116198 w 892941"/>
              <a:gd name="connsiteY75" fmla="*/ 676767 h 892902"/>
              <a:gd name="connsiteX76" fmla="*/ 95177 w 892941"/>
              <a:gd name="connsiteY76" fmla="*/ 727554 h 892902"/>
              <a:gd name="connsiteX77" fmla="*/ 95140 w 892941"/>
              <a:gd name="connsiteY77" fmla="*/ 727554 h 892902"/>
              <a:gd name="connsiteX78" fmla="*/ 116161 w 892941"/>
              <a:gd name="connsiteY78" fmla="*/ 778341 h 892902"/>
              <a:gd name="connsiteX79" fmla="*/ 166948 w 892941"/>
              <a:gd name="connsiteY79" fmla="*/ 799363 h 892902"/>
              <a:gd name="connsiteX80" fmla="*/ 166948 w 892941"/>
              <a:gd name="connsiteY80" fmla="*/ 799400 h 892902"/>
              <a:gd name="connsiteX81" fmla="*/ 217736 w 892941"/>
              <a:gd name="connsiteY81" fmla="*/ 778378 h 892902"/>
              <a:gd name="connsiteX82" fmla="*/ 229084 w 892941"/>
              <a:gd name="connsiteY82" fmla="*/ 763644 h 892902"/>
              <a:gd name="connsiteX83" fmla="*/ 391161 w 892941"/>
              <a:gd name="connsiteY83" fmla="*/ 832031 h 892902"/>
              <a:gd name="connsiteX84" fmla="*/ 390008 w 892941"/>
              <a:gd name="connsiteY84" fmla="*/ 842821 h 892902"/>
              <a:gd name="connsiteX85" fmla="*/ 390045 w 892941"/>
              <a:gd name="connsiteY85" fmla="*/ 842821 h 892902"/>
              <a:gd name="connsiteX86" fmla="*/ 404668 w 892941"/>
              <a:gd name="connsiteY86" fmla="*/ 878242 h 892902"/>
              <a:gd name="connsiteX87" fmla="*/ 440089 w 892941"/>
              <a:gd name="connsiteY87" fmla="*/ 892902 h 892902"/>
              <a:gd name="connsiteX88" fmla="*/ 475511 w 892941"/>
              <a:gd name="connsiteY88" fmla="*/ 878242 h 892902"/>
              <a:gd name="connsiteX89" fmla="*/ 490171 w 892941"/>
              <a:gd name="connsiteY89" fmla="*/ 842821 h 892902"/>
              <a:gd name="connsiteX90" fmla="*/ 489203 w 892941"/>
              <a:gd name="connsiteY90" fmla="*/ 832923 h 892902"/>
              <a:gd name="connsiteX91" fmla="*/ 664788 w 892941"/>
              <a:gd name="connsiteY91" fmla="*/ 762454 h 892902"/>
              <a:gd name="connsiteX92" fmla="*/ 676767 w 892941"/>
              <a:gd name="connsiteY92" fmla="*/ 778267 h 892902"/>
              <a:gd name="connsiteX93" fmla="*/ 727555 w 892941"/>
              <a:gd name="connsiteY93" fmla="*/ 799289 h 892902"/>
              <a:gd name="connsiteX94" fmla="*/ 778342 w 892941"/>
              <a:gd name="connsiteY94" fmla="*/ 778267 h 892902"/>
              <a:gd name="connsiteX95" fmla="*/ 799365 w 892941"/>
              <a:gd name="connsiteY95" fmla="*/ 727480 h 892902"/>
              <a:gd name="connsiteX96" fmla="*/ 778342 w 892941"/>
              <a:gd name="connsiteY96" fmla="*/ 676692 h 892902"/>
              <a:gd name="connsiteX97" fmla="*/ 762529 w 892941"/>
              <a:gd name="connsiteY97" fmla="*/ 664712 h 892902"/>
              <a:gd name="connsiteX98" fmla="*/ 832961 w 892941"/>
              <a:gd name="connsiteY98" fmla="*/ 489128 h 892902"/>
              <a:gd name="connsiteX99" fmla="*/ 842859 w 892941"/>
              <a:gd name="connsiteY99" fmla="*/ 490096 h 892902"/>
              <a:gd name="connsiteX100" fmla="*/ 878281 w 892941"/>
              <a:gd name="connsiteY100" fmla="*/ 475436 h 892902"/>
              <a:gd name="connsiteX101" fmla="*/ 892941 w 892941"/>
              <a:gd name="connsiteY101" fmla="*/ 440014 h 892902"/>
              <a:gd name="connsiteX102" fmla="*/ 878281 w 892941"/>
              <a:gd name="connsiteY102" fmla="*/ 404593 h 892902"/>
              <a:gd name="connsiteX103" fmla="*/ 842859 w 892941"/>
              <a:gd name="connsiteY103" fmla="*/ 389933 h 892902"/>
              <a:gd name="connsiteX104" fmla="*/ 832070 w 892941"/>
              <a:gd name="connsiteY104" fmla="*/ 391086 h 892902"/>
              <a:gd name="connsiteX105" fmla="*/ 763646 w 892941"/>
              <a:gd name="connsiteY105" fmla="*/ 229047 h 892902"/>
              <a:gd name="connsiteX106" fmla="*/ 778342 w 892941"/>
              <a:gd name="connsiteY106" fmla="*/ 217699 h 892902"/>
              <a:gd name="connsiteX107" fmla="*/ 799365 w 892941"/>
              <a:gd name="connsiteY107" fmla="*/ 166912 h 892902"/>
              <a:gd name="connsiteX108" fmla="*/ 778342 w 892941"/>
              <a:gd name="connsiteY108" fmla="*/ 116124 h 892902"/>
              <a:gd name="connsiteX109" fmla="*/ 727555 w 892941"/>
              <a:gd name="connsiteY109" fmla="*/ 95103 h 892902"/>
              <a:gd name="connsiteX110" fmla="*/ 676767 w 892941"/>
              <a:gd name="connsiteY110" fmla="*/ 116124 h 892902"/>
              <a:gd name="connsiteX111" fmla="*/ 665569 w 892941"/>
              <a:gd name="connsiteY111" fmla="*/ 130635 h 892902"/>
              <a:gd name="connsiteX112" fmla="*/ 501748 w 892941"/>
              <a:gd name="connsiteY112" fmla="*/ 61020 h 892902"/>
              <a:gd name="connsiteX113" fmla="*/ 502939 w 892941"/>
              <a:gd name="connsiteY113" fmla="*/ 50081 h 892902"/>
              <a:gd name="connsiteX114" fmla="*/ 488278 w 892941"/>
              <a:gd name="connsiteY114" fmla="*/ 14660 h 892902"/>
              <a:gd name="connsiteX115" fmla="*/ 452858 w 892941"/>
              <a:gd name="connsiteY115" fmla="*/ 0 h 892902"/>
              <a:gd name="connsiteX116" fmla="*/ 417436 w 892941"/>
              <a:gd name="connsiteY116" fmla="*/ 14660 h 892902"/>
              <a:gd name="connsiteX117" fmla="*/ 402775 w 892941"/>
              <a:gd name="connsiteY117" fmla="*/ 50081 h 892902"/>
              <a:gd name="connsiteX118" fmla="*/ 403854 w 892941"/>
              <a:gd name="connsiteY118" fmla="*/ 60350 h 892902"/>
              <a:gd name="connsiteX119" fmla="*/ 410658 w 892941"/>
              <a:gd name="connsiteY119" fmla="*/ 77139 h 892902"/>
              <a:gd name="connsiteX120" fmla="*/ 417429 w 892941"/>
              <a:gd name="connsiteY120" fmla="*/ 85511 h 892902"/>
              <a:gd name="connsiteX121" fmla="*/ 452851 w 892941"/>
              <a:gd name="connsiteY121" fmla="*/ 100171 h 892902"/>
              <a:gd name="connsiteX122" fmla="*/ 488272 w 892941"/>
              <a:gd name="connsiteY122" fmla="*/ 85511 h 892902"/>
              <a:gd name="connsiteX123" fmla="*/ 494635 w 892941"/>
              <a:gd name="connsiteY123" fmla="*/ 77735 h 892902"/>
              <a:gd name="connsiteX124" fmla="*/ 658456 w 892941"/>
              <a:gd name="connsiteY124" fmla="*/ 147461 h 892902"/>
              <a:gd name="connsiteX125" fmla="*/ 656335 w 892941"/>
              <a:gd name="connsiteY125" fmla="*/ 157879 h 892902"/>
              <a:gd name="connsiteX126" fmla="*/ 238236 w 892941"/>
              <a:gd name="connsiteY126" fmla="*/ 157879 h 892902"/>
              <a:gd name="connsiteX127" fmla="*/ 236374 w 892941"/>
              <a:gd name="connsiteY127" fmla="*/ 148391 h 892902"/>
              <a:gd name="connsiteX128" fmla="*/ 815318 w 892941"/>
              <a:gd name="connsiteY128" fmla="*/ 398199 h 892902"/>
              <a:gd name="connsiteX129" fmla="*/ 807430 w 892941"/>
              <a:gd name="connsiteY129" fmla="*/ 404636 h 892902"/>
              <a:gd name="connsiteX130" fmla="*/ 792771 w 892941"/>
              <a:gd name="connsiteY130" fmla="*/ 440057 h 892902"/>
              <a:gd name="connsiteX131" fmla="*/ 807430 w 892941"/>
              <a:gd name="connsiteY131" fmla="*/ 475479 h 892902"/>
              <a:gd name="connsiteX132" fmla="*/ 816062 w 892941"/>
              <a:gd name="connsiteY132" fmla="*/ 482399 h 892902"/>
              <a:gd name="connsiteX133" fmla="*/ 745629 w 892941"/>
              <a:gd name="connsiteY133" fmla="*/ 657982 h 892902"/>
              <a:gd name="connsiteX134" fmla="*/ 736663 w 892941"/>
              <a:gd name="connsiteY134" fmla="*/ 656271 h 892902"/>
              <a:gd name="connsiteX135" fmla="*/ 736625 w 892941"/>
              <a:gd name="connsiteY135" fmla="*/ 238247 h 892902"/>
              <a:gd name="connsiteX136" fmla="*/ 746857 w 892941"/>
              <a:gd name="connsiteY136" fmla="*/ 236201 h 892902"/>
              <a:gd name="connsiteX137" fmla="*/ 482467 w 892941"/>
              <a:gd name="connsiteY137" fmla="*/ 815994 h 892902"/>
              <a:gd name="connsiteX138" fmla="*/ 475546 w 892941"/>
              <a:gd name="connsiteY138" fmla="*/ 807324 h 892902"/>
              <a:gd name="connsiteX139" fmla="*/ 440125 w 892941"/>
              <a:gd name="connsiteY139" fmla="*/ 792664 h 892902"/>
              <a:gd name="connsiteX140" fmla="*/ 404703 w 892941"/>
              <a:gd name="connsiteY140" fmla="*/ 807324 h 892902"/>
              <a:gd name="connsiteX141" fmla="*/ 398267 w 892941"/>
              <a:gd name="connsiteY141" fmla="*/ 815250 h 892902"/>
              <a:gd name="connsiteX142" fmla="*/ 236190 w 892941"/>
              <a:gd name="connsiteY142" fmla="*/ 746863 h 892902"/>
              <a:gd name="connsiteX143" fmla="*/ 238236 w 892941"/>
              <a:gd name="connsiteY143" fmla="*/ 736594 h 892902"/>
              <a:gd name="connsiteX144" fmla="*/ 656259 w 892941"/>
              <a:gd name="connsiteY144" fmla="*/ 736594 h 892902"/>
              <a:gd name="connsiteX145" fmla="*/ 658008 w 892941"/>
              <a:gd name="connsiteY145" fmla="*/ 745598 h 892902"/>
              <a:gd name="connsiteX146" fmla="*/ 77807 w 892941"/>
              <a:gd name="connsiteY146" fmla="*/ 494563 h 892902"/>
              <a:gd name="connsiteX147" fmla="*/ 85583 w 892941"/>
              <a:gd name="connsiteY147" fmla="*/ 488200 h 892902"/>
              <a:gd name="connsiteX148" fmla="*/ 100243 w 892941"/>
              <a:gd name="connsiteY148" fmla="*/ 452779 h 892902"/>
              <a:gd name="connsiteX149" fmla="*/ 85583 w 892941"/>
              <a:gd name="connsiteY149" fmla="*/ 417357 h 892902"/>
              <a:gd name="connsiteX150" fmla="*/ 77212 w 892941"/>
              <a:gd name="connsiteY150" fmla="*/ 410586 h 892902"/>
              <a:gd name="connsiteX151" fmla="*/ 148463 w 892941"/>
              <a:gd name="connsiteY151" fmla="*/ 236383 h 892902"/>
              <a:gd name="connsiteX152" fmla="*/ 157951 w 892941"/>
              <a:gd name="connsiteY152" fmla="*/ 238243 h 892902"/>
              <a:gd name="connsiteX153" fmla="*/ 157951 w 892941"/>
              <a:gd name="connsiteY153" fmla="*/ 656267 h 892902"/>
              <a:gd name="connsiteX154" fmla="*/ 147496 w 892941"/>
              <a:gd name="connsiteY154" fmla="*/ 658388 h 892902"/>
              <a:gd name="connsiteX155" fmla="*/ 673900 w 892941"/>
              <a:gd name="connsiteY155" fmla="*/ 166246 h 892902"/>
              <a:gd name="connsiteX156" fmla="*/ 689639 w 892941"/>
              <a:gd name="connsiteY156" fmla="*/ 129076 h 892902"/>
              <a:gd name="connsiteX157" fmla="*/ 727553 w 892941"/>
              <a:gd name="connsiteY157" fmla="*/ 113375 h 892902"/>
              <a:gd name="connsiteX158" fmla="*/ 765467 w 892941"/>
              <a:gd name="connsiteY158" fmla="*/ 129076 h 892902"/>
              <a:gd name="connsiteX159" fmla="*/ 781168 w 892941"/>
              <a:gd name="connsiteY159" fmla="*/ 166991 h 892902"/>
              <a:gd name="connsiteX160" fmla="*/ 765467 w 892941"/>
              <a:gd name="connsiteY160" fmla="*/ 204905 h 892902"/>
              <a:gd name="connsiteX161" fmla="*/ 727553 w 892941"/>
              <a:gd name="connsiteY161" fmla="*/ 220606 h 892902"/>
              <a:gd name="connsiteX162" fmla="*/ 689639 w 892941"/>
              <a:gd name="connsiteY162" fmla="*/ 204905 h 892902"/>
              <a:gd name="connsiteX163" fmla="*/ 673938 w 892941"/>
              <a:gd name="connsiteY163" fmla="*/ 166991 h 892902"/>
              <a:gd name="connsiteX164" fmla="*/ 673900 w 892941"/>
              <a:gd name="connsiteY164" fmla="*/ 166247 h 892902"/>
              <a:gd name="connsiteX165" fmla="*/ 656301 w 892941"/>
              <a:gd name="connsiteY165" fmla="*/ 176106 h 892902"/>
              <a:gd name="connsiteX166" fmla="*/ 238239 w 892941"/>
              <a:gd name="connsiteY166" fmla="*/ 176106 h 892902"/>
              <a:gd name="connsiteX167" fmla="*/ 217776 w 892941"/>
              <a:gd name="connsiteY167" fmla="*/ 217778 h 892902"/>
              <a:gd name="connsiteX168" fmla="*/ 176067 w 892941"/>
              <a:gd name="connsiteY168" fmla="*/ 238241 h 892902"/>
              <a:gd name="connsiteX169" fmla="*/ 176104 w 892941"/>
              <a:gd name="connsiteY169" fmla="*/ 656265 h 892902"/>
              <a:gd name="connsiteX170" fmla="*/ 217813 w 892941"/>
              <a:gd name="connsiteY170" fmla="*/ 676729 h 892902"/>
              <a:gd name="connsiteX171" fmla="*/ 238276 w 892941"/>
              <a:gd name="connsiteY171" fmla="*/ 718438 h 892902"/>
              <a:gd name="connsiteX172" fmla="*/ 656300 w 892941"/>
              <a:gd name="connsiteY172" fmla="*/ 718438 h 892902"/>
              <a:gd name="connsiteX173" fmla="*/ 676764 w 892941"/>
              <a:gd name="connsiteY173" fmla="*/ 676729 h 892902"/>
              <a:gd name="connsiteX174" fmla="*/ 718436 w 892941"/>
              <a:gd name="connsiteY174" fmla="*/ 656265 h 892902"/>
              <a:gd name="connsiteX175" fmla="*/ 718398 w 892941"/>
              <a:gd name="connsiteY175" fmla="*/ 238241 h 892902"/>
              <a:gd name="connsiteX176" fmla="*/ 676727 w 892941"/>
              <a:gd name="connsiteY176" fmla="*/ 217778 h 892902"/>
              <a:gd name="connsiteX177" fmla="*/ 656300 w 892941"/>
              <a:gd name="connsiteY177" fmla="*/ 176106 h 892902"/>
              <a:gd name="connsiteX178" fmla="*/ 462677 w 892941"/>
              <a:gd name="connsiteY178" fmla="*/ 820234 h 892902"/>
              <a:gd name="connsiteX179" fmla="*/ 472016 w 892941"/>
              <a:gd name="connsiteY179" fmla="*/ 842782 h 892902"/>
              <a:gd name="connsiteX180" fmla="*/ 462677 w 892941"/>
              <a:gd name="connsiteY180" fmla="*/ 865329 h 892902"/>
              <a:gd name="connsiteX181" fmla="*/ 440129 w 892941"/>
              <a:gd name="connsiteY181" fmla="*/ 874669 h 892902"/>
              <a:gd name="connsiteX182" fmla="*/ 417582 w 892941"/>
              <a:gd name="connsiteY182" fmla="*/ 865329 h 892902"/>
              <a:gd name="connsiteX183" fmla="*/ 408205 w 892941"/>
              <a:gd name="connsiteY183" fmla="*/ 842782 h 892902"/>
              <a:gd name="connsiteX184" fmla="*/ 408242 w 892941"/>
              <a:gd name="connsiteY184" fmla="*/ 842782 h 892902"/>
              <a:gd name="connsiteX185" fmla="*/ 417582 w 892941"/>
              <a:gd name="connsiteY185" fmla="*/ 820234 h 892902"/>
              <a:gd name="connsiteX186" fmla="*/ 440129 w 892941"/>
              <a:gd name="connsiteY186" fmla="*/ 810895 h 892902"/>
              <a:gd name="connsiteX187" fmla="*/ 462677 w 892941"/>
              <a:gd name="connsiteY187" fmla="*/ 820234 h 892902"/>
              <a:gd name="connsiteX188" fmla="*/ 865365 w 892941"/>
              <a:gd name="connsiteY188" fmla="*/ 417508 h 892902"/>
              <a:gd name="connsiteX189" fmla="*/ 874705 w 892941"/>
              <a:gd name="connsiteY189" fmla="*/ 440055 h 892902"/>
              <a:gd name="connsiteX190" fmla="*/ 865365 w 892941"/>
              <a:gd name="connsiteY190" fmla="*/ 462603 h 892902"/>
              <a:gd name="connsiteX191" fmla="*/ 842818 w 892941"/>
              <a:gd name="connsiteY191" fmla="*/ 471942 h 892902"/>
              <a:gd name="connsiteX192" fmla="*/ 820270 w 892941"/>
              <a:gd name="connsiteY192" fmla="*/ 462603 h 892902"/>
              <a:gd name="connsiteX193" fmla="*/ 810931 w 892941"/>
              <a:gd name="connsiteY193" fmla="*/ 440055 h 892902"/>
              <a:gd name="connsiteX194" fmla="*/ 820270 w 892941"/>
              <a:gd name="connsiteY194" fmla="*/ 417508 h 892902"/>
              <a:gd name="connsiteX195" fmla="*/ 842818 w 892941"/>
              <a:gd name="connsiteY195" fmla="*/ 408168 h 892902"/>
              <a:gd name="connsiteX196" fmla="*/ 865365 w 892941"/>
              <a:gd name="connsiteY196" fmla="*/ 417508 h 892902"/>
              <a:gd name="connsiteX197" fmla="*/ 475402 w 892941"/>
              <a:gd name="connsiteY197" fmla="*/ 27545 h 892902"/>
              <a:gd name="connsiteX198" fmla="*/ 484742 w 892941"/>
              <a:gd name="connsiteY198" fmla="*/ 50092 h 892902"/>
              <a:gd name="connsiteX199" fmla="*/ 475402 w 892941"/>
              <a:gd name="connsiteY199" fmla="*/ 72640 h 892902"/>
              <a:gd name="connsiteX200" fmla="*/ 452855 w 892941"/>
              <a:gd name="connsiteY200" fmla="*/ 81979 h 892902"/>
              <a:gd name="connsiteX201" fmla="*/ 430307 w 892941"/>
              <a:gd name="connsiteY201" fmla="*/ 72640 h 892902"/>
              <a:gd name="connsiteX202" fmla="*/ 420968 w 892941"/>
              <a:gd name="connsiteY202" fmla="*/ 50092 h 892902"/>
              <a:gd name="connsiteX203" fmla="*/ 430307 w 892941"/>
              <a:gd name="connsiteY203" fmla="*/ 27545 h 892902"/>
              <a:gd name="connsiteX204" fmla="*/ 452855 w 892941"/>
              <a:gd name="connsiteY204" fmla="*/ 18206 h 892902"/>
              <a:gd name="connsiteX205" fmla="*/ 475402 w 892941"/>
              <a:gd name="connsiteY205" fmla="*/ 27545 h 892902"/>
              <a:gd name="connsiteX206" fmla="*/ 72676 w 892941"/>
              <a:gd name="connsiteY206" fmla="*/ 430233 h 892902"/>
              <a:gd name="connsiteX207" fmla="*/ 82015 w 892941"/>
              <a:gd name="connsiteY207" fmla="*/ 452781 h 892902"/>
              <a:gd name="connsiteX208" fmla="*/ 72676 w 892941"/>
              <a:gd name="connsiteY208" fmla="*/ 475328 h 892902"/>
              <a:gd name="connsiteX209" fmla="*/ 50128 w 892941"/>
              <a:gd name="connsiteY209" fmla="*/ 484667 h 892902"/>
              <a:gd name="connsiteX210" fmla="*/ 27581 w 892941"/>
              <a:gd name="connsiteY210" fmla="*/ 475328 h 892902"/>
              <a:gd name="connsiteX211" fmla="*/ 18242 w 892941"/>
              <a:gd name="connsiteY211" fmla="*/ 452781 h 892902"/>
              <a:gd name="connsiteX212" fmla="*/ 27581 w 892941"/>
              <a:gd name="connsiteY212" fmla="*/ 430233 h 892902"/>
              <a:gd name="connsiteX213" fmla="*/ 50128 w 892941"/>
              <a:gd name="connsiteY213" fmla="*/ 420894 h 892902"/>
              <a:gd name="connsiteX214" fmla="*/ 72676 w 892941"/>
              <a:gd name="connsiteY214" fmla="*/ 430233 h 892902"/>
              <a:gd name="connsiteX215" fmla="*/ 220609 w 892941"/>
              <a:gd name="connsiteY215" fmla="*/ 727518 h 892902"/>
              <a:gd name="connsiteX216" fmla="*/ 204908 w 892941"/>
              <a:gd name="connsiteY216" fmla="*/ 765432 h 892902"/>
              <a:gd name="connsiteX217" fmla="*/ 166993 w 892941"/>
              <a:gd name="connsiteY217" fmla="*/ 781133 h 892902"/>
              <a:gd name="connsiteX218" fmla="*/ 166993 w 892941"/>
              <a:gd name="connsiteY218" fmla="*/ 781170 h 892902"/>
              <a:gd name="connsiteX219" fmla="*/ 129079 w 892941"/>
              <a:gd name="connsiteY219" fmla="*/ 765432 h 892902"/>
              <a:gd name="connsiteX220" fmla="*/ 113378 w 892941"/>
              <a:gd name="connsiteY220" fmla="*/ 727518 h 892902"/>
              <a:gd name="connsiteX221" fmla="*/ 113341 w 892941"/>
              <a:gd name="connsiteY221" fmla="*/ 727518 h 892902"/>
              <a:gd name="connsiteX222" fmla="*/ 129079 w 892941"/>
              <a:gd name="connsiteY222" fmla="*/ 689604 h 892902"/>
              <a:gd name="connsiteX223" fmla="*/ 166993 w 892941"/>
              <a:gd name="connsiteY223" fmla="*/ 673903 h 892902"/>
              <a:gd name="connsiteX224" fmla="*/ 204908 w 892941"/>
              <a:gd name="connsiteY224" fmla="*/ 689604 h 892902"/>
              <a:gd name="connsiteX225" fmla="*/ 220609 w 892941"/>
              <a:gd name="connsiteY225" fmla="*/ 727518 h 892902"/>
              <a:gd name="connsiteX226" fmla="*/ 781136 w 892941"/>
              <a:gd name="connsiteY226" fmla="*/ 727518 h 892902"/>
              <a:gd name="connsiteX227" fmla="*/ 765435 w 892941"/>
              <a:gd name="connsiteY227" fmla="*/ 765432 h 892902"/>
              <a:gd name="connsiteX228" fmla="*/ 727521 w 892941"/>
              <a:gd name="connsiteY228" fmla="*/ 781133 h 892902"/>
              <a:gd name="connsiteX229" fmla="*/ 689606 w 892941"/>
              <a:gd name="connsiteY229" fmla="*/ 765432 h 892902"/>
              <a:gd name="connsiteX230" fmla="*/ 673905 w 892941"/>
              <a:gd name="connsiteY230" fmla="*/ 727518 h 892902"/>
              <a:gd name="connsiteX231" fmla="*/ 689606 w 892941"/>
              <a:gd name="connsiteY231" fmla="*/ 689604 h 892902"/>
              <a:gd name="connsiteX232" fmla="*/ 727521 w 892941"/>
              <a:gd name="connsiteY232" fmla="*/ 673903 h 892902"/>
              <a:gd name="connsiteX233" fmla="*/ 765435 w 892941"/>
              <a:gd name="connsiteY233" fmla="*/ 689604 h 892902"/>
              <a:gd name="connsiteX234" fmla="*/ 781136 w 892941"/>
              <a:gd name="connsiteY234" fmla="*/ 727518 h 892902"/>
              <a:gd name="connsiteX235" fmla="*/ 220609 w 892941"/>
              <a:gd name="connsiteY235" fmla="*/ 166991 h 892902"/>
              <a:gd name="connsiteX236" fmla="*/ 204908 w 892941"/>
              <a:gd name="connsiteY236" fmla="*/ 204905 h 892902"/>
              <a:gd name="connsiteX237" fmla="*/ 166993 w 892941"/>
              <a:gd name="connsiteY237" fmla="*/ 220606 h 892902"/>
              <a:gd name="connsiteX238" fmla="*/ 129079 w 892941"/>
              <a:gd name="connsiteY238" fmla="*/ 204905 h 892902"/>
              <a:gd name="connsiteX239" fmla="*/ 113378 w 892941"/>
              <a:gd name="connsiteY239" fmla="*/ 166991 h 892902"/>
              <a:gd name="connsiteX240" fmla="*/ 129079 w 892941"/>
              <a:gd name="connsiteY240" fmla="*/ 129076 h 892902"/>
              <a:gd name="connsiteX241" fmla="*/ 166993 w 892941"/>
              <a:gd name="connsiteY241" fmla="*/ 113375 h 892902"/>
              <a:gd name="connsiteX242" fmla="*/ 204908 w 892941"/>
              <a:gd name="connsiteY242" fmla="*/ 129076 h 892902"/>
              <a:gd name="connsiteX243" fmla="*/ 220609 w 892941"/>
              <a:gd name="connsiteY243" fmla="*/ 166991 h 892902"/>
              <a:gd name="connsiteX244" fmla="*/ 374609 w 892941"/>
              <a:gd name="connsiteY244" fmla="*/ 374569 h 892902"/>
              <a:gd name="connsiteX245" fmla="*/ 344508 w 892941"/>
              <a:gd name="connsiteY245" fmla="*/ 447234 h 892902"/>
              <a:gd name="connsiteX246" fmla="*/ 374609 w 892941"/>
              <a:gd name="connsiteY246" fmla="*/ 519899 h 892902"/>
              <a:gd name="connsiteX247" fmla="*/ 447274 w 892941"/>
              <a:gd name="connsiteY247" fmla="*/ 550000 h 892902"/>
              <a:gd name="connsiteX248" fmla="*/ 519939 w 892941"/>
              <a:gd name="connsiteY248" fmla="*/ 519899 h 892902"/>
              <a:gd name="connsiteX249" fmla="*/ 550040 w 892941"/>
              <a:gd name="connsiteY249" fmla="*/ 447234 h 892902"/>
              <a:gd name="connsiteX250" fmla="*/ 519939 w 892941"/>
              <a:gd name="connsiteY250" fmla="*/ 374569 h 892902"/>
              <a:gd name="connsiteX251" fmla="*/ 447274 w 892941"/>
              <a:gd name="connsiteY251" fmla="*/ 344468 h 892902"/>
              <a:gd name="connsiteX252" fmla="*/ 374609 w 892941"/>
              <a:gd name="connsiteY252" fmla="*/ 374569 h 892902"/>
              <a:gd name="connsiteX253" fmla="*/ 447274 w 892941"/>
              <a:gd name="connsiteY253" fmla="*/ 362700 h 892902"/>
              <a:gd name="connsiteX254" fmla="*/ 387483 w 892941"/>
              <a:gd name="connsiteY254" fmla="*/ 387443 h 892902"/>
              <a:gd name="connsiteX255" fmla="*/ 362702 w 892941"/>
              <a:gd name="connsiteY255" fmla="*/ 447234 h 892902"/>
              <a:gd name="connsiteX256" fmla="*/ 387483 w 892941"/>
              <a:gd name="connsiteY256" fmla="*/ 507025 h 892902"/>
              <a:gd name="connsiteX257" fmla="*/ 447274 w 892941"/>
              <a:gd name="connsiteY257" fmla="*/ 531806 h 892902"/>
              <a:gd name="connsiteX258" fmla="*/ 507065 w 892941"/>
              <a:gd name="connsiteY258" fmla="*/ 507025 h 892902"/>
              <a:gd name="connsiteX259" fmla="*/ 531846 w 892941"/>
              <a:gd name="connsiteY259" fmla="*/ 447234 h 892902"/>
              <a:gd name="connsiteX260" fmla="*/ 507102 w 892941"/>
              <a:gd name="connsiteY260" fmla="*/ 387443 h 892902"/>
              <a:gd name="connsiteX261" fmla="*/ 447274 w 892941"/>
              <a:gd name="connsiteY261" fmla="*/ 362700 h 892902"/>
              <a:gd name="connsiteX262" fmla="*/ 391538 w 892941"/>
              <a:gd name="connsiteY262" fmla="*/ 312805 h 892902"/>
              <a:gd name="connsiteX263" fmla="*/ 382198 w 892941"/>
              <a:gd name="connsiteY263" fmla="*/ 317084 h 892902"/>
              <a:gd name="connsiteX264" fmla="*/ 373752 w 892941"/>
              <a:gd name="connsiteY264" fmla="*/ 316898 h 892902"/>
              <a:gd name="connsiteX265" fmla="*/ 335875 w 892941"/>
              <a:gd name="connsiteY265" fmla="*/ 295988 h 892902"/>
              <a:gd name="connsiteX266" fmla="*/ 295989 w 892941"/>
              <a:gd name="connsiteY266" fmla="*/ 335874 h 892902"/>
              <a:gd name="connsiteX267" fmla="*/ 316677 w 892941"/>
              <a:gd name="connsiteY267" fmla="*/ 373341 h 892902"/>
              <a:gd name="connsiteX268" fmla="*/ 317049 w 892941"/>
              <a:gd name="connsiteY268" fmla="*/ 382159 h 892902"/>
              <a:gd name="connsiteX269" fmla="*/ 312771 w 892941"/>
              <a:gd name="connsiteY269" fmla="*/ 391498 h 892902"/>
              <a:gd name="connsiteX270" fmla="*/ 309161 w 892941"/>
              <a:gd name="connsiteY270" fmla="*/ 401134 h 892902"/>
              <a:gd name="connsiteX271" fmla="*/ 303022 w 892941"/>
              <a:gd name="connsiteY271" fmla="*/ 407013 h 892902"/>
              <a:gd name="connsiteX272" fmla="*/ 261536 w 892941"/>
              <a:gd name="connsiteY272" fmla="*/ 418994 h 892902"/>
              <a:gd name="connsiteX273" fmla="*/ 261536 w 892941"/>
              <a:gd name="connsiteY273" fmla="*/ 475437 h 892902"/>
              <a:gd name="connsiteX274" fmla="*/ 302835 w 892941"/>
              <a:gd name="connsiteY274" fmla="*/ 487343 h 892902"/>
              <a:gd name="connsiteX275" fmla="*/ 309161 w 892941"/>
              <a:gd name="connsiteY275" fmla="*/ 493259 h 892902"/>
              <a:gd name="connsiteX276" fmla="*/ 312770 w 892941"/>
              <a:gd name="connsiteY276" fmla="*/ 502895 h 892902"/>
              <a:gd name="connsiteX277" fmla="*/ 317048 w 892941"/>
              <a:gd name="connsiteY277" fmla="*/ 512235 h 892902"/>
              <a:gd name="connsiteX278" fmla="*/ 316862 w 892941"/>
              <a:gd name="connsiteY278" fmla="*/ 520681 h 892902"/>
              <a:gd name="connsiteX279" fmla="*/ 295952 w 892941"/>
              <a:gd name="connsiteY279" fmla="*/ 558558 h 892902"/>
              <a:gd name="connsiteX280" fmla="*/ 335838 w 892941"/>
              <a:gd name="connsiteY280" fmla="*/ 598444 h 892902"/>
              <a:gd name="connsiteX281" fmla="*/ 373715 w 892941"/>
              <a:gd name="connsiteY281" fmla="*/ 577533 h 892902"/>
              <a:gd name="connsiteX282" fmla="*/ 373715 w 892941"/>
              <a:gd name="connsiteY282" fmla="*/ 577571 h 892902"/>
              <a:gd name="connsiteX283" fmla="*/ 382124 w 892941"/>
              <a:gd name="connsiteY283" fmla="*/ 577422 h 892902"/>
              <a:gd name="connsiteX284" fmla="*/ 391463 w 892941"/>
              <a:gd name="connsiteY284" fmla="*/ 581663 h 892902"/>
              <a:gd name="connsiteX285" fmla="*/ 401100 w 892941"/>
              <a:gd name="connsiteY285" fmla="*/ 585272 h 892902"/>
              <a:gd name="connsiteX286" fmla="*/ 406978 w 892941"/>
              <a:gd name="connsiteY286" fmla="*/ 591411 h 892902"/>
              <a:gd name="connsiteX287" fmla="*/ 418958 w 892941"/>
              <a:gd name="connsiteY287" fmla="*/ 632897 h 892902"/>
              <a:gd name="connsiteX288" fmla="*/ 475401 w 892941"/>
              <a:gd name="connsiteY288" fmla="*/ 632897 h 892902"/>
              <a:gd name="connsiteX289" fmla="*/ 487308 w 892941"/>
              <a:gd name="connsiteY289" fmla="*/ 591598 h 892902"/>
              <a:gd name="connsiteX290" fmla="*/ 493224 w 892941"/>
              <a:gd name="connsiteY290" fmla="*/ 585273 h 892902"/>
              <a:gd name="connsiteX291" fmla="*/ 502860 w 892941"/>
              <a:gd name="connsiteY291" fmla="*/ 581664 h 892902"/>
              <a:gd name="connsiteX292" fmla="*/ 512199 w 892941"/>
              <a:gd name="connsiteY292" fmla="*/ 577386 h 892902"/>
              <a:gd name="connsiteX293" fmla="*/ 520645 w 892941"/>
              <a:gd name="connsiteY293" fmla="*/ 577571 h 892902"/>
              <a:gd name="connsiteX294" fmla="*/ 558522 w 892941"/>
              <a:gd name="connsiteY294" fmla="*/ 598482 h 892902"/>
              <a:gd name="connsiteX295" fmla="*/ 598408 w 892941"/>
              <a:gd name="connsiteY295" fmla="*/ 558596 h 892902"/>
              <a:gd name="connsiteX296" fmla="*/ 577721 w 892941"/>
              <a:gd name="connsiteY296" fmla="*/ 521128 h 892902"/>
              <a:gd name="connsiteX297" fmla="*/ 577349 w 892941"/>
              <a:gd name="connsiteY297" fmla="*/ 512310 h 892902"/>
              <a:gd name="connsiteX298" fmla="*/ 581628 w 892941"/>
              <a:gd name="connsiteY298" fmla="*/ 502971 h 892902"/>
              <a:gd name="connsiteX299" fmla="*/ 585237 w 892941"/>
              <a:gd name="connsiteY299" fmla="*/ 493334 h 892902"/>
              <a:gd name="connsiteX300" fmla="*/ 591376 w 892941"/>
              <a:gd name="connsiteY300" fmla="*/ 487455 h 892902"/>
              <a:gd name="connsiteX301" fmla="*/ 632862 w 892941"/>
              <a:gd name="connsiteY301" fmla="*/ 475475 h 892902"/>
              <a:gd name="connsiteX302" fmla="*/ 632862 w 892941"/>
              <a:gd name="connsiteY302" fmla="*/ 419032 h 892902"/>
              <a:gd name="connsiteX303" fmla="*/ 591563 w 892941"/>
              <a:gd name="connsiteY303" fmla="*/ 407125 h 892902"/>
              <a:gd name="connsiteX304" fmla="*/ 585238 w 892941"/>
              <a:gd name="connsiteY304" fmla="*/ 401209 h 892902"/>
              <a:gd name="connsiteX305" fmla="*/ 581628 w 892941"/>
              <a:gd name="connsiteY305" fmla="*/ 391573 h 892902"/>
              <a:gd name="connsiteX306" fmla="*/ 577349 w 892941"/>
              <a:gd name="connsiteY306" fmla="*/ 382235 h 892902"/>
              <a:gd name="connsiteX307" fmla="*/ 577536 w 892941"/>
              <a:gd name="connsiteY307" fmla="*/ 373789 h 892902"/>
              <a:gd name="connsiteX308" fmla="*/ 598446 w 892941"/>
              <a:gd name="connsiteY308" fmla="*/ 335912 h 892902"/>
              <a:gd name="connsiteX309" fmla="*/ 558560 w 892941"/>
              <a:gd name="connsiteY309" fmla="*/ 296026 h 892902"/>
              <a:gd name="connsiteX310" fmla="*/ 521093 w 892941"/>
              <a:gd name="connsiteY310" fmla="*/ 316713 h 892902"/>
              <a:gd name="connsiteX311" fmla="*/ 512275 w 892941"/>
              <a:gd name="connsiteY311" fmla="*/ 317085 h 892902"/>
              <a:gd name="connsiteX312" fmla="*/ 502935 w 892941"/>
              <a:gd name="connsiteY312" fmla="*/ 312806 h 892902"/>
              <a:gd name="connsiteX313" fmla="*/ 493299 w 892941"/>
              <a:gd name="connsiteY313" fmla="*/ 309197 h 892902"/>
              <a:gd name="connsiteX314" fmla="*/ 487420 w 892941"/>
              <a:gd name="connsiteY314" fmla="*/ 303058 h 892902"/>
              <a:gd name="connsiteX315" fmla="*/ 475439 w 892941"/>
              <a:gd name="connsiteY315" fmla="*/ 261572 h 892902"/>
              <a:gd name="connsiteX316" fmla="*/ 418996 w 892941"/>
              <a:gd name="connsiteY316" fmla="*/ 261572 h 892902"/>
              <a:gd name="connsiteX317" fmla="*/ 407090 w 892941"/>
              <a:gd name="connsiteY317" fmla="*/ 302871 h 892902"/>
              <a:gd name="connsiteX318" fmla="*/ 401174 w 892941"/>
              <a:gd name="connsiteY318" fmla="*/ 309196 h 892902"/>
              <a:gd name="connsiteX319" fmla="*/ 391538 w 892941"/>
              <a:gd name="connsiteY319" fmla="*/ 312805 h 89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892941" h="892902">
                <a:moveTo>
                  <a:pt x="378435" y="298708"/>
                </a:moveTo>
                <a:cubicBezTo>
                  <a:pt x="380407" y="297777"/>
                  <a:pt x="382491" y="296885"/>
                  <a:pt x="384648" y="295991"/>
                </a:cubicBezTo>
                <a:cubicBezTo>
                  <a:pt x="386695" y="295136"/>
                  <a:pt x="388778" y="294318"/>
                  <a:pt x="390936" y="293536"/>
                </a:cubicBezTo>
                <a:lnTo>
                  <a:pt x="403512" y="249930"/>
                </a:lnTo>
                <a:cubicBezTo>
                  <a:pt x="404666" y="245949"/>
                  <a:pt x="408275" y="243344"/>
                  <a:pt x="412219" y="243344"/>
                </a:cubicBezTo>
                <a:lnTo>
                  <a:pt x="412219" y="243307"/>
                </a:lnTo>
                <a:lnTo>
                  <a:pt x="482280" y="243307"/>
                </a:lnTo>
                <a:cubicBezTo>
                  <a:pt x="486745" y="243307"/>
                  <a:pt x="490465" y="246507"/>
                  <a:pt x="491247" y="250749"/>
                </a:cubicBezTo>
                <a:lnTo>
                  <a:pt x="503600" y="293500"/>
                </a:lnTo>
                <a:cubicBezTo>
                  <a:pt x="505757" y="294281"/>
                  <a:pt x="507842" y="295099"/>
                  <a:pt x="509888" y="295955"/>
                </a:cubicBezTo>
                <a:cubicBezTo>
                  <a:pt x="512046" y="296848"/>
                  <a:pt x="514129" y="297741"/>
                  <a:pt x="516102" y="298671"/>
                </a:cubicBezTo>
                <a:lnTo>
                  <a:pt x="555876" y="276719"/>
                </a:lnTo>
                <a:cubicBezTo>
                  <a:pt x="559522" y="274710"/>
                  <a:pt x="563912" y="275454"/>
                  <a:pt x="566666" y="278245"/>
                </a:cubicBezTo>
                <a:lnTo>
                  <a:pt x="616188" y="327767"/>
                </a:lnTo>
                <a:cubicBezTo>
                  <a:pt x="619276" y="330818"/>
                  <a:pt x="619686" y="335543"/>
                  <a:pt x="617453" y="339078"/>
                </a:cubicBezTo>
                <a:lnTo>
                  <a:pt x="595799" y="378331"/>
                </a:lnTo>
                <a:cubicBezTo>
                  <a:pt x="596729" y="380303"/>
                  <a:pt x="597622" y="382387"/>
                  <a:pt x="598515" y="384544"/>
                </a:cubicBezTo>
                <a:cubicBezTo>
                  <a:pt x="599371" y="386591"/>
                  <a:pt x="600189" y="388675"/>
                  <a:pt x="600971" y="390833"/>
                </a:cubicBezTo>
                <a:lnTo>
                  <a:pt x="644577" y="403409"/>
                </a:lnTo>
                <a:cubicBezTo>
                  <a:pt x="648558" y="404525"/>
                  <a:pt x="651163" y="408171"/>
                  <a:pt x="651163" y="412116"/>
                </a:cubicBezTo>
                <a:lnTo>
                  <a:pt x="651200" y="412116"/>
                </a:lnTo>
                <a:lnTo>
                  <a:pt x="651200" y="482177"/>
                </a:lnTo>
                <a:cubicBezTo>
                  <a:pt x="651200" y="486641"/>
                  <a:pt x="648000" y="490361"/>
                  <a:pt x="643759" y="491144"/>
                </a:cubicBezTo>
                <a:lnTo>
                  <a:pt x="601008" y="503496"/>
                </a:lnTo>
                <a:cubicBezTo>
                  <a:pt x="600226" y="505654"/>
                  <a:pt x="599407" y="507738"/>
                  <a:pt x="598552" y="509784"/>
                </a:cubicBezTo>
                <a:cubicBezTo>
                  <a:pt x="597659" y="511942"/>
                  <a:pt x="596766" y="514025"/>
                  <a:pt x="595835" y="515998"/>
                </a:cubicBezTo>
                <a:lnTo>
                  <a:pt x="617788" y="555773"/>
                </a:lnTo>
                <a:cubicBezTo>
                  <a:pt x="619798" y="559419"/>
                  <a:pt x="619054" y="563809"/>
                  <a:pt x="616263" y="566600"/>
                </a:cubicBezTo>
                <a:lnTo>
                  <a:pt x="566740" y="616122"/>
                </a:lnTo>
                <a:cubicBezTo>
                  <a:pt x="563652" y="619173"/>
                  <a:pt x="558964" y="619620"/>
                  <a:pt x="555429" y="617387"/>
                </a:cubicBezTo>
                <a:lnTo>
                  <a:pt x="516176" y="595733"/>
                </a:lnTo>
                <a:cubicBezTo>
                  <a:pt x="514204" y="596662"/>
                  <a:pt x="512120" y="597556"/>
                  <a:pt x="509962" y="598448"/>
                </a:cubicBezTo>
                <a:cubicBezTo>
                  <a:pt x="507916" y="599305"/>
                  <a:pt x="505833" y="600123"/>
                  <a:pt x="503674" y="600904"/>
                </a:cubicBezTo>
                <a:lnTo>
                  <a:pt x="491099" y="644510"/>
                </a:lnTo>
                <a:cubicBezTo>
                  <a:pt x="489945" y="648492"/>
                  <a:pt x="486336" y="651097"/>
                  <a:pt x="482392" y="651097"/>
                </a:cubicBezTo>
                <a:lnTo>
                  <a:pt x="482392" y="651134"/>
                </a:lnTo>
                <a:lnTo>
                  <a:pt x="412331" y="651134"/>
                </a:lnTo>
                <a:cubicBezTo>
                  <a:pt x="407866" y="651134"/>
                  <a:pt x="404146" y="647934"/>
                  <a:pt x="403364" y="643692"/>
                </a:cubicBezTo>
                <a:lnTo>
                  <a:pt x="391011" y="600941"/>
                </a:lnTo>
                <a:cubicBezTo>
                  <a:pt x="388853" y="600160"/>
                  <a:pt x="386769" y="599341"/>
                  <a:pt x="384723" y="598485"/>
                </a:cubicBezTo>
                <a:cubicBezTo>
                  <a:pt x="382676" y="597630"/>
                  <a:pt x="380593" y="596737"/>
                  <a:pt x="378546" y="595769"/>
                </a:cubicBezTo>
                <a:lnTo>
                  <a:pt x="338772" y="617721"/>
                </a:lnTo>
                <a:cubicBezTo>
                  <a:pt x="335126" y="619731"/>
                  <a:pt x="330736" y="618987"/>
                  <a:pt x="327945" y="616196"/>
                </a:cubicBezTo>
                <a:lnTo>
                  <a:pt x="278311" y="566674"/>
                </a:lnTo>
                <a:cubicBezTo>
                  <a:pt x="275223" y="563586"/>
                  <a:pt x="274813" y="558898"/>
                  <a:pt x="277046" y="555363"/>
                </a:cubicBezTo>
                <a:lnTo>
                  <a:pt x="298700" y="516109"/>
                </a:lnTo>
                <a:cubicBezTo>
                  <a:pt x="297770" y="514137"/>
                  <a:pt x="296877" y="512054"/>
                  <a:pt x="295984" y="509895"/>
                </a:cubicBezTo>
                <a:cubicBezTo>
                  <a:pt x="295128" y="507849"/>
                  <a:pt x="294310" y="505766"/>
                  <a:pt x="293528" y="503608"/>
                </a:cubicBezTo>
                <a:lnTo>
                  <a:pt x="249922" y="491032"/>
                </a:lnTo>
                <a:cubicBezTo>
                  <a:pt x="245941" y="489879"/>
                  <a:pt x="243336" y="486270"/>
                  <a:pt x="243336" y="482325"/>
                </a:cubicBezTo>
                <a:lnTo>
                  <a:pt x="243299" y="482325"/>
                </a:lnTo>
                <a:lnTo>
                  <a:pt x="243299" y="412264"/>
                </a:lnTo>
                <a:cubicBezTo>
                  <a:pt x="243299" y="407800"/>
                  <a:pt x="246499" y="404079"/>
                  <a:pt x="250741" y="403297"/>
                </a:cubicBezTo>
                <a:lnTo>
                  <a:pt x="293492" y="390944"/>
                </a:lnTo>
                <a:cubicBezTo>
                  <a:pt x="294273" y="388787"/>
                  <a:pt x="295091" y="386703"/>
                  <a:pt x="295947" y="384656"/>
                </a:cubicBezTo>
                <a:cubicBezTo>
                  <a:pt x="296840" y="382498"/>
                  <a:pt x="297733" y="380414"/>
                  <a:pt x="298663" y="378443"/>
                </a:cubicBezTo>
                <a:lnTo>
                  <a:pt x="276711" y="338668"/>
                </a:lnTo>
                <a:cubicBezTo>
                  <a:pt x="274702" y="335022"/>
                  <a:pt x="275446" y="330632"/>
                  <a:pt x="278237" y="327841"/>
                </a:cubicBezTo>
                <a:lnTo>
                  <a:pt x="327759" y="278319"/>
                </a:lnTo>
                <a:cubicBezTo>
                  <a:pt x="330847" y="275231"/>
                  <a:pt x="335535" y="274821"/>
                  <a:pt x="339070" y="277054"/>
                </a:cubicBezTo>
                <a:close/>
                <a:moveTo>
                  <a:pt x="229531" y="131611"/>
                </a:moveTo>
                <a:cubicBezTo>
                  <a:pt x="226405" y="126105"/>
                  <a:pt x="222498" y="120895"/>
                  <a:pt x="217773" y="116207"/>
                </a:cubicBezTo>
                <a:cubicBezTo>
                  <a:pt x="203745" y="102180"/>
                  <a:pt x="185366" y="95185"/>
                  <a:pt x="166986" y="95185"/>
                </a:cubicBezTo>
                <a:cubicBezTo>
                  <a:pt x="148605" y="95185"/>
                  <a:pt x="130225" y="102218"/>
                  <a:pt x="116198" y="116244"/>
                </a:cubicBezTo>
                <a:cubicBezTo>
                  <a:pt x="102171" y="130272"/>
                  <a:pt x="95177" y="148651"/>
                  <a:pt x="95177" y="167032"/>
                </a:cubicBezTo>
                <a:cubicBezTo>
                  <a:pt x="95177" y="185412"/>
                  <a:pt x="102209" y="203792"/>
                  <a:pt x="116198" y="217819"/>
                </a:cubicBezTo>
                <a:cubicBezTo>
                  <a:pt x="120887" y="222507"/>
                  <a:pt x="126096" y="226451"/>
                  <a:pt x="131602" y="229577"/>
                </a:cubicBezTo>
                <a:lnTo>
                  <a:pt x="60350" y="403779"/>
                </a:lnTo>
                <a:cubicBezTo>
                  <a:pt x="56965" y="403072"/>
                  <a:pt x="53542" y="402737"/>
                  <a:pt x="50082" y="402737"/>
                </a:cubicBezTo>
                <a:cubicBezTo>
                  <a:pt x="37245" y="402737"/>
                  <a:pt x="24446" y="407611"/>
                  <a:pt x="14660" y="417397"/>
                </a:cubicBezTo>
                <a:cubicBezTo>
                  <a:pt x="4875" y="427182"/>
                  <a:pt x="0" y="439982"/>
                  <a:pt x="0" y="452819"/>
                </a:cubicBezTo>
                <a:cubicBezTo>
                  <a:pt x="0" y="465656"/>
                  <a:pt x="4874" y="478454"/>
                  <a:pt x="14660" y="488240"/>
                </a:cubicBezTo>
                <a:cubicBezTo>
                  <a:pt x="24445" y="498025"/>
                  <a:pt x="37245" y="502900"/>
                  <a:pt x="50082" y="502900"/>
                </a:cubicBezTo>
                <a:cubicBezTo>
                  <a:pt x="53728" y="502900"/>
                  <a:pt x="57411" y="502492"/>
                  <a:pt x="61020" y="501710"/>
                </a:cubicBezTo>
                <a:lnTo>
                  <a:pt x="130709" y="665530"/>
                </a:lnTo>
                <a:cubicBezTo>
                  <a:pt x="125537" y="668581"/>
                  <a:pt x="120626" y="672302"/>
                  <a:pt x="116198" y="676767"/>
                </a:cubicBezTo>
                <a:cubicBezTo>
                  <a:pt x="102208" y="690757"/>
                  <a:pt x="95177" y="709136"/>
                  <a:pt x="95177" y="727554"/>
                </a:cubicBezTo>
                <a:lnTo>
                  <a:pt x="95140" y="727554"/>
                </a:lnTo>
                <a:cubicBezTo>
                  <a:pt x="95140" y="745934"/>
                  <a:pt x="102172" y="764315"/>
                  <a:pt x="116161" y="778341"/>
                </a:cubicBezTo>
                <a:cubicBezTo>
                  <a:pt x="130152" y="792332"/>
                  <a:pt x="148531" y="799363"/>
                  <a:pt x="166948" y="799363"/>
                </a:cubicBezTo>
                <a:lnTo>
                  <a:pt x="166948" y="799400"/>
                </a:lnTo>
                <a:cubicBezTo>
                  <a:pt x="185329" y="799400"/>
                  <a:pt x="203709" y="792368"/>
                  <a:pt x="217736" y="778378"/>
                </a:cubicBezTo>
                <a:cubicBezTo>
                  <a:pt x="222238" y="773877"/>
                  <a:pt x="226033" y="768928"/>
                  <a:pt x="229084" y="763644"/>
                </a:cubicBezTo>
                <a:lnTo>
                  <a:pt x="391161" y="832031"/>
                </a:lnTo>
                <a:cubicBezTo>
                  <a:pt x="390380" y="835566"/>
                  <a:pt x="390008" y="839212"/>
                  <a:pt x="390008" y="842821"/>
                </a:cubicBezTo>
                <a:lnTo>
                  <a:pt x="390045" y="842821"/>
                </a:lnTo>
                <a:cubicBezTo>
                  <a:pt x="390045" y="855658"/>
                  <a:pt x="394919" y="868493"/>
                  <a:pt x="404668" y="878242"/>
                </a:cubicBezTo>
                <a:cubicBezTo>
                  <a:pt x="414453" y="888027"/>
                  <a:pt x="427252" y="892902"/>
                  <a:pt x="440089" y="892902"/>
                </a:cubicBezTo>
                <a:cubicBezTo>
                  <a:pt x="452926" y="892902"/>
                  <a:pt x="465725" y="888028"/>
                  <a:pt x="475511" y="878242"/>
                </a:cubicBezTo>
                <a:cubicBezTo>
                  <a:pt x="485296" y="868457"/>
                  <a:pt x="490171" y="855658"/>
                  <a:pt x="490171" y="842821"/>
                </a:cubicBezTo>
                <a:cubicBezTo>
                  <a:pt x="490171" y="839510"/>
                  <a:pt x="489836" y="836198"/>
                  <a:pt x="489203" y="832923"/>
                </a:cubicBezTo>
                <a:lnTo>
                  <a:pt x="664788" y="762454"/>
                </a:lnTo>
                <a:cubicBezTo>
                  <a:pt x="667950" y="768147"/>
                  <a:pt x="671932" y="773466"/>
                  <a:pt x="676767" y="778267"/>
                </a:cubicBezTo>
                <a:cubicBezTo>
                  <a:pt x="690796" y="792295"/>
                  <a:pt x="709174" y="799289"/>
                  <a:pt x="727555" y="799289"/>
                </a:cubicBezTo>
                <a:cubicBezTo>
                  <a:pt x="745936" y="799289"/>
                  <a:pt x="764316" y="792256"/>
                  <a:pt x="778342" y="778267"/>
                </a:cubicBezTo>
                <a:cubicBezTo>
                  <a:pt x="792370" y="764240"/>
                  <a:pt x="799365" y="745860"/>
                  <a:pt x="799365" y="727480"/>
                </a:cubicBezTo>
                <a:cubicBezTo>
                  <a:pt x="799365" y="709099"/>
                  <a:pt x="792332" y="690719"/>
                  <a:pt x="778342" y="676692"/>
                </a:cubicBezTo>
                <a:cubicBezTo>
                  <a:pt x="773505" y="671856"/>
                  <a:pt x="768186" y="667874"/>
                  <a:pt x="762529" y="664712"/>
                </a:cubicBezTo>
                <a:lnTo>
                  <a:pt x="832961" y="489128"/>
                </a:lnTo>
                <a:cubicBezTo>
                  <a:pt x="836236" y="489798"/>
                  <a:pt x="839548" y="490096"/>
                  <a:pt x="842859" y="490096"/>
                </a:cubicBezTo>
                <a:cubicBezTo>
                  <a:pt x="855696" y="490096"/>
                  <a:pt x="868494" y="485222"/>
                  <a:pt x="878281" y="475436"/>
                </a:cubicBezTo>
                <a:cubicBezTo>
                  <a:pt x="888066" y="465651"/>
                  <a:pt x="892941" y="452851"/>
                  <a:pt x="892941" y="440014"/>
                </a:cubicBezTo>
                <a:cubicBezTo>
                  <a:pt x="892941" y="427177"/>
                  <a:pt x="888066" y="414379"/>
                  <a:pt x="878281" y="404593"/>
                </a:cubicBezTo>
                <a:cubicBezTo>
                  <a:pt x="868495" y="394808"/>
                  <a:pt x="855696" y="389933"/>
                  <a:pt x="842859" y="389933"/>
                </a:cubicBezTo>
                <a:cubicBezTo>
                  <a:pt x="839250" y="389933"/>
                  <a:pt x="835604" y="390304"/>
                  <a:pt x="832070" y="391086"/>
                </a:cubicBezTo>
                <a:lnTo>
                  <a:pt x="763646" y="229047"/>
                </a:lnTo>
                <a:cubicBezTo>
                  <a:pt x="768891" y="225996"/>
                  <a:pt x="773840" y="222200"/>
                  <a:pt x="778342" y="217699"/>
                </a:cubicBezTo>
                <a:cubicBezTo>
                  <a:pt x="792370" y="203671"/>
                  <a:pt x="799365" y="185292"/>
                  <a:pt x="799365" y="166912"/>
                </a:cubicBezTo>
                <a:cubicBezTo>
                  <a:pt x="799365" y="148531"/>
                  <a:pt x="792332" y="130151"/>
                  <a:pt x="778342" y="116124"/>
                </a:cubicBezTo>
                <a:cubicBezTo>
                  <a:pt x="764315" y="102097"/>
                  <a:pt x="745936" y="95103"/>
                  <a:pt x="727555" y="95103"/>
                </a:cubicBezTo>
                <a:cubicBezTo>
                  <a:pt x="709174" y="95103"/>
                  <a:pt x="690795" y="102135"/>
                  <a:pt x="676767" y="116124"/>
                </a:cubicBezTo>
                <a:cubicBezTo>
                  <a:pt x="672340" y="120551"/>
                  <a:pt x="668583" y="125463"/>
                  <a:pt x="665569" y="130635"/>
                </a:cubicBezTo>
                <a:lnTo>
                  <a:pt x="501748" y="61020"/>
                </a:lnTo>
                <a:cubicBezTo>
                  <a:pt x="502567" y="57411"/>
                  <a:pt x="502939" y="53765"/>
                  <a:pt x="502939" y="50081"/>
                </a:cubicBezTo>
                <a:cubicBezTo>
                  <a:pt x="502939" y="37245"/>
                  <a:pt x="498064" y="24446"/>
                  <a:pt x="488278" y="14660"/>
                </a:cubicBezTo>
                <a:cubicBezTo>
                  <a:pt x="478494" y="4875"/>
                  <a:pt x="465693" y="0"/>
                  <a:pt x="452858" y="0"/>
                </a:cubicBezTo>
                <a:cubicBezTo>
                  <a:pt x="440020" y="0"/>
                  <a:pt x="427222" y="4874"/>
                  <a:pt x="417436" y="14660"/>
                </a:cubicBezTo>
                <a:cubicBezTo>
                  <a:pt x="407650" y="24445"/>
                  <a:pt x="402775" y="37245"/>
                  <a:pt x="402775" y="50081"/>
                </a:cubicBezTo>
                <a:cubicBezTo>
                  <a:pt x="402775" y="53542"/>
                  <a:pt x="403110" y="56965"/>
                  <a:pt x="403854" y="60350"/>
                </a:cubicBezTo>
                <a:close/>
                <a:moveTo>
                  <a:pt x="410658" y="77139"/>
                </a:moveTo>
                <a:cubicBezTo>
                  <a:pt x="412555" y="80116"/>
                  <a:pt x="414825" y="82907"/>
                  <a:pt x="417429" y="85511"/>
                </a:cubicBezTo>
                <a:cubicBezTo>
                  <a:pt x="427214" y="95296"/>
                  <a:pt x="440014" y="100171"/>
                  <a:pt x="452851" y="100171"/>
                </a:cubicBezTo>
                <a:cubicBezTo>
                  <a:pt x="465688" y="100171"/>
                  <a:pt x="478486" y="95297"/>
                  <a:pt x="488272" y="85511"/>
                </a:cubicBezTo>
                <a:cubicBezTo>
                  <a:pt x="490691" y="83092"/>
                  <a:pt x="492812" y="80488"/>
                  <a:pt x="494635" y="77735"/>
                </a:cubicBezTo>
                <a:lnTo>
                  <a:pt x="658456" y="147461"/>
                </a:lnTo>
                <a:cubicBezTo>
                  <a:pt x="657488" y="150884"/>
                  <a:pt x="656781" y="154381"/>
                  <a:pt x="656335" y="157879"/>
                </a:cubicBezTo>
                <a:lnTo>
                  <a:pt x="238236" y="157879"/>
                </a:lnTo>
                <a:cubicBezTo>
                  <a:pt x="237826" y="154680"/>
                  <a:pt x="237231" y="151516"/>
                  <a:pt x="236374" y="148391"/>
                </a:cubicBezTo>
                <a:close/>
                <a:moveTo>
                  <a:pt x="815318" y="398199"/>
                </a:moveTo>
                <a:cubicBezTo>
                  <a:pt x="812527" y="400022"/>
                  <a:pt x="809886" y="402180"/>
                  <a:pt x="807430" y="404636"/>
                </a:cubicBezTo>
                <a:cubicBezTo>
                  <a:pt x="797645" y="414421"/>
                  <a:pt x="792771" y="427220"/>
                  <a:pt x="792771" y="440057"/>
                </a:cubicBezTo>
                <a:cubicBezTo>
                  <a:pt x="792771" y="452894"/>
                  <a:pt x="797644" y="465693"/>
                  <a:pt x="807430" y="475479"/>
                </a:cubicBezTo>
                <a:cubicBezTo>
                  <a:pt x="810109" y="478157"/>
                  <a:pt x="813011" y="480464"/>
                  <a:pt x="816062" y="482399"/>
                </a:cubicBezTo>
                <a:lnTo>
                  <a:pt x="745629" y="657982"/>
                </a:lnTo>
                <a:cubicBezTo>
                  <a:pt x="742653" y="657201"/>
                  <a:pt x="739676" y="656643"/>
                  <a:pt x="736663" y="656271"/>
                </a:cubicBezTo>
                <a:lnTo>
                  <a:pt x="736625" y="238247"/>
                </a:lnTo>
                <a:cubicBezTo>
                  <a:pt x="740086" y="237801"/>
                  <a:pt x="743509" y="237132"/>
                  <a:pt x="746857" y="236201"/>
                </a:cubicBezTo>
                <a:close/>
                <a:moveTo>
                  <a:pt x="482467" y="815994"/>
                </a:moveTo>
                <a:cubicBezTo>
                  <a:pt x="480532" y="812943"/>
                  <a:pt x="478225" y="810003"/>
                  <a:pt x="475546" y="807324"/>
                </a:cubicBezTo>
                <a:cubicBezTo>
                  <a:pt x="465761" y="797539"/>
                  <a:pt x="452961" y="792664"/>
                  <a:pt x="440125" y="792664"/>
                </a:cubicBezTo>
                <a:cubicBezTo>
                  <a:pt x="427288" y="792664"/>
                  <a:pt x="414489" y="797539"/>
                  <a:pt x="404703" y="807324"/>
                </a:cubicBezTo>
                <a:cubicBezTo>
                  <a:pt x="402247" y="809781"/>
                  <a:pt x="400090" y="812422"/>
                  <a:pt x="398267" y="815250"/>
                </a:cubicBezTo>
                <a:lnTo>
                  <a:pt x="236190" y="746863"/>
                </a:lnTo>
                <a:cubicBezTo>
                  <a:pt x="237119" y="743477"/>
                  <a:pt x="237826" y="740054"/>
                  <a:pt x="238236" y="736594"/>
                </a:cubicBezTo>
                <a:lnTo>
                  <a:pt x="656259" y="736594"/>
                </a:lnTo>
                <a:cubicBezTo>
                  <a:pt x="656632" y="739608"/>
                  <a:pt x="657227" y="742622"/>
                  <a:pt x="658008" y="745598"/>
                </a:cubicBezTo>
                <a:close/>
                <a:moveTo>
                  <a:pt x="77807" y="494563"/>
                </a:moveTo>
                <a:cubicBezTo>
                  <a:pt x="80561" y="492740"/>
                  <a:pt x="83165" y="490619"/>
                  <a:pt x="85583" y="488200"/>
                </a:cubicBezTo>
                <a:cubicBezTo>
                  <a:pt x="95368" y="478415"/>
                  <a:pt x="100243" y="465616"/>
                  <a:pt x="100243" y="452779"/>
                </a:cubicBezTo>
                <a:cubicBezTo>
                  <a:pt x="100243" y="439942"/>
                  <a:pt x="95369" y="427143"/>
                  <a:pt x="85583" y="417357"/>
                </a:cubicBezTo>
                <a:cubicBezTo>
                  <a:pt x="82979" y="414753"/>
                  <a:pt x="80188" y="412520"/>
                  <a:pt x="77212" y="410586"/>
                </a:cubicBezTo>
                <a:lnTo>
                  <a:pt x="148463" y="236383"/>
                </a:lnTo>
                <a:cubicBezTo>
                  <a:pt x="151588" y="237201"/>
                  <a:pt x="154752" y="237834"/>
                  <a:pt x="157951" y="238243"/>
                </a:cubicBezTo>
                <a:lnTo>
                  <a:pt x="157951" y="656267"/>
                </a:lnTo>
                <a:cubicBezTo>
                  <a:pt x="154416" y="656714"/>
                  <a:pt x="150919" y="657420"/>
                  <a:pt x="147496" y="658388"/>
                </a:cubicBezTo>
                <a:close/>
                <a:moveTo>
                  <a:pt x="673900" y="166246"/>
                </a:moveTo>
                <a:cubicBezTo>
                  <a:pt x="674086" y="152776"/>
                  <a:pt x="679333" y="139382"/>
                  <a:pt x="689639" y="129076"/>
                </a:cubicBezTo>
                <a:cubicBezTo>
                  <a:pt x="700094" y="118621"/>
                  <a:pt x="713824" y="113375"/>
                  <a:pt x="727553" y="113375"/>
                </a:cubicBezTo>
                <a:cubicBezTo>
                  <a:pt x="741282" y="113375"/>
                  <a:pt x="754974" y="118622"/>
                  <a:pt x="765467" y="129076"/>
                </a:cubicBezTo>
                <a:cubicBezTo>
                  <a:pt x="775923" y="139532"/>
                  <a:pt x="781168" y="153261"/>
                  <a:pt x="781168" y="166991"/>
                </a:cubicBezTo>
                <a:cubicBezTo>
                  <a:pt x="781168" y="180720"/>
                  <a:pt x="775922" y="194412"/>
                  <a:pt x="765467" y="204905"/>
                </a:cubicBezTo>
                <a:cubicBezTo>
                  <a:pt x="755012" y="215360"/>
                  <a:pt x="741282" y="220606"/>
                  <a:pt x="727553" y="220606"/>
                </a:cubicBezTo>
                <a:cubicBezTo>
                  <a:pt x="713824" y="220606"/>
                  <a:pt x="700131" y="215360"/>
                  <a:pt x="689639" y="204905"/>
                </a:cubicBezTo>
                <a:cubicBezTo>
                  <a:pt x="679183" y="194449"/>
                  <a:pt x="673938" y="180720"/>
                  <a:pt x="673938" y="166991"/>
                </a:cubicBezTo>
                <a:cubicBezTo>
                  <a:pt x="673938" y="166731"/>
                  <a:pt x="673938" y="166507"/>
                  <a:pt x="673900" y="166247"/>
                </a:cubicBezTo>
                <a:close/>
                <a:moveTo>
                  <a:pt x="656301" y="176106"/>
                </a:moveTo>
                <a:lnTo>
                  <a:pt x="238239" y="176106"/>
                </a:lnTo>
                <a:cubicBezTo>
                  <a:pt x="236305" y="191324"/>
                  <a:pt x="229495" y="206095"/>
                  <a:pt x="217776" y="217778"/>
                </a:cubicBezTo>
                <a:cubicBezTo>
                  <a:pt x="206055" y="229498"/>
                  <a:pt x="191322" y="236307"/>
                  <a:pt x="176067" y="238241"/>
                </a:cubicBezTo>
                <a:lnTo>
                  <a:pt x="176104" y="656265"/>
                </a:lnTo>
                <a:cubicBezTo>
                  <a:pt x="191359" y="658200"/>
                  <a:pt x="206092" y="665009"/>
                  <a:pt x="217813" y="676729"/>
                </a:cubicBezTo>
                <a:cubicBezTo>
                  <a:pt x="229533" y="688449"/>
                  <a:pt x="236342" y="703182"/>
                  <a:pt x="238276" y="718438"/>
                </a:cubicBezTo>
                <a:lnTo>
                  <a:pt x="656300" y="718438"/>
                </a:lnTo>
                <a:cubicBezTo>
                  <a:pt x="658235" y="703182"/>
                  <a:pt x="665044" y="688449"/>
                  <a:pt x="676764" y="676729"/>
                </a:cubicBezTo>
                <a:cubicBezTo>
                  <a:pt x="688447" y="665045"/>
                  <a:pt x="703180" y="658200"/>
                  <a:pt x="718436" y="656265"/>
                </a:cubicBezTo>
                <a:lnTo>
                  <a:pt x="718398" y="238241"/>
                </a:lnTo>
                <a:cubicBezTo>
                  <a:pt x="703180" y="236307"/>
                  <a:pt x="688410" y="229497"/>
                  <a:pt x="676727" y="217778"/>
                </a:cubicBezTo>
                <a:cubicBezTo>
                  <a:pt x="665043" y="206095"/>
                  <a:pt x="658235" y="191324"/>
                  <a:pt x="656300" y="176106"/>
                </a:cubicBezTo>
                <a:close/>
                <a:moveTo>
                  <a:pt x="462677" y="820234"/>
                </a:moveTo>
                <a:cubicBezTo>
                  <a:pt x="468890" y="826447"/>
                  <a:pt x="472016" y="834596"/>
                  <a:pt x="472016" y="842782"/>
                </a:cubicBezTo>
                <a:cubicBezTo>
                  <a:pt x="472016" y="850930"/>
                  <a:pt x="468890" y="859078"/>
                  <a:pt x="462677" y="865329"/>
                </a:cubicBezTo>
                <a:cubicBezTo>
                  <a:pt x="456464" y="871543"/>
                  <a:pt x="448315" y="874669"/>
                  <a:pt x="440129" y="874669"/>
                </a:cubicBezTo>
                <a:cubicBezTo>
                  <a:pt x="431981" y="874669"/>
                  <a:pt x="423833" y="871580"/>
                  <a:pt x="417582" y="865329"/>
                </a:cubicBezTo>
                <a:cubicBezTo>
                  <a:pt x="411330" y="859078"/>
                  <a:pt x="408205" y="850930"/>
                  <a:pt x="408205" y="842782"/>
                </a:cubicBezTo>
                <a:lnTo>
                  <a:pt x="408242" y="842782"/>
                </a:lnTo>
                <a:cubicBezTo>
                  <a:pt x="408242" y="834633"/>
                  <a:pt x="411368" y="826485"/>
                  <a:pt x="417582" y="820234"/>
                </a:cubicBezTo>
                <a:cubicBezTo>
                  <a:pt x="423795" y="814021"/>
                  <a:pt x="431944" y="810895"/>
                  <a:pt x="440129" y="810895"/>
                </a:cubicBezTo>
                <a:cubicBezTo>
                  <a:pt x="448315" y="810895"/>
                  <a:pt x="456463" y="813983"/>
                  <a:pt x="462677" y="820234"/>
                </a:cubicBezTo>
                <a:close/>
                <a:moveTo>
                  <a:pt x="865365" y="417508"/>
                </a:moveTo>
                <a:cubicBezTo>
                  <a:pt x="871578" y="423721"/>
                  <a:pt x="874705" y="431869"/>
                  <a:pt x="874705" y="440055"/>
                </a:cubicBezTo>
                <a:cubicBezTo>
                  <a:pt x="874705" y="448204"/>
                  <a:pt x="871617" y="456352"/>
                  <a:pt x="865365" y="462603"/>
                </a:cubicBezTo>
                <a:cubicBezTo>
                  <a:pt x="859152" y="468816"/>
                  <a:pt x="851004" y="471942"/>
                  <a:pt x="842818" y="471942"/>
                </a:cubicBezTo>
                <a:cubicBezTo>
                  <a:pt x="834669" y="471942"/>
                  <a:pt x="826521" y="468816"/>
                  <a:pt x="820270" y="462603"/>
                </a:cubicBezTo>
                <a:cubicBezTo>
                  <a:pt x="814057" y="456390"/>
                  <a:pt x="810931" y="448241"/>
                  <a:pt x="810931" y="440055"/>
                </a:cubicBezTo>
                <a:cubicBezTo>
                  <a:pt x="810931" y="431907"/>
                  <a:pt x="814056" y="423759"/>
                  <a:pt x="820270" y="417508"/>
                </a:cubicBezTo>
                <a:cubicBezTo>
                  <a:pt x="826483" y="411294"/>
                  <a:pt x="834632" y="408168"/>
                  <a:pt x="842818" y="408168"/>
                </a:cubicBezTo>
                <a:cubicBezTo>
                  <a:pt x="851004" y="408206"/>
                  <a:pt x="859151" y="411294"/>
                  <a:pt x="865365" y="417508"/>
                </a:cubicBezTo>
                <a:close/>
                <a:moveTo>
                  <a:pt x="475402" y="27545"/>
                </a:moveTo>
                <a:cubicBezTo>
                  <a:pt x="481615" y="33758"/>
                  <a:pt x="484742" y="41906"/>
                  <a:pt x="484742" y="50092"/>
                </a:cubicBezTo>
                <a:cubicBezTo>
                  <a:pt x="484742" y="58241"/>
                  <a:pt x="481654" y="66388"/>
                  <a:pt x="475402" y="72640"/>
                </a:cubicBezTo>
                <a:cubicBezTo>
                  <a:pt x="469189" y="78853"/>
                  <a:pt x="461040" y="81979"/>
                  <a:pt x="452855" y="81979"/>
                </a:cubicBezTo>
                <a:cubicBezTo>
                  <a:pt x="444706" y="81979"/>
                  <a:pt x="436558" y="78853"/>
                  <a:pt x="430307" y="72640"/>
                </a:cubicBezTo>
                <a:cubicBezTo>
                  <a:pt x="424094" y="66427"/>
                  <a:pt x="420968" y="58278"/>
                  <a:pt x="420968" y="50092"/>
                </a:cubicBezTo>
                <a:cubicBezTo>
                  <a:pt x="420968" y="41944"/>
                  <a:pt x="424056" y="33796"/>
                  <a:pt x="430307" y="27545"/>
                </a:cubicBezTo>
                <a:cubicBezTo>
                  <a:pt x="436520" y="21331"/>
                  <a:pt x="444669" y="18206"/>
                  <a:pt x="452855" y="18206"/>
                </a:cubicBezTo>
                <a:cubicBezTo>
                  <a:pt x="461003" y="18206"/>
                  <a:pt x="469151" y="21331"/>
                  <a:pt x="475402" y="27545"/>
                </a:cubicBezTo>
                <a:close/>
                <a:moveTo>
                  <a:pt x="72676" y="430233"/>
                </a:moveTo>
                <a:cubicBezTo>
                  <a:pt x="78889" y="436446"/>
                  <a:pt x="82015" y="444595"/>
                  <a:pt x="82015" y="452781"/>
                </a:cubicBezTo>
                <a:cubicBezTo>
                  <a:pt x="82015" y="460929"/>
                  <a:pt x="78889" y="469077"/>
                  <a:pt x="72676" y="475328"/>
                </a:cubicBezTo>
                <a:cubicBezTo>
                  <a:pt x="66463" y="481541"/>
                  <a:pt x="58314" y="484667"/>
                  <a:pt x="50128" y="484667"/>
                </a:cubicBezTo>
                <a:cubicBezTo>
                  <a:pt x="41980" y="484667"/>
                  <a:pt x="33832" y="481541"/>
                  <a:pt x="27581" y="475328"/>
                </a:cubicBezTo>
                <a:cubicBezTo>
                  <a:pt x="21367" y="469115"/>
                  <a:pt x="18242" y="460966"/>
                  <a:pt x="18242" y="452781"/>
                </a:cubicBezTo>
                <a:cubicBezTo>
                  <a:pt x="18242" y="444632"/>
                  <a:pt x="21367" y="436484"/>
                  <a:pt x="27581" y="430233"/>
                </a:cubicBezTo>
                <a:cubicBezTo>
                  <a:pt x="33794" y="424020"/>
                  <a:pt x="41942" y="420894"/>
                  <a:pt x="50128" y="420894"/>
                </a:cubicBezTo>
                <a:cubicBezTo>
                  <a:pt x="58314" y="420894"/>
                  <a:pt x="66462" y="424020"/>
                  <a:pt x="72676" y="430233"/>
                </a:cubicBezTo>
                <a:close/>
                <a:moveTo>
                  <a:pt x="220609" y="727518"/>
                </a:moveTo>
                <a:cubicBezTo>
                  <a:pt x="220609" y="741247"/>
                  <a:pt x="215362" y="754977"/>
                  <a:pt x="204908" y="765432"/>
                </a:cubicBezTo>
                <a:cubicBezTo>
                  <a:pt x="194452" y="775888"/>
                  <a:pt x="180723" y="781133"/>
                  <a:pt x="166993" y="781133"/>
                </a:cubicBezTo>
                <a:lnTo>
                  <a:pt x="166993" y="781170"/>
                </a:lnTo>
                <a:cubicBezTo>
                  <a:pt x="153301" y="781170"/>
                  <a:pt x="139572" y="775924"/>
                  <a:pt x="129079" y="765432"/>
                </a:cubicBezTo>
                <a:cubicBezTo>
                  <a:pt x="118623" y="754977"/>
                  <a:pt x="113378" y="741247"/>
                  <a:pt x="113378" y="727518"/>
                </a:cubicBezTo>
                <a:lnTo>
                  <a:pt x="113341" y="727518"/>
                </a:lnTo>
                <a:cubicBezTo>
                  <a:pt x="113341" y="713826"/>
                  <a:pt x="118587" y="700096"/>
                  <a:pt x="129079" y="689604"/>
                </a:cubicBezTo>
                <a:cubicBezTo>
                  <a:pt x="139535" y="679148"/>
                  <a:pt x="153264" y="673903"/>
                  <a:pt x="166993" y="673903"/>
                </a:cubicBezTo>
                <a:cubicBezTo>
                  <a:pt x="180723" y="673903"/>
                  <a:pt x="194415" y="679149"/>
                  <a:pt x="204908" y="689604"/>
                </a:cubicBezTo>
                <a:cubicBezTo>
                  <a:pt x="215400" y="700096"/>
                  <a:pt x="220609" y="713788"/>
                  <a:pt x="220609" y="727518"/>
                </a:cubicBezTo>
                <a:close/>
                <a:moveTo>
                  <a:pt x="781136" y="727518"/>
                </a:moveTo>
                <a:cubicBezTo>
                  <a:pt x="781136" y="741247"/>
                  <a:pt x="775889" y="754939"/>
                  <a:pt x="765435" y="765432"/>
                </a:cubicBezTo>
                <a:cubicBezTo>
                  <a:pt x="754979" y="775888"/>
                  <a:pt x="741250" y="781133"/>
                  <a:pt x="727521" y="781133"/>
                </a:cubicBezTo>
                <a:cubicBezTo>
                  <a:pt x="713791" y="781133"/>
                  <a:pt x="700099" y="775887"/>
                  <a:pt x="689606" y="765432"/>
                </a:cubicBezTo>
                <a:cubicBezTo>
                  <a:pt x="679151" y="754977"/>
                  <a:pt x="673905" y="741247"/>
                  <a:pt x="673905" y="727518"/>
                </a:cubicBezTo>
                <a:cubicBezTo>
                  <a:pt x="673905" y="713788"/>
                  <a:pt x="679152" y="700059"/>
                  <a:pt x="689606" y="689604"/>
                </a:cubicBezTo>
                <a:cubicBezTo>
                  <a:pt x="700062" y="679148"/>
                  <a:pt x="713791" y="673903"/>
                  <a:pt x="727521" y="673903"/>
                </a:cubicBezTo>
                <a:cubicBezTo>
                  <a:pt x="741250" y="673903"/>
                  <a:pt x="754942" y="679149"/>
                  <a:pt x="765435" y="689604"/>
                </a:cubicBezTo>
                <a:cubicBezTo>
                  <a:pt x="775890" y="700096"/>
                  <a:pt x="781136" y="713788"/>
                  <a:pt x="781136" y="727518"/>
                </a:cubicBezTo>
                <a:close/>
                <a:moveTo>
                  <a:pt x="220609" y="166991"/>
                </a:moveTo>
                <a:cubicBezTo>
                  <a:pt x="220609" y="180720"/>
                  <a:pt x="215362" y="194412"/>
                  <a:pt x="204908" y="204905"/>
                </a:cubicBezTo>
                <a:cubicBezTo>
                  <a:pt x="194452" y="215360"/>
                  <a:pt x="180723" y="220606"/>
                  <a:pt x="166993" y="220606"/>
                </a:cubicBezTo>
                <a:cubicBezTo>
                  <a:pt x="153264" y="220606"/>
                  <a:pt x="139572" y="215360"/>
                  <a:pt x="129079" y="204905"/>
                </a:cubicBezTo>
                <a:cubicBezTo>
                  <a:pt x="118623" y="194449"/>
                  <a:pt x="113378" y="180720"/>
                  <a:pt x="113378" y="166991"/>
                </a:cubicBezTo>
                <a:cubicBezTo>
                  <a:pt x="113378" y="153261"/>
                  <a:pt x="118624" y="139569"/>
                  <a:pt x="129079" y="129076"/>
                </a:cubicBezTo>
                <a:cubicBezTo>
                  <a:pt x="139535" y="118621"/>
                  <a:pt x="153264" y="113375"/>
                  <a:pt x="166993" y="113375"/>
                </a:cubicBezTo>
                <a:cubicBezTo>
                  <a:pt x="180723" y="113375"/>
                  <a:pt x="194415" y="118622"/>
                  <a:pt x="204908" y="129076"/>
                </a:cubicBezTo>
                <a:cubicBezTo>
                  <a:pt x="215400" y="139569"/>
                  <a:pt x="220609" y="153261"/>
                  <a:pt x="220609" y="166991"/>
                </a:cubicBezTo>
                <a:close/>
                <a:moveTo>
                  <a:pt x="374609" y="374569"/>
                </a:moveTo>
                <a:cubicBezTo>
                  <a:pt x="354554" y="394624"/>
                  <a:pt x="344508" y="420929"/>
                  <a:pt x="344508" y="447234"/>
                </a:cubicBezTo>
                <a:cubicBezTo>
                  <a:pt x="344508" y="473539"/>
                  <a:pt x="354554" y="499845"/>
                  <a:pt x="374609" y="519899"/>
                </a:cubicBezTo>
                <a:cubicBezTo>
                  <a:pt x="394664" y="539954"/>
                  <a:pt x="420969" y="550000"/>
                  <a:pt x="447274" y="550000"/>
                </a:cubicBezTo>
                <a:cubicBezTo>
                  <a:pt x="473579" y="550000"/>
                  <a:pt x="499884" y="539954"/>
                  <a:pt x="519939" y="519899"/>
                </a:cubicBezTo>
                <a:cubicBezTo>
                  <a:pt x="539994" y="499845"/>
                  <a:pt x="550040" y="473539"/>
                  <a:pt x="550040" y="447234"/>
                </a:cubicBezTo>
                <a:cubicBezTo>
                  <a:pt x="550040" y="420929"/>
                  <a:pt x="539994" y="394624"/>
                  <a:pt x="519939" y="374569"/>
                </a:cubicBezTo>
                <a:cubicBezTo>
                  <a:pt x="499884" y="354514"/>
                  <a:pt x="473579" y="344468"/>
                  <a:pt x="447274" y="344468"/>
                </a:cubicBezTo>
                <a:cubicBezTo>
                  <a:pt x="420969" y="344505"/>
                  <a:pt x="394664" y="354514"/>
                  <a:pt x="374609" y="374569"/>
                </a:cubicBezTo>
                <a:close/>
                <a:moveTo>
                  <a:pt x="447274" y="362700"/>
                </a:moveTo>
                <a:cubicBezTo>
                  <a:pt x="425620" y="362700"/>
                  <a:pt x="404002" y="370960"/>
                  <a:pt x="387483" y="387443"/>
                </a:cubicBezTo>
                <a:cubicBezTo>
                  <a:pt x="370963" y="403963"/>
                  <a:pt x="362702" y="425580"/>
                  <a:pt x="362702" y="447234"/>
                </a:cubicBezTo>
                <a:cubicBezTo>
                  <a:pt x="362702" y="468888"/>
                  <a:pt x="370963" y="490506"/>
                  <a:pt x="387483" y="507025"/>
                </a:cubicBezTo>
                <a:cubicBezTo>
                  <a:pt x="404003" y="523546"/>
                  <a:pt x="425620" y="531806"/>
                  <a:pt x="447274" y="531806"/>
                </a:cubicBezTo>
                <a:cubicBezTo>
                  <a:pt x="468928" y="531806"/>
                  <a:pt x="490546" y="523546"/>
                  <a:pt x="507065" y="507025"/>
                </a:cubicBezTo>
                <a:cubicBezTo>
                  <a:pt x="523584" y="490505"/>
                  <a:pt x="531846" y="468888"/>
                  <a:pt x="531846" y="447234"/>
                </a:cubicBezTo>
                <a:cubicBezTo>
                  <a:pt x="531846" y="425580"/>
                  <a:pt x="523585" y="403962"/>
                  <a:pt x="507102" y="387443"/>
                </a:cubicBezTo>
                <a:cubicBezTo>
                  <a:pt x="490545" y="370960"/>
                  <a:pt x="468891" y="362700"/>
                  <a:pt x="447274" y="362700"/>
                </a:cubicBezTo>
                <a:close/>
                <a:moveTo>
                  <a:pt x="391538" y="312805"/>
                </a:moveTo>
                <a:cubicBezTo>
                  <a:pt x="388598" y="314033"/>
                  <a:pt x="385473" y="315446"/>
                  <a:pt x="382198" y="317084"/>
                </a:cubicBezTo>
                <a:cubicBezTo>
                  <a:pt x="379631" y="318349"/>
                  <a:pt x="376469" y="318386"/>
                  <a:pt x="373752" y="316898"/>
                </a:cubicBezTo>
                <a:lnTo>
                  <a:pt x="335875" y="295988"/>
                </a:lnTo>
                <a:lnTo>
                  <a:pt x="295989" y="335874"/>
                </a:lnTo>
                <a:lnTo>
                  <a:pt x="316677" y="373341"/>
                </a:lnTo>
                <a:cubicBezTo>
                  <a:pt x="318277" y="375945"/>
                  <a:pt x="318537" y="379257"/>
                  <a:pt x="317049" y="382159"/>
                </a:cubicBezTo>
                <a:cubicBezTo>
                  <a:pt x="315412" y="385433"/>
                  <a:pt x="313998" y="388558"/>
                  <a:pt x="312771" y="391498"/>
                </a:cubicBezTo>
                <a:cubicBezTo>
                  <a:pt x="311430" y="394772"/>
                  <a:pt x="310203" y="397972"/>
                  <a:pt x="309161" y="401134"/>
                </a:cubicBezTo>
                <a:cubicBezTo>
                  <a:pt x="308231" y="403888"/>
                  <a:pt x="306035" y="406158"/>
                  <a:pt x="303022" y="407013"/>
                </a:cubicBezTo>
                <a:lnTo>
                  <a:pt x="261536" y="418994"/>
                </a:lnTo>
                <a:lnTo>
                  <a:pt x="261536" y="475437"/>
                </a:lnTo>
                <a:lnTo>
                  <a:pt x="302835" y="487343"/>
                </a:lnTo>
                <a:cubicBezTo>
                  <a:pt x="305700" y="488088"/>
                  <a:pt x="308156" y="490245"/>
                  <a:pt x="309161" y="493259"/>
                </a:cubicBezTo>
                <a:cubicBezTo>
                  <a:pt x="310203" y="496421"/>
                  <a:pt x="311430" y="499622"/>
                  <a:pt x="312770" y="502895"/>
                </a:cubicBezTo>
                <a:cubicBezTo>
                  <a:pt x="313997" y="505835"/>
                  <a:pt x="315411" y="508960"/>
                  <a:pt x="317048" y="512235"/>
                </a:cubicBezTo>
                <a:cubicBezTo>
                  <a:pt x="318313" y="514802"/>
                  <a:pt x="318350" y="517964"/>
                  <a:pt x="316862" y="520681"/>
                </a:cubicBezTo>
                <a:lnTo>
                  <a:pt x="295952" y="558558"/>
                </a:lnTo>
                <a:lnTo>
                  <a:pt x="335838" y="598444"/>
                </a:lnTo>
                <a:lnTo>
                  <a:pt x="373715" y="577533"/>
                </a:lnTo>
                <a:lnTo>
                  <a:pt x="373715" y="577571"/>
                </a:lnTo>
                <a:cubicBezTo>
                  <a:pt x="376245" y="576194"/>
                  <a:pt x="379370" y="576008"/>
                  <a:pt x="382124" y="577422"/>
                </a:cubicBezTo>
                <a:cubicBezTo>
                  <a:pt x="385138" y="578910"/>
                  <a:pt x="388226" y="580324"/>
                  <a:pt x="391463" y="581663"/>
                </a:cubicBezTo>
                <a:cubicBezTo>
                  <a:pt x="394737" y="583040"/>
                  <a:pt x="397936" y="584230"/>
                  <a:pt x="401100" y="585272"/>
                </a:cubicBezTo>
                <a:cubicBezTo>
                  <a:pt x="403852" y="586203"/>
                  <a:pt x="406122" y="588398"/>
                  <a:pt x="406978" y="591411"/>
                </a:cubicBezTo>
                <a:lnTo>
                  <a:pt x="418958" y="632897"/>
                </a:lnTo>
                <a:lnTo>
                  <a:pt x="475401" y="632897"/>
                </a:lnTo>
                <a:lnTo>
                  <a:pt x="487308" y="591598"/>
                </a:lnTo>
                <a:cubicBezTo>
                  <a:pt x="488052" y="588734"/>
                  <a:pt x="490210" y="586278"/>
                  <a:pt x="493224" y="585273"/>
                </a:cubicBezTo>
                <a:cubicBezTo>
                  <a:pt x="496387" y="584231"/>
                  <a:pt x="499586" y="583004"/>
                  <a:pt x="502860" y="581664"/>
                </a:cubicBezTo>
                <a:cubicBezTo>
                  <a:pt x="505799" y="580437"/>
                  <a:pt x="508926" y="579022"/>
                  <a:pt x="512199" y="577386"/>
                </a:cubicBezTo>
                <a:cubicBezTo>
                  <a:pt x="514766" y="576120"/>
                  <a:pt x="517930" y="576083"/>
                  <a:pt x="520645" y="577571"/>
                </a:cubicBezTo>
                <a:lnTo>
                  <a:pt x="558522" y="598482"/>
                </a:lnTo>
                <a:lnTo>
                  <a:pt x="598408" y="558596"/>
                </a:lnTo>
                <a:lnTo>
                  <a:pt x="577721" y="521128"/>
                </a:lnTo>
                <a:cubicBezTo>
                  <a:pt x="576122" y="518523"/>
                  <a:pt x="575861" y="515212"/>
                  <a:pt x="577349" y="512310"/>
                </a:cubicBezTo>
                <a:cubicBezTo>
                  <a:pt x="578986" y="509036"/>
                  <a:pt x="580400" y="505910"/>
                  <a:pt x="581628" y="502971"/>
                </a:cubicBezTo>
                <a:cubicBezTo>
                  <a:pt x="583004" y="499697"/>
                  <a:pt x="584195" y="496497"/>
                  <a:pt x="585237" y="493334"/>
                </a:cubicBezTo>
                <a:cubicBezTo>
                  <a:pt x="586167" y="490582"/>
                  <a:pt x="588362" y="488312"/>
                  <a:pt x="591376" y="487455"/>
                </a:cubicBezTo>
                <a:lnTo>
                  <a:pt x="632862" y="475475"/>
                </a:lnTo>
                <a:lnTo>
                  <a:pt x="632862" y="419032"/>
                </a:lnTo>
                <a:lnTo>
                  <a:pt x="591563" y="407125"/>
                </a:lnTo>
                <a:cubicBezTo>
                  <a:pt x="588697" y="406381"/>
                  <a:pt x="586242" y="404224"/>
                  <a:pt x="585238" y="401209"/>
                </a:cubicBezTo>
                <a:cubicBezTo>
                  <a:pt x="584196" y="398047"/>
                  <a:pt x="582968" y="394848"/>
                  <a:pt x="581628" y="391573"/>
                </a:cubicBezTo>
                <a:cubicBezTo>
                  <a:pt x="580400" y="388635"/>
                  <a:pt x="578987" y="385508"/>
                  <a:pt x="577349" y="382235"/>
                </a:cubicBezTo>
                <a:cubicBezTo>
                  <a:pt x="576084" y="379667"/>
                  <a:pt x="576047" y="376504"/>
                  <a:pt x="577536" y="373789"/>
                </a:cubicBezTo>
                <a:lnTo>
                  <a:pt x="598446" y="335912"/>
                </a:lnTo>
                <a:lnTo>
                  <a:pt x="558560" y="296026"/>
                </a:lnTo>
                <a:lnTo>
                  <a:pt x="521093" y="316713"/>
                </a:lnTo>
                <a:cubicBezTo>
                  <a:pt x="518488" y="318312"/>
                  <a:pt x="515177" y="318573"/>
                  <a:pt x="512275" y="317085"/>
                </a:cubicBezTo>
                <a:cubicBezTo>
                  <a:pt x="509000" y="315447"/>
                  <a:pt x="505875" y="314034"/>
                  <a:pt x="502935" y="312806"/>
                </a:cubicBezTo>
                <a:cubicBezTo>
                  <a:pt x="499662" y="311430"/>
                  <a:pt x="496461" y="310239"/>
                  <a:pt x="493299" y="309197"/>
                </a:cubicBezTo>
                <a:cubicBezTo>
                  <a:pt x="490545" y="308266"/>
                  <a:pt x="488276" y="306072"/>
                  <a:pt x="487420" y="303058"/>
                </a:cubicBezTo>
                <a:lnTo>
                  <a:pt x="475439" y="261572"/>
                </a:lnTo>
                <a:lnTo>
                  <a:pt x="418996" y="261572"/>
                </a:lnTo>
                <a:lnTo>
                  <a:pt x="407090" y="302871"/>
                </a:lnTo>
                <a:cubicBezTo>
                  <a:pt x="406346" y="305736"/>
                  <a:pt x="404188" y="308192"/>
                  <a:pt x="401174" y="309196"/>
                </a:cubicBezTo>
                <a:cubicBezTo>
                  <a:pt x="398049" y="310238"/>
                  <a:pt x="394812" y="311429"/>
                  <a:pt x="391538" y="312805"/>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3" name="Freeform: Shape 102">
            <a:extLst>
              <a:ext uri="{FF2B5EF4-FFF2-40B4-BE49-F238E27FC236}">
                <a16:creationId xmlns:a16="http://schemas.microsoft.com/office/drawing/2014/main" id="{DB48376F-2138-83CD-5AB1-C8AC1CC33D68}"/>
              </a:ext>
            </a:extLst>
          </p:cNvPr>
          <p:cNvSpPr/>
          <p:nvPr/>
        </p:nvSpPr>
        <p:spPr>
          <a:xfrm>
            <a:off x="574845" y="4756594"/>
            <a:ext cx="326754" cy="347950"/>
          </a:xfrm>
          <a:custGeom>
            <a:avLst/>
            <a:gdLst>
              <a:gd name="connsiteX0" fmla="*/ 4326437 w 4401374"/>
              <a:gd name="connsiteY0" fmla="*/ 3054925 h 4686891"/>
              <a:gd name="connsiteX1" fmla="*/ 2204429 w 4401374"/>
              <a:gd name="connsiteY1" fmla="*/ 4686892 h 4686891"/>
              <a:gd name="connsiteX2" fmla="*/ 1631300 w 4401374"/>
              <a:gd name="connsiteY2" fmla="*/ 4610958 h 4686891"/>
              <a:gd name="connsiteX3" fmla="*/ 27004 w 4401374"/>
              <a:gd name="connsiteY3" fmla="*/ 2143031 h 4686891"/>
              <a:gd name="connsiteX4" fmla="*/ 706375 w 4401374"/>
              <a:gd name="connsiteY4" fmla="*/ 869462 h 4686891"/>
              <a:gd name="connsiteX5" fmla="*/ 787137 w 4401374"/>
              <a:gd name="connsiteY5" fmla="*/ 872691 h 4686891"/>
              <a:gd name="connsiteX6" fmla="*/ 783908 w 4401374"/>
              <a:gd name="connsiteY6" fmla="*/ 953453 h 4686891"/>
              <a:gd name="connsiteX7" fmla="*/ 394088 w 4401374"/>
              <a:gd name="connsiteY7" fmla="*/ 3528508 h 4686891"/>
              <a:gd name="connsiteX8" fmla="*/ 3243968 w 4401374"/>
              <a:gd name="connsiteY8" fmla="*/ 4292137 h 4686891"/>
              <a:gd name="connsiteX9" fmla="*/ 4007587 w 4401374"/>
              <a:gd name="connsiteY9" fmla="*/ 1442257 h 4686891"/>
              <a:gd name="connsiteX10" fmla="*/ 1918593 w 4401374"/>
              <a:gd name="connsiteY10" fmla="*/ 417720 h 4686891"/>
              <a:gd name="connsiteX11" fmla="*/ 2168891 w 4401374"/>
              <a:gd name="connsiteY11" fmla="*/ 581921 h 4686891"/>
              <a:gd name="connsiteX12" fmla="*/ 2186169 w 4401374"/>
              <a:gd name="connsiteY12" fmla="*/ 660876 h 4686891"/>
              <a:gd name="connsiteX13" fmla="*/ 2107207 w 4401374"/>
              <a:gd name="connsiteY13" fmla="*/ 678150 h 4686891"/>
              <a:gd name="connsiteX14" fmla="*/ 2106198 w 4401374"/>
              <a:gd name="connsiteY14" fmla="*/ 677485 h 4686891"/>
              <a:gd name="connsiteX15" fmla="*/ 1735370 w 4401374"/>
              <a:gd name="connsiteY15" fmla="*/ 434207 h 4686891"/>
              <a:gd name="connsiteX16" fmla="*/ 1718940 w 4401374"/>
              <a:gd name="connsiteY16" fmla="*/ 355072 h 4686891"/>
              <a:gd name="connsiteX17" fmla="*/ 1724074 w 4401374"/>
              <a:gd name="connsiteY17" fmla="*/ 348387 h 4686891"/>
              <a:gd name="connsiteX18" fmla="*/ 2017748 w 4401374"/>
              <a:gd name="connsiteY18" fmla="*/ 19108 h 4686891"/>
              <a:gd name="connsiteX19" fmla="*/ 2098435 w 4401374"/>
              <a:gd name="connsiteY19" fmla="*/ 14502 h 4686891"/>
              <a:gd name="connsiteX20" fmla="*/ 2103045 w 4401374"/>
              <a:gd name="connsiteY20" fmla="*/ 95193 h 4686891"/>
              <a:gd name="connsiteX21" fmla="*/ 1918174 w 4401374"/>
              <a:gd name="connsiteY21" fmla="*/ 302477 h 4686891"/>
              <a:gd name="connsiteX22" fmla="*/ 4383225 w 4401374"/>
              <a:gd name="connsiteY22" fmla="*/ 2203390 h 4686891"/>
              <a:gd name="connsiteX23" fmla="*/ 4326437 w 4401374"/>
              <a:gd name="connsiteY23" fmla="*/ 3054925 h 4686891"/>
              <a:gd name="connsiteX24" fmla="*/ 753095 w 4401374"/>
              <a:gd name="connsiteY24" fmla="*/ 2209915 h 4686891"/>
              <a:gd name="connsiteX25" fmla="*/ 809245 w 4401374"/>
              <a:gd name="connsiteY25" fmla="*/ 2000251 h 4686891"/>
              <a:gd name="connsiteX26" fmla="*/ 936080 w 4401374"/>
              <a:gd name="connsiteY26" fmla="*/ 1898486 h 4686891"/>
              <a:gd name="connsiteX27" fmla="*/ 1084727 w 4401374"/>
              <a:gd name="connsiteY27" fmla="*/ 1892047 h 4686891"/>
              <a:gd name="connsiteX28" fmla="*/ 1338235 w 4401374"/>
              <a:gd name="connsiteY28" fmla="*/ 1561282 h 4686891"/>
              <a:gd name="connsiteX29" fmla="*/ 1306307 w 4401374"/>
              <a:gd name="connsiteY29" fmla="*/ 1415320 h 4686891"/>
              <a:gd name="connsiteX30" fmla="*/ 1371877 w 4401374"/>
              <a:gd name="connsiteY30" fmla="*/ 1266883 h 4686891"/>
              <a:gd name="connsiteX31" fmla="*/ 1559853 w 4401374"/>
              <a:gd name="connsiteY31" fmla="*/ 1158355 h 4686891"/>
              <a:gd name="connsiteX32" fmla="*/ 1721511 w 4401374"/>
              <a:gd name="connsiteY32" fmla="*/ 1176091 h 4686891"/>
              <a:gd name="connsiteX33" fmla="*/ 1831049 w 4401374"/>
              <a:gd name="connsiteY33" fmla="*/ 1276551 h 4686891"/>
              <a:gd name="connsiteX34" fmla="*/ 2244224 w 4401374"/>
              <a:gd name="connsiteY34" fmla="*/ 1222115 h 4686891"/>
              <a:gd name="connsiteX35" fmla="*/ 2324930 w 4401374"/>
              <a:gd name="connsiteY35" fmla="*/ 1096223 h 4686891"/>
              <a:gd name="connsiteX36" fmla="*/ 2476244 w 4401374"/>
              <a:gd name="connsiteY36" fmla="*/ 1037626 h 4686891"/>
              <a:gd name="connsiteX37" fmla="*/ 2685918 w 4401374"/>
              <a:gd name="connsiteY37" fmla="*/ 1093823 h 4686891"/>
              <a:gd name="connsiteX38" fmla="*/ 2787683 w 4401374"/>
              <a:gd name="connsiteY38" fmla="*/ 1220668 h 4686891"/>
              <a:gd name="connsiteX39" fmla="*/ 2794122 w 4401374"/>
              <a:gd name="connsiteY39" fmla="*/ 1369305 h 4686891"/>
              <a:gd name="connsiteX40" fmla="*/ 3124858 w 4401374"/>
              <a:gd name="connsiteY40" fmla="*/ 1622823 h 4686891"/>
              <a:gd name="connsiteX41" fmla="*/ 3270848 w 4401374"/>
              <a:gd name="connsiteY41" fmla="*/ 1590885 h 4686891"/>
              <a:gd name="connsiteX42" fmla="*/ 3419276 w 4401374"/>
              <a:gd name="connsiteY42" fmla="*/ 1656455 h 4686891"/>
              <a:gd name="connsiteX43" fmla="*/ 3527813 w 4401374"/>
              <a:gd name="connsiteY43" fmla="*/ 1844441 h 4686891"/>
              <a:gd name="connsiteX44" fmla="*/ 3510078 w 4401374"/>
              <a:gd name="connsiteY44" fmla="*/ 2006090 h 4686891"/>
              <a:gd name="connsiteX45" fmla="*/ 3409618 w 4401374"/>
              <a:gd name="connsiteY45" fmla="*/ 2115627 h 4686891"/>
              <a:gd name="connsiteX46" fmla="*/ 3464043 w 4401374"/>
              <a:gd name="connsiteY46" fmla="*/ 2528803 h 4686891"/>
              <a:gd name="connsiteX47" fmla="*/ 3589935 w 4401374"/>
              <a:gd name="connsiteY47" fmla="*/ 2609508 h 4686891"/>
              <a:gd name="connsiteX48" fmla="*/ 3648533 w 4401374"/>
              <a:gd name="connsiteY48" fmla="*/ 2760832 h 4686891"/>
              <a:gd name="connsiteX49" fmla="*/ 3592336 w 4401374"/>
              <a:gd name="connsiteY49" fmla="*/ 2970486 h 4686891"/>
              <a:gd name="connsiteX50" fmla="*/ 3465491 w 4401374"/>
              <a:gd name="connsiteY50" fmla="*/ 3072261 h 4686891"/>
              <a:gd name="connsiteX51" fmla="*/ 3316844 w 4401374"/>
              <a:gd name="connsiteY51" fmla="*/ 3078700 h 4686891"/>
              <a:gd name="connsiteX52" fmla="*/ 3063336 w 4401374"/>
              <a:gd name="connsiteY52" fmla="*/ 3409437 h 4686891"/>
              <a:gd name="connsiteX53" fmla="*/ 3095264 w 4401374"/>
              <a:gd name="connsiteY53" fmla="*/ 3555426 h 4686891"/>
              <a:gd name="connsiteX54" fmla="*/ 3029704 w 4401374"/>
              <a:gd name="connsiteY54" fmla="*/ 3703854 h 4686891"/>
              <a:gd name="connsiteX55" fmla="*/ 2841728 w 4401374"/>
              <a:gd name="connsiteY55" fmla="*/ 3812382 h 4686891"/>
              <a:gd name="connsiteX56" fmla="*/ 2680060 w 4401374"/>
              <a:gd name="connsiteY56" fmla="*/ 3794656 h 4686891"/>
              <a:gd name="connsiteX57" fmla="*/ 2570522 w 4401374"/>
              <a:gd name="connsiteY57" fmla="*/ 3694196 h 4686891"/>
              <a:gd name="connsiteX58" fmla="*/ 2157356 w 4401374"/>
              <a:gd name="connsiteY58" fmla="*/ 3748631 h 4686891"/>
              <a:gd name="connsiteX59" fmla="*/ 2076651 w 4401374"/>
              <a:gd name="connsiteY59" fmla="*/ 3874514 h 4686891"/>
              <a:gd name="connsiteX60" fmla="*/ 1961189 w 4401374"/>
              <a:gd name="connsiteY60" fmla="*/ 3937855 h 4686891"/>
              <a:gd name="connsiteX61" fmla="*/ 1925327 w 4401374"/>
              <a:gd name="connsiteY61" fmla="*/ 3933092 h 4686891"/>
              <a:gd name="connsiteX62" fmla="*/ 1715663 w 4401374"/>
              <a:gd name="connsiteY62" fmla="*/ 3876895 h 4686891"/>
              <a:gd name="connsiteX63" fmla="*/ 1613898 w 4401374"/>
              <a:gd name="connsiteY63" fmla="*/ 3750050 h 4686891"/>
              <a:gd name="connsiteX64" fmla="*/ 1607459 w 4401374"/>
              <a:gd name="connsiteY64" fmla="*/ 3601403 h 4686891"/>
              <a:gd name="connsiteX65" fmla="*/ 1276713 w 4401374"/>
              <a:gd name="connsiteY65" fmla="*/ 3347895 h 4686891"/>
              <a:gd name="connsiteX66" fmla="*/ 1130733 w 4401374"/>
              <a:gd name="connsiteY66" fmla="*/ 3379823 h 4686891"/>
              <a:gd name="connsiteX67" fmla="*/ 982295 w 4401374"/>
              <a:gd name="connsiteY67" fmla="*/ 3314253 h 4686891"/>
              <a:gd name="connsiteX68" fmla="*/ 873824 w 4401374"/>
              <a:gd name="connsiteY68" fmla="*/ 3126325 h 4686891"/>
              <a:gd name="connsiteX69" fmla="*/ 891560 w 4401374"/>
              <a:gd name="connsiteY69" fmla="*/ 2964667 h 4686891"/>
              <a:gd name="connsiteX70" fmla="*/ 992030 w 4401374"/>
              <a:gd name="connsiteY70" fmla="*/ 2855129 h 4686891"/>
              <a:gd name="connsiteX71" fmla="*/ 937613 w 4401374"/>
              <a:gd name="connsiteY71" fmla="*/ 2441992 h 4686891"/>
              <a:gd name="connsiteX72" fmla="*/ 811693 w 4401374"/>
              <a:gd name="connsiteY72" fmla="*/ 2361267 h 4686891"/>
              <a:gd name="connsiteX73" fmla="*/ 753095 w 4401374"/>
              <a:gd name="connsiteY73" fmla="*/ 2209915 h 4686891"/>
              <a:gd name="connsiteX74" fmla="*/ 873386 w 4401374"/>
              <a:gd name="connsiteY74" fmla="*/ 2265017 h 4686891"/>
              <a:gd name="connsiteX75" fmla="*/ 1027148 w 4401374"/>
              <a:gd name="connsiteY75" fmla="*/ 2363591 h 4686891"/>
              <a:gd name="connsiteX76" fmla="*/ 1053342 w 4401374"/>
              <a:gd name="connsiteY76" fmla="*/ 2415236 h 4686891"/>
              <a:gd name="connsiteX77" fmla="*/ 1110778 w 4401374"/>
              <a:gd name="connsiteY77" fmla="*/ 2850995 h 4686891"/>
              <a:gd name="connsiteX78" fmla="*/ 1098738 w 4401374"/>
              <a:gd name="connsiteY78" fmla="*/ 2907859 h 4686891"/>
              <a:gd name="connsiteX79" fmla="*/ 975799 w 4401374"/>
              <a:gd name="connsiteY79" fmla="*/ 3041924 h 4686891"/>
              <a:gd name="connsiteX80" fmla="*/ 972808 w 4401374"/>
              <a:gd name="connsiteY80" fmla="*/ 3069175 h 4686891"/>
              <a:gd name="connsiteX81" fmla="*/ 1081393 w 4401374"/>
              <a:gd name="connsiteY81" fmla="*/ 3257151 h 4686891"/>
              <a:gd name="connsiteX82" fmla="*/ 1106425 w 4401374"/>
              <a:gd name="connsiteY82" fmla="*/ 3268219 h 4686891"/>
              <a:gd name="connsiteX83" fmla="*/ 1284714 w 4401374"/>
              <a:gd name="connsiteY83" fmla="*/ 3229166 h 4686891"/>
              <a:gd name="connsiteX84" fmla="*/ 1339768 w 4401374"/>
              <a:gd name="connsiteY84" fmla="*/ 3247178 h 4686891"/>
              <a:gd name="connsiteX85" fmla="*/ 1688641 w 4401374"/>
              <a:gd name="connsiteY85" fmla="*/ 3514554 h 4686891"/>
              <a:gd name="connsiteX86" fmla="*/ 1720311 w 4401374"/>
              <a:gd name="connsiteY86" fmla="*/ 3563265 h 4686891"/>
              <a:gd name="connsiteX87" fmla="*/ 1728188 w 4401374"/>
              <a:gd name="connsiteY87" fmla="*/ 3745097 h 4686891"/>
              <a:gd name="connsiteX88" fmla="*/ 1745333 w 4401374"/>
              <a:gd name="connsiteY88" fmla="*/ 3766491 h 4686891"/>
              <a:gd name="connsiteX89" fmla="*/ 1954998 w 4401374"/>
              <a:gd name="connsiteY89" fmla="*/ 3822688 h 4686891"/>
              <a:gd name="connsiteX90" fmla="*/ 1980515 w 4401374"/>
              <a:gd name="connsiteY90" fmla="*/ 3812801 h 4686891"/>
              <a:gd name="connsiteX91" fmla="*/ 2079070 w 4401374"/>
              <a:gd name="connsiteY91" fmla="*/ 3659068 h 4686891"/>
              <a:gd name="connsiteX92" fmla="*/ 2130724 w 4401374"/>
              <a:gd name="connsiteY92" fmla="*/ 3632874 h 4686891"/>
              <a:gd name="connsiteX93" fmla="*/ 2566512 w 4401374"/>
              <a:gd name="connsiteY93" fmla="*/ 3575428 h 4686891"/>
              <a:gd name="connsiteX94" fmla="*/ 2623367 w 4401374"/>
              <a:gd name="connsiteY94" fmla="*/ 3587478 h 4686891"/>
              <a:gd name="connsiteX95" fmla="*/ 2757422 w 4401374"/>
              <a:gd name="connsiteY95" fmla="*/ 3710350 h 4686891"/>
              <a:gd name="connsiteX96" fmla="*/ 2784682 w 4401374"/>
              <a:gd name="connsiteY96" fmla="*/ 3713341 h 4686891"/>
              <a:gd name="connsiteX97" fmla="*/ 2972658 w 4401374"/>
              <a:gd name="connsiteY97" fmla="*/ 3604813 h 4686891"/>
              <a:gd name="connsiteX98" fmla="*/ 2983717 w 4401374"/>
              <a:gd name="connsiteY98" fmla="*/ 3579781 h 4686891"/>
              <a:gd name="connsiteX99" fmla="*/ 2944712 w 4401374"/>
              <a:gd name="connsiteY99" fmla="*/ 3401493 h 4686891"/>
              <a:gd name="connsiteX100" fmla="*/ 2962724 w 4401374"/>
              <a:gd name="connsiteY100" fmla="*/ 3346428 h 4686891"/>
              <a:gd name="connsiteX101" fmla="*/ 3230100 w 4401374"/>
              <a:gd name="connsiteY101" fmla="*/ 2997566 h 4686891"/>
              <a:gd name="connsiteX102" fmla="*/ 3278811 w 4401374"/>
              <a:gd name="connsiteY102" fmla="*/ 2965886 h 4686891"/>
              <a:gd name="connsiteX103" fmla="*/ 3460643 w 4401374"/>
              <a:gd name="connsiteY103" fmla="*/ 2958018 h 4686891"/>
              <a:gd name="connsiteX104" fmla="*/ 3482036 w 4401374"/>
              <a:gd name="connsiteY104" fmla="*/ 2940873 h 4686891"/>
              <a:gd name="connsiteX105" fmla="*/ 3538234 w 4401374"/>
              <a:gd name="connsiteY105" fmla="*/ 2731218 h 4686891"/>
              <a:gd name="connsiteX106" fmla="*/ 3528356 w 4401374"/>
              <a:gd name="connsiteY106" fmla="*/ 2705701 h 4686891"/>
              <a:gd name="connsiteX107" fmla="*/ 3374566 w 4401374"/>
              <a:gd name="connsiteY107" fmla="*/ 2607184 h 4686891"/>
              <a:gd name="connsiteX108" fmla="*/ 3348372 w 4401374"/>
              <a:gd name="connsiteY108" fmla="*/ 2555530 h 4686891"/>
              <a:gd name="connsiteX109" fmla="*/ 3290927 w 4401374"/>
              <a:gd name="connsiteY109" fmla="*/ 2119732 h 4686891"/>
              <a:gd name="connsiteX110" fmla="*/ 3302966 w 4401374"/>
              <a:gd name="connsiteY110" fmla="*/ 2062878 h 4686891"/>
              <a:gd name="connsiteX111" fmla="*/ 3425839 w 4401374"/>
              <a:gd name="connsiteY111" fmla="*/ 1928823 h 4686891"/>
              <a:gd name="connsiteX112" fmla="*/ 3428829 w 4401374"/>
              <a:gd name="connsiteY112" fmla="*/ 1901572 h 4686891"/>
              <a:gd name="connsiteX113" fmla="*/ 3320302 w 4401374"/>
              <a:gd name="connsiteY113" fmla="*/ 1713596 h 4686891"/>
              <a:gd name="connsiteX114" fmla="*/ 3295279 w 4401374"/>
              <a:gd name="connsiteY114" fmla="*/ 1702537 h 4686891"/>
              <a:gd name="connsiteX115" fmla="*/ 3116971 w 4401374"/>
              <a:gd name="connsiteY115" fmla="*/ 1741533 h 4686891"/>
              <a:gd name="connsiteX116" fmla="*/ 3061917 w 4401374"/>
              <a:gd name="connsiteY116" fmla="*/ 1723530 h 4686891"/>
              <a:gd name="connsiteX117" fmla="*/ 2713054 w 4401374"/>
              <a:gd name="connsiteY117" fmla="*/ 1456154 h 4686891"/>
              <a:gd name="connsiteX118" fmla="*/ 2681374 w 4401374"/>
              <a:gd name="connsiteY118" fmla="*/ 1407443 h 4686891"/>
              <a:gd name="connsiteX119" fmla="*/ 2673497 w 4401374"/>
              <a:gd name="connsiteY119" fmla="*/ 1225601 h 4686891"/>
              <a:gd name="connsiteX120" fmla="*/ 2656352 w 4401374"/>
              <a:gd name="connsiteY120" fmla="*/ 1204218 h 4686891"/>
              <a:gd name="connsiteX121" fmla="*/ 2446688 w 4401374"/>
              <a:gd name="connsiteY121" fmla="*/ 1148020 h 4686891"/>
              <a:gd name="connsiteX122" fmla="*/ 2421180 w 4401374"/>
              <a:gd name="connsiteY122" fmla="*/ 1157907 h 4686891"/>
              <a:gd name="connsiteX123" fmla="*/ 2322625 w 4401374"/>
              <a:gd name="connsiteY123" fmla="*/ 1311641 h 4686891"/>
              <a:gd name="connsiteX124" fmla="*/ 2270970 w 4401374"/>
              <a:gd name="connsiteY124" fmla="*/ 1337835 h 4686891"/>
              <a:gd name="connsiteX125" fmla="*/ 1835183 w 4401374"/>
              <a:gd name="connsiteY125" fmla="*/ 1395280 h 4686891"/>
              <a:gd name="connsiteX126" fmla="*/ 1778318 w 4401374"/>
              <a:gd name="connsiteY126" fmla="*/ 1383240 h 4686891"/>
              <a:gd name="connsiteX127" fmla="*/ 1644273 w 4401374"/>
              <a:gd name="connsiteY127" fmla="*/ 1260368 h 4686891"/>
              <a:gd name="connsiteX128" fmla="*/ 1617022 w 4401374"/>
              <a:gd name="connsiteY128" fmla="*/ 1257377 h 4686891"/>
              <a:gd name="connsiteX129" fmla="*/ 1429037 w 4401374"/>
              <a:gd name="connsiteY129" fmla="*/ 1365962 h 4686891"/>
              <a:gd name="connsiteX130" fmla="*/ 1417978 w 4401374"/>
              <a:gd name="connsiteY130" fmla="*/ 1390984 h 4686891"/>
              <a:gd name="connsiteX131" fmla="*/ 1456973 w 4401374"/>
              <a:gd name="connsiteY131" fmla="*/ 1569254 h 4686891"/>
              <a:gd name="connsiteX132" fmla="*/ 1438962 w 4401374"/>
              <a:gd name="connsiteY132" fmla="*/ 1624309 h 4686891"/>
              <a:gd name="connsiteX133" fmla="*/ 1171595 w 4401374"/>
              <a:gd name="connsiteY133" fmla="*/ 1973200 h 4686891"/>
              <a:gd name="connsiteX134" fmla="*/ 1122884 w 4401374"/>
              <a:gd name="connsiteY134" fmla="*/ 2004889 h 4686891"/>
              <a:gd name="connsiteX135" fmla="*/ 941042 w 4401374"/>
              <a:gd name="connsiteY135" fmla="*/ 2012757 h 4686891"/>
              <a:gd name="connsiteX136" fmla="*/ 919659 w 4401374"/>
              <a:gd name="connsiteY136" fmla="*/ 2029902 h 4686891"/>
              <a:gd name="connsiteX137" fmla="*/ 863461 w 4401374"/>
              <a:gd name="connsiteY137" fmla="*/ 2239576 h 4686891"/>
              <a:gd name="connsiteX138" fmla="*/ 873386 w 4401374"/>
              <a:gd name="connsiteY138" fmla="*/ 2265046 h 4686891"/>
              <a:gd name="connsiteX139" fmla="*/ 1502579 w 4401374"/>
              <a:gd name="connsiteY139" fmla="*/ 2888514 h 4686891"/>
              <a:gd name="connsiteX140" fmla="*/ 1798645 w 4401374"/>
              <a:gd name="connsiteY140" fmla="*/ 1788748 h 4686891"/>
              <a:gd name="connsiteX141" fmla="*/ 2898411 w 4401374"/>
              <a:gd name="connsiteY141" fmla="*/ 2084814 h 4686891"/>
              <a:gd name="connsiteX142" fmla="*/ 2602345 w 4401374"/>
              <a:gd name="connsiteY142" fmla="*/ 3184580 h 4686891"/>
              <a:gd name="connsiteX143" fmla="*/ 2202162 w 4401374"/>
              <a:gd name="connsiteY143" fmla="*/ 3292003 h 4686891"/>
              <a:gd name="connsiteX144" fmla="*/ 1992164 w 4401374"/>
              <a:gd name="connsiteY144" fmla="*/ 3264180 h 4686891"/>
              <a:gd name="connsiteX145" fmla="*/ 1502579 w 4401374"/>
              <a:gd name="connsiteY145" fmla="*/ 2888514 h 4686891"/>
              <a:gd name="connsiteX146" fmla="*/ 1601572 w 4401374"/>
              <a:gd name="connsiteY146" fmla="*/ 2831364 h 4686891"/>
              <a:gd name="connsiteX147" fmla="*/ 2546843 w 4401374"/>
              <a:gd name="connsiteY147" fmla="*/ 3084615 h 4686891"/>
              <a:gd name="connsiteX148" fmla="*/ 2800094 w 4401374"/>
              <a:gd name="connsiteY148" fmla="*/ 2139335 h 4686891"/>
              <a:gd name="connsiteX149" fmla="*/ 2379946 w 4401374"/>
              <a:gd name="connsiteY149" fmla="*/ 1816952 h 4686891"/>
              <a:gd name="connsiteX150" fmla="*/ 2199714 w 4401374"/>
              <a:gd name="connsiteY150" fmla="*/ 1793072 h 4686891"/>
              <a:gd name="connsiteX151" fmla="*/ 1508885 w 4401374"/>
              <a:gd name="connsiteY151" fmla="*/ 2486740 h 4686891"/>
              <a:gd name="connsiteX152" fmla="*/ 1601544 w 4401374"/>
              <a:gd name="connsiteY152" fmla="*/ 2831297 h 4686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4401374" h="4686891">
                <a:moveTo>
                  <a:pt x="4326437" y="3054925"/>
                </a:moveTo>
                <a:cubicBezTo>
                  <a:pt x="4068509" y="4015503"/>
                  <a:pt x="3199029" y="4684186"/>
                  <a:pt x="2204429" y="4686892"/>
                </a:cubicBezTo>
                <a:cubicBezTo>
                  <a:pt x="2010890" y="4686749"/>
                  <a:pt x="1818200" y="4661222"/>
                  <a:pt x="1631300" y="4610958"/>
                </a:cubicBezTo>
                <a:cubicBezTo>
                  <a:pt x="544106" y="4319617"/>
                  <a:pt x="-148031" y="3254893"/>
                  <a:pt x="27004" y="2143031"/>
                </a:cubicBezTo>
                <a:cubicBezTo>
                  <a:pt x="104463" y="1654407"/>
                  <a:pt x="343697" y="1205932"/>
                  <a:pt x="706375" y="869462"/>
                </a:cubicBezTo>
                <a:cubicBezTo>
                  <a:pt x="729568" y="848051"/>
                  <a:pt x="765725" y="849497"/>
                  <a:pt x="787137" y="872691"/>
                </a:cubicBezTo>
                <a:cubicBezTo>
                  <a:pt x="808550" y="895884"/>
                  <a:pt x="807102" y="932041"/>
                  <a:pt x="783908" y="953453"/>
                </a:cubicBezTo>
                <a:cubicBezTo>
                  <a:pt x="74629" y="1608259"/>
                  <a:pt x="-89315" y="2691223"/>
                  <a:pt x="394088" y="3528508"/>
                </a:cubicBezTo>
                <a:cubicBezTo>
                  <a:pt x="970198" y="4526338"/>
                  <a:pt x="2246120" y="4868228"/>
                  <a:pt x="3243968" y="4292137"/>
                </a:cubicBezTo>
                <a:cubicBezTo>
                  <a:pt x="4240217" y="3716951"/>
                  <a:pt x="4582774" y="2438496"/>
                  <a:pt x="4007587" y="1442257"/>
                </a:cubicBezTo>
                <a:cubicBezTo>
                  <a:pt x="3584516" y="707578"/>
                  <a:pt x="2758508" y="302465"/>
                  <a:pt x="1918593" y="417720"/>
                </a:cubicBezTo>
                <a:lnTo>
                  <a:pt x="2168891" y="581921"/>
                </a:lnTo>
                <a:cubicBezTo>
                  <a:pt x="2195466" y="598954"/>
                  <a:pt x="2203200" y="634303"/>
                  <a:pt x="2186169" y="660876"/>
                </a:cubicBezTo>
                <a:cubicBezTo>
                  <a:pt x="2169129" y="687448"/>
                  <a:pt x="2133782" y="695183"/>
                  <a:pt x="2107207" y="678150"/>
                </a:cubicBezTo>
                <a:cubicBezTo>
                  <a:pt x="2106874" y="677932"/>
                  <a:pt x="2106531" y="677710"/>
                  <a:pt x="2106198" y="677485"/>
                </a:cubicBezTo>
                <a:lnTo>
                  <a:pt x="1735370" y="434207"/>
                </a:lnTo>
                <a:cubicBezTo>
                  <a:pt x="1708986" y="416891"/>
                  <a:pt x="1701623" y="381461"/>
                  <a:pt x="1718940" y="355072"/>
                </a:cubicBezTo>
                <a:cubicBezTo>
                  <a:pt x="1720483" y="352720"/>
                  <a:pt x="1722197" y="350486"/>
                  <a:pt x="1724074" y="348387"/>
                </a:cubicBezTo>
                <a:lnTo>
                  <a:pt x="2017748" y="19108"/>
                </a:lnTo>
                <a:cubicBezTo>
                  <a:pt x="2038760" y="-4446"/>
                  <a:pt x="2074889" y="-6508"/>
                  <a:pt x="2098435" y="14502"/>
                </a:cubicBezTo>
                <a:cubicBezTo>
                  <a:pt x="2121990" y="35513"/>
                  <a:pt x="2124057" y="71639"/>
                  <a:pt x="2103045" y="95193"/>
                </a:cubicBezTo>
                <a:lnTo>
                  <a:pt x="1918174" y="302477"/>
                </a:lnTo>
                <a:cubicBezTo>
                  <a:pt x="3123801" y="146693"/>
                  <a:pt x="4227444" y="997763"/>
                  <a:pt x="4383225" y="2203390"/>
                </a:cubicBezTo>
                <a:cubicBezTo>
                  <a:pt x="4420030" y="2488226"/>
                  <a:pt x="4400741" y="2777500"/>
                  <a:pt x="4326437" y="3054925"/>
                </a:cubicBezTo>
                <a:close/>
                <a:moveTo>
                  <a:pt x="753095" y="2209915"/>
                </a:moveTo>
                <a:lnTo>
                  <a:pt x="809245" y="2000251"/>
                </a:lnTo>
                <a:cubicBezTo>
                  <a:pt x="824618" y="1942177"/>
                  <a:pt x="876053" y="1900905"/>
                  <a:pt x="936080" y="1898486"/>
                </a:cubicBezTo>
                <a:lnTo>
                  <a:pt x="1084727" y="1892047"/>
                </a:lnTo>
                <a:cubicBezTo>
                  <a:pt x="1150126" y="1768384"/>
                  <a:pt x="1235822" y="1656579"/>
                  <a:pt x="1338235" y="1561282"/>
                </a:cubicBezTo>
                <a:lnTo>
                  <a:pt x="1306307" y="1415320"/>
                </a:lnTo>
                <a:cubicBezTo>
                  <a:pt x="1293363" y="1356827"/>
                  <a:pt x="1319918" y="1296706"/>
                  <a:pt x="1371877" y="1266883"/>
                </a:cubicBezTo>
                <a:lnTo>
                  <a:pt x="1559853" y="1158355"/>
                </a:lnTo>
                <a:cubicBezTo>
                  <a:pt x="1611793" y="1128161"/>
                  <a:pt x="1677353" y="1135352"/>
                  <a:pt x="1721511" y="1176091"/>
                </a:cubicBezTo>
                <a:lnTo>
                  <a:pt x="1831049" y="1276551"/>
                </a:lnTo>
                <a:cubicBezTo>
                  <a:pt x="1964761" y="1235422"/>
                  <a:pt x="2104426" y="1217019"/>
                  <a:pt x="2244224" y="1222115"/>
                </a:cubicBezTo>
                <a:lnTo>
                  <a:pt x="2324930" y="1096223"/>
                </a:lnTo>
                <a:cubicBezTo>
                  <a:pt x="2357153" y="1045731"/>
                  <a:pt x="2418418" y="1022005"/>
                  <a:pt x="2476244" y="1037626"/>
                </a:cubicBezTo>
                <a:lnTo>
                  <a:pt x="2685918" y="1093823"/>
                </a:lnTo>
                <a:cubicBezTo>
                  <a:pt x="2743992" y="1109206"/>
                  <a:pt x="2785254" y="1160641"/>
                  <a:pt x="2787683" y="1220668"/>
                </a:cubicBezTo>
                <a:lnTo>
                  <a:pt x="2794122" y="1369305"/>
                </a:lnTo>
                <a:cubicBezTo>
                  <a:pt x="2917775" y="1434713"/>
                  <a:pt x="3029570" y="1520410"/>
                  <a:pt x="3124858" y="1622823"/>
                </a:cubicBezTo>
                <a:lnTo>
                  <a:pt x="3270848" y="1590885"/>
                </a:lnTo>
                <a:cubicBezTo>
                  <a:pt x="3329341" y="1577931"/>
                  <a:pt x="3389463" y="1604497"/>
                  <a:pt x="3419276" y="1656455"/>
                </a:cubicBezTo>
                <a:lnTo>
                  <a:pt x="3527813" y="1844441"/>
                </a:lnTo>
                <a:cubicBezTo>
                  <a:pt x="3557998" y="1896381"/>
                  <a:pt x="3550807" y="1961932"/>
                  <a:pt x="3510078" y="2006090"/>
                </a:cubicBezTo>
                <a:lnTo>
                  <a:pt x="3409618" y="2115627"/>
                </a:lnTo>
                <a:cubicBezTo>
                  <a:pt x="3450746" y="2249339"/>
                  <a:pt x="3469139" y="2389004"/>
                  <a:pt x="3464043" y="2528803"/>
                </a:cubicBezTo>
                <a:lnTo>
                  <a:pt x="3589935" y="2609508"/>
                </a:lnTo>
                <a:cubicBezTo>
                  <a:pt x="3640446" y="2641712"/>
                  <a:pt x="3664183" y="2703005"/>
                  <a:pt x="3648533" y="2760832"/>
                </a:cubicBezTo>
                <a:lnTo>
                  <a:pt x="3592336" y="2970486"/>
                </a:lnTo>
                <a:cubicBezTo>
                  <a:pt x="3576953" y="3028560"/>
                  <a:pt x="3525518" y="3069832"/>
                  <a:pt x="3465491" y="3072261"/>
                </a:cubicBezTo>
                <a:lnTo>
                  <a:pt x="3316844" y="3078700"/>
                </a:lnTo>
                <a:cubicBezTo>
                  <a:pt x="3251436" y="3202353"/>
                  <a:pt x="3165749" y="3314148"/>
                  <a:pt x="3063336" y="3409437"/>
                </a:cubicBezTo>
                <a:lnTo>
                  <a:pt x="3095264" y="3555426"/>
                </a:lnTo>
                <a:cubicBezTo>
                  <a:pt x="3108208" y="3613919"/>
                  <a:pt x="3081653" y="3674031"/>
                  <a:pt x="3029704" y="3703854"/>
                </a:cubicBezTo>
                <a:lnTo>
                  <a:pt x="2841728" y="3812382"/>
                </a:lnTo>
                <a:cubicBezTo>
                  <a:pt x="2789788" y="3842576"/>
                  <a:pt x="2724227" y="3835394"/>
                  <a:pt x="2680060" y="3794656"/>
                </a:cubicBezTo>
                <a:lnTo>
                  <a:pt x="2570522" y="3694196"/>
                </a:lnTo>
                <a:cubicBezTo>
                  <a:pt x="2436820" y="3735334"/>
                  <a:pt x="2297155" y="3753736"/>
                  <a:pt x="2157356" y="3748631"/>
                </a:cubicBezTo>
                <a:lnTo>
                  <a:pt x="2076651" y="3874514"/>
                </a:lnTo>
                <a:cubicBezTo>
                  <a:pt x="2051505" y="3913957"/>
                  <a:pt x="2007966" y="3937836"/>
                  <a:pt x="1961189" y="3937855"/>
                </a:cubicBezTo>
                <a:cubicBezTo>
                  <a:pt x="1949083" y="3937845"/>
                  <a:pt x="1937024" y="3936236"/>
                  <a:pt x="1925327" y="3933092"/>
                </a:cubicBezTo>
                <a:lnTo>
                  <a:pt x="1715663" y="3876895"/>
                </a:lnTo>
                <a:cubicBezTo>
                  <a:pt x="1657589" y="3861512"/>
                  <a:pt x="1616317" y="3810077"/>
                  <a:pt x="1613898" y="3750050"/>
                </a:cubicBezTo>
                <a:lnTo>
                  <a:pt x="1607459" y="3601403"/>
                </a:lnTo>
                <a:cubicBezTo>
                  <a:pt x="1483805" y="3535995"/>
                  <a:pt x="1372001" y="3450308"/>
                  <a:pt x="1276713" y="3347895"/>
                </a:cubicBezTo>
                <a:lnTo>
                  <a:pt x="1130733" y="3379823"/>
                </a:lnTo>
                <a:cubicBezTo>
                  <a:pt x="1072240" y="3392787"/>
                  <a:pt x="1012108" y="3366221"/>
                  <a:pt x="982295" y="3314253"/>
                </a:cubicBezTo>
                <a:lnTo>
                  <a:pt x="873824" y="3126325"/>
                </a:lnTo>
                <a:cubicBezTo>
                  <a:pt x="843640" y="3074385"/>
                  <a:pt x="850831" y="3008824"/>
                  <a:pt x="891560" y="2964667"/>
                </a:cubicBezTo>
                <a:lnTo>
                  <a:pt x="992030" y="2855129"/>
                </a:lnTo>
                <a:cubicBezTo>
                  <a:pt x="950920" y="2721427"/>
                  <a:pt x="932527" y="2581781"/>
                  <a:pt x="937613" y="2441992"/>
                </a:cubicBezTo>
                <a:lnTo>
                  <a:pt x="811693" y="2361267"/>
                </a:lnTo>
                <a:cubicBezTo>
                  <a:pt x="761172" y="2329054"/>
                  <a:pt x="737436" y="2267751"/>
                  <a:pt x="753095" y="2209915"/>
                </a:cubicBezTo>
                <a:close/>
                <a:moveTo>
                  <a:pt x="873386" y="2265017"/>
                </a:moveTo>
                <a:lnTo>
                  <a:pt x="1027148" y="2363591"/>
                </a:lnTo>
                <a:cubicBezTo>
                  <a:pt x="1044598" y="2374783"/>
                  <a:pt x="1054628" y="2394548"/>
                  <a:pt x="1053342" y="2415236"/>
                </a:cubicBezTo>
                <a:cubicBezTo>
                  <a:pt x="1043998" y="2562845"/>
                  <a:pt x="1063505" y="2710854"/>
                  <a:pt x="1110778" y="2850995"/>
                </a:cubicBezTo>
                <a:cubicBezTo>
                  <a:pt x="1117426" y="2870731"/>
                  <a:pt x="1112807" y="2892515"/>
                  <a:pt x="1098738" y="2907859"/>
                </a:cubicBezTo>
                <a:lnTo>
                  <a:pt x="975799" y="3041924"/>
                </a:lnTo>
                <a:cubicBezTo>
                  <a:pt x="968655" y="3049239"/>
                  <a:pt x="967427" y="3060488"/>
                  <a:pt x="972808" y="3069175"/>
                </a:cubicBezTo>
                <a:lnTo>
                  <a:pt x="1081393" y="3257151"/>
                </a:lnTo>
                <a:cubicBezTo>
                  <a:pt x="1086222" y="3266133"/>
                  <a:pt x="1096528" y="3270695"/>
                  <a:pt x="1106425" y="3268219"/>
                </a:cubicBezTo>
                <a:lnTo>
                  <a:pt x="1284714" y="3229166"/>
                </a:lnTo>
                <a:cubicBezTo>
                  <a:pt x="1304974" y="3224737"/>
                  <a:pt x="1326043" y="3231633"/>
                  <a:pt x="1339768" y="3247178"/>
                </a:cubicBezTo>
                <a:cubicBezTo>
                  <a:pt x="1437581" y="3358125"/>
                  <a:pt x="1556081" y="3448936"/>
                  <a:pt x="1688641" y="3514554"/>
                </a:cubicBezTo>
                <a:cubicBezTo>
                  <a:pt x="1707281" y="3523813"/>
                  <a:pt x="1719406" y="3542472"/>
                  <a:pt x="1720311" y="3563265"/>
                </a:cubicBezTo>
                <a:lnTo>
                  <a:pt x="1728188" y="3745097"/>
                </a:lnTo>
                <a:cubicBezTo>
                  <a:pt x="1728322" y="3755318"/>
                  <a:pt x="1735389" y="3764138"/>
                  <a:pt x="1745333" y="3766491"/>
                </a:cubicBezTo>
                <a:lnTo>
                  <a:pt x="1954998" y="3822688"/>
                </a:lnTo>
                <a:cubicBezTo>
                  <a:pt x="1964761" y="3825612"/>
                  <a:pt x="1975276" y="3821545"/>
                  <a:pt x="1980515" y="3812801"/>
                </a:cubicBezTo>
                <a:lnTo>
                  <a:pt x="2079070" y="3659068"/>
                </a:lnTo>
                <a:cubicBezTo>
                  <a:pt x="2090291" y="3641647"/>
                  <a:pt x="2110036" y="3631626"/>
                  <a:pt x="2130724" y="3632874"/>
                </a:cubicBezTo>
                <a:cubicBezTo>
                  <a:pt x="2278343" y="3642218"/>
                  <a:pt x="2426361" y="3622701"/>
                  <a:pt x="2566512" y="3575428"/>
                </a:cubicBezTo>
                <a:cubicBezTo>
                  <a:pt x="2586248" y="3568790"/>
                  <a:pt x="2608022" y="3573409"/>
                  <a:pt x="2623367" y="3587478"/>
                </a:cubicBezTo>
                <a:lnTo>
                  <a:pt x="2757422" y="3710350"/>
                </a:lnTo>
                <a:cubicBezTo>
                  <a:pt x="2764746" y="3717484"/>
                  <a:pt x="2775986" y="3718723"/>
                  <a:pt x="2784682" y="3713341"/>
                </a:cubicBezTo>
                <a:lnTo>
                  <a:pt x="2972658" y="3604813"/>
                </a:lnTo>
                <a:cubicBezTo>
                  <a:pt x="2981631" y="3599975"/>
                  <a:pt x="2986184" y="3589669"/>
                  <a:pt x="2983717" y="3579781"/>
                </a:cubicBezTo>
                <a:lnTo>
                  <a:pt x="2944712" y="3401493"/>
                </a:lnTo>
                <a:cubicBezTo>
                  <a:pt x="2940283" y="3381233"/>
                  <a:pt x="2947169" y="3360154"/>
                  <a:pt x="2962724" y="3346428"/>
                </a:cubicBezTo>
                <a:cubicBezTo>
                  <a:pt x="3073671" y="3248616"/>
                  <a:pt x="3164482" y="3130116"/>
                  <a:pt x="3230100" y="2997566"/>
                </a:cubicBezTo>
                <a:cubicBezTo>
                  <a:pt x="3239358" y="2978925"/>
                  <a:pt x="3258018" y="2966791"/>
                  <a:pt x="3278811" y="2965886"/>
                </a:cubicBezTo>
                <a:lnTo>
                  <a:pt x="3460643" y="2958018"/>
                </a:lnTo>
                <a:cubicBezTo>
                  <a:pt x="3470863" y="2957885"/>
                  <a:pt x="3479674" y="2950817"/>
                  <a:pt x="3482036" y="2940873"/>
                </a:cubicBezTo>
                <a:lnTo>
                  <a:pt x="3538234" y="2731218"/>
                </a:lnTo>
                <a:cubicBezTo>
                  <a:pt x="3541167" y="2721455"/>
                  <a:pt x="3537100" y="2710949"/>
                  <a:pt x="3528356" y="2705701"/>
                </a:cubicBezTo>
                <a:lnTo>
                  <a:pt x="3374566" y="2607184"/>
                </a:lnTo>
                <a:cubicBezTo>
                  <a:pt x="3357106" y="2595992"/>
                  <a:pt x="3347086" y="2576228"/>
                  <a:pt x="3348372" y="2555530"/>
                </a:cubicBezTo>
                <a:cubicBezTo>
                  <a:pt x="3357725" y="2407911"/>
                  <a:pt x="3338209" y="2259883"/>
                  <a:pt x="3290927" y="2119732"/>
                </a:cubicBezTo>
                <a:cubicBezTo>
                  <a:pt x="3284288" y="2100006"/>
                  <a:pt x="3288898" y="2078222"/>
                  <a:pt x="3302966" y="2062878"/>
                </a:cubicBezTo>
                <a:lnTo>
                  <a:pt x="3425839" y="1928823"/>
                </a:lnTo>
                <a:cubicBezTo>
                  <a:pt x="3432982" y="1921508"/>
                  <a:pt x="3434211" y="1910259"/>
                  <a:pt x="3428829" y="1901572"/>
                </a:cubicBezTo>
                <a:lnTo>
                  <a:pt x="3320302" y="1713596"/>
                </a:lnTo>
                <a:cubicBezTo>
                  <a:pt x="3315472" y="1704614"/>
                  <a:pt x="3305166" y="1700061"/>
                  <a:pt x="3295279" y="1702537"/>
                </a:cubicBezTo>
                <a:lnTo>
                  <a:pt x="3116971" y="1741533"/>
                </a:lnTo>
                <a:cubicBezTo>
                  <a:pt x="3096712" y="1745962"/>
                  <a:pt x="3075643" y="1739075"/>
                  <a:pt x="3061917" y="1723530"/>
                </a:cubicBezTo>
                <a:cubicBezTo>
                  <a:pt x="2964105" y="1612583"/>
                  <a:pt x="2845604" y="1521772"/>
                  <a:pt x="2713054" y="1456154"/>
                </a:cubicBezTo>
                <a:cubicBezTo>
                  <a:pt x="2694414" y="1446896"/>
                  <a:pt x="2682279" y="1428236"/>
                  <a:pt x="2681374" y="1407443"/>
                </a:cubicBezTo>
                <a:lnTo>
                  <a:pt x="2673497" y="1225601"/>
                </a:lnTo>
                <a:cubicBezTo>
                  <a:pt x="2673364" y="1215381"/>
                  <a:pt x="2666296" y="1206561"/>
                  <a:pt x="2656352" y="1204218"/>
                </a:cubicBezTo>
                <a:lnTo>
                  <a:pt x="2446688" y="1148020"/>
                </a:lnTo>
                <a:cubicBezTo>
                  <a:pt x="2436925" y="1145106"/>
                  <a:pt x="2426428" y="1149173"/>
                  <a:pt x="2421180" y="1157907"/>
                </a:cubicBezTo>
                <a:lnTo>
                  <a:pt x="2322625" y="1311641"/>
                </a:lnTo>
                <a:cubicBezTo>
                  <a:pt x="2311461" y="1329129"/>
                  <a:pt x="2291678" y="1339168"/>
                  <a:pt x="2270970" y="1337835"/>
                </a:cubicBezTo>
                <a:cubicBezTo>
                  <a:pt x="2123352" y="1328481"/>
                  <a:pt x="1975334" y="1347998"/>
                  <a:pt x="1835183" y="1395280"/>
                </a:cubicBezTo>
                <a:cubicBezTo>
                  <a:pt x="1815447" y="1401928"/>
                  <a:pt x="1793663" y="1397309"/>
                  <a:pt x="1778318" y="1383240"/>
                </a:cubicBezTo>
                <a:lnTo>
                  <a:pt x="1644273" y="1260368"/>
                </a:lnTo>
                <a:cubicBezTo>
                  <a:pt x="1636958" y="1253234"/>
                  <a:pt x="1625718" y="1251995"/>
                  <a:pt x="1617022" y="1257377"/>
                </a:cubicBezTo>
                <a:lnTo>
                  <a:pt x="1429037" y="1365962"/>
                </a:lnTo>
                <a:cubicBezTo>
                  <a:pt x="1420054" y="1370791"/>
                  <a:pt x="1415502" y="1381097"/>
                  <a:pt x="1417978" y="1390984"/>
                </a:cubicBezTo>
                <a:lnTo>
                  <a:pt x="1456973" y="1569254"/>
                </a:lnTo>
                <a:cubicBezTo>
                  <a:pt x="1461403" y="1589514"/>
                  <a:pt x="1454506" y="1610583"/>
                  <a:pt x="1438962" y="1624309"/>
                </a:cubicBezTo>
                <a:cubicBezTo>
                  <a:pt x="1328014" y="1722130"/>
                  <a:pt x="1237203" y="1840640"/>
                  <a:pt x="1171595" y="1973200"/>
                </a:cubicBezTo>
                <a:cubicBezTo>
                  <a:pt x="1162337" y="1991850"/>
                  <a:pt x="1143677" y="2003984"/>
                  <a:pt x="1122884" y="2004889"/>
                </a:cubicBezTo>
                <a:lnTo>
                  <a:pt x="941042" y="2012757"/>
                </a:lnTo>
                <a:cubicBezTo>
                  <a:pt x="930822" y="2012890"/>
                  <a:pt x="922002" y="2019958"/>
                  <a:pt x="919659" y="2029902"/>
                </a:cubicBezTo>
                <a:lnTo>
                  <a:pt x="863461" y="2239576"/>
                </a:lnTo>
                <a:cubicBezTo>
                  <a:pt x="860566" y="2249339"/>
                  <a:pt x="864652" y="2259817"/>
                  <a:pt x="873386" y="2265046"/>
                </a:cubicBezTo>
                <a:close/>
                <a:moveTo>
                  <a:pt x="1502579" y="2888514"/>
                </a:moveTo>
                <a:cubicBezTo>
                  <a:pt x="1280647" y="2503066"/>
                  <a:pt x="1413197" y="2010681"/>
                  <a:pt x="1798645" y="1788748"/>
                </a:cubicBezTo>
                <a:cubicBezTo>
                  <a:pt x="2184093" y="1566816"/>
                  <a:pt x="2676478" y="1699365"/>
                  <a:pt x="2898411" y="2084814"/>
                </a:cubicBezTo>
                <a:cubicBezTo>
                  <a:pt x="3120343" y="2470262"/>
                  <a:pt x="2987793" y="2962647"/>
                  <a:pt x="2602345" y="3184580"/>
                </a:cubicBezTo>
                <a:cubicBezTo>
                  <a:pt x="2480606" y="3254684"/>
                  <a:pt x="2342646" y="3291717"/>
                  <a:pt x="2202162" y="3292003"/>
                </a:cubicBezTo>
                <a:cubicBezTo>
                  <a:pt x="2131248" y="3291955"/>
                  <a:pt x="2060649" y="3282602"/>
                  <a:pt x="1992164" y="3264180"/>
                </a:cubicBezTo>
                <a:cubicBezTo>
                  <a:pt x="1785348" y="3209364"/>
                  <a:pt x="1609059" y="3074090"/>
                  <a:pt x="1502579" y="2888514"/>
                </a:cubicBezTo>
                <a:close/>
                <a:moveTo>
                  <a:pt x="1601572" y="2831364"/>
                </a:moveTo>
                <a:cubicBezTo>
                  <a:pt x="1792673" y="3162329"/>
                  <a:pt x="2215888" y="3275705"/>
                  <a:pt x="2546843" y="3084615"/>
                </a:cubicBezTo>
                <a:cubicBezTo>
                  <a:pt x="2877808" y="2893515"/>
                  <a:pt x="2991194" y="2470300"/>
                  <a:pt x="2800094" y="2139335"/>
                </a:cubicBezTo>
                <a:cubicBezTo>
                  <a:pt x="2708330" y="1980420"/>
                  <a:pt x="2557206" y="1864453"/>
                  <a:pt x="2379946" y="1816952"/>
                </a:cubicBezTo>
                <a:cubicBezTo>
                  <a:pt x="2321167" y="1801150"/>
                  <a:pt x="2260579" y="1793120"/>
                  <a:pt x="2199714" y="1793072"/>
                </a:cubicBezTo>
                <a:cubicBezTo>
                  <a:pt x="1817399" y="1793853"/>
                  <a:pt x="1508104" y="2104426"/>
                  <a:pt x="1508885" y="2486740"/>
                </a:cubicBezTo>
                <a:cubicBezTo>
                  <a:pt x="1509132" y="2607717"/>
                  <a:pt x="1541079" y="2726513"/>
                  <a:pt x="1601544" y="2831297"/>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 name="Freeform: Shape 103">
            <a:extLst>
              <a:ext uri="{FF2B5EF4-FFF2-40B4-BE49-F238E27FC236}">
                <a16:creationId xmlns:a16="http://schemas.microsoft.com/office/drawing/2014/main" id="{75D76724-AE46-5F88-E11D-E182BFDCF6D0}"/>
              </a:ext>
            </a:extLst>
          </p:cNvPr>
          <p:cNvSpPr/>
          <p:nvPr/>
        </p:nvSpPr>
        <p:spPr>
          <a:xfrm>
            <a:off x="572433" y="1505186"/>
            <a:ext cx="350775" cy="310071"/>
          </a:xfrm>
          <a:custGeom>
            <a:avLst/>
            <a:gdLst>
              <a:gd name="connsiteX0" fmla="*/ 19580 w 903309"/>
              <a:gd name="connsiteY0" fmla="*/ 346377 h 798490"/>
              <a:gd name="connsiteX1" fmla="*/ 9826 w 903309"/>
              <a:gd name="connsiteY1" fmla="*/ 355178 h 798490"/>
              <a:gd name="connsiteX2" fmla="*/ 8798 w 903309"/>
              <a:gd name="connsiteY2" fmla="*/ 355121 h 798490"/>
              <a:gd name="connsiteX3" fmla="*/ 54 w 903309"/>
              <a:gd name="connsiteY3" fmla="*/ 344329 h 798490"/>
              <a:gd name="connsiteX4" fmla="*/ 125050 w 903309"/>
              <a:gd name="connsiteY4" fmla="*/ 98774 h 798490"/>
              <a:gd name="connsiteX5" fmla="*/ 382273 w 903309"/>
              <a:gd name="connsiteY5" fmla="*/ 0 h 798490"/>
              <a:gd name="connsiteX6" fmla="*/ 706485 w 903309"/>
              <a:gd name="connsiteY6" fmla="*/ 177965 h 798490"/>
              <a:gd name="connsiteX7" fmla="*/ 715219 w 903309"/>
              <a:gd name="connsiteY7" fmla="*/ 148771 h 798490"/>
              <a:gd name="connsiteX8" fmla="*/ 727440 w 903309"/>
              <a:gd name="connsiteY8" fmla="*/ 142180 h 798490"/>
              <a:gd name="connsiteX9" fmla="*/ 734031 w 903309"/>
              <a:gd name="connsiteY9" fmla="*/ 154400 h 798490"/>
              <a:gd name="connsiteX10" fmla="*/ 718896 w 903309"/>
              <a:gd name="connsiteY10" fmla="*/ 204997 h 798490"/>
              <a:gd name="connsiteX11" fmla="*/ 718610 w 903309"/>
              <a:gd name="connsiteY11" fmla="*/ 205816 h 798490"/>
              <a:gd name="connsiteX12" fmla="*/ 718610 w 903309"/>
              <a:gd name="connsiteY12" fmla="*/ 205826 h 798490"/>
              <a:gd name="connsiteX13" fmla="*/ 718601 w 903309"/>
              <a:gd name="connsiteY13" fmla="*/ 205845 h 798490"/>
              <a:gd name="connsiteX14" fmla="*/ 718591 w 903309"/>
              <a:gd name="connsiteY14" fmla="*/ 205854 h 798490"/>
              <a:gd name="connsiteX15" fmla="*/ 718591 w 903309"/>
              <a:gd name="connsiteY15" fmla="*/ 205864 h 798490"/>
              <a:gd name="connsiteX16" fmla="*/ 718582 w 903309"/>
              <a:gd name="connsiteY16" fmla="*/ 205883 h 798490"/>
              <a:gd name="connsiteX17" fmla="*/ 718582 w 903309"/>
              <a:gd name="connsiteY17" fmla="*/ 205883 h 798490"/>
              <a:gd name="connsiteX18" fmla="*/ 714438 w 903309"/>
              <a:gd name="connsiteY18" fmla="*/ 210664 h 798490"/>
              <a:gd name="connsiteX19" fmla="*/ 713695 w 903309"/>
              <a:gd name="connsiteY19" fmla="*/ 211055 h 798490"/>
              <a:gd name="connsiteX20" fmla="*/ 708876 w 903309"/>
              <a:gd name="connsiteY20" fmla="*/ 211988 h 798490"/>
              <a:gd name="connsiteX21" fmla="*/ 656917 w 903309"/>
              <a:gd name="connsiteY21" fmla="*/ 209560 h 798490"/>
              <a:gd name="connsiteX22" fmla="*/ 647563 w 903309"/>
              <a:gd name="connsiteY22" fmla="*/ 199292 h 798490"/>
              <a:gd name="connsiteX23" fmla="*/ 657831 w 903309"/>
              <a:gd name="connsiteY23" fmla="*/ 189938 h 798490"/>
              <a:gd name="connsiteX24" fmla="*/ 691816 w 903309"/>
              <a:gd name="connsiteY24" fmla="*/ 191529 h 798490"/>
              <a:gd name="connsiteX25" fmla="*/ 382273 w 903309"/>
              <a:gd name="connsiteY25" fmla="*/ 19641 h 798490"/>
              <a:gd name="connsiteX26" fmla="*/ 19580 w 903309"/>
              <a:gd name="connsiteY26" fmla="*/ 346377 h 798490"/>
              <a:gd name="connsiteX27" fmla="*/ 903309 w 903309"/>
              <a:gd name="connsiteY27" fmla="*/ 533400 h 798490"/>
              <a:gd name="connsiteX28" fmla="*/ 638219 w 903309"/>
              <a:gd name="connsiteY28" fmla="*/ 798490 h 798490"/>
              <a:gd name="connsiteX29" fmla="*/ 490153 w 903309"/>
              <a:gd name="connsiteY29" fmla="*/ 753189 h 798490"/>
              <a:gd name="connsiteX30" fmla="*/ 382578 w 903309"/>
              <a:gd name="connsiteY30" fmla="*/ 768544 h 798490"/>
              <a:gd name="connsiteX31" fmla="*/ 239226 w 903309"/>
              <a:gd name="connsiteY31" fmla="*/ 740969 h 798490"/>
              <a:gd name="connsiteX32" fmla="*/ 58061 w 903309"/>
              <a:gd name="connsiteY32" fmla="*/ 590645 h 798490"/>
              <a:gd name="connsiteX33" fmla="*/ 49317 w 903309"/>
              <a:gd name="connsiteY33" fmla="*/ 619849 h 798490"/>
              <a:gd name="connsiteX34" fmla="*/ 37096 w 903309"/>
              <a:gd name="connsiteY34" fmla="*/ 626440 h 798490"/>
              <a:gd name="connsiteX35" fmla="*/ 30505 w 903309"/>
              <a:gd name="connsiteY35" fmla="*/ 614220 h 798490"/>
              <a:gd name="connsiteX36" fmla="*/ 45640 w 903309"/>
              <a:gd name="connsiteY36" fmla="*/ 563623 h 798490"/>
              <a:gd name="connsiteX37" fmla="*/ 50089 w 903309"/>
              <a:gd name="connsiteY37" fmla="*/ 557965 h 798490"/>
              <a:gd name="connsiteX38" fmla="*/ 50841 w 903309"/>
              <a:gd name="connsiteY38" fmla="*/ 557565 h 798490"/>
              <a:gd name="connsiteX39" fmla="*/ 55661 w 903309"/>
              <a:gd name="connsiteY39" fmla="*/ 556632 h 798490"/>
              <a:gd name="connsiteX40" fmla="*/ 107619 w 903309"/>
              <a:gd name="connsiteY40" fmla="*/ 559060 h 798490"/>
              <a:gd name="connsiteX41" fmla="*/ 116973 w 903309"/>
              <a:gd name="connsiteY41" fmla="*/ 569328 h 798490"/>
              <a:gd name="connsiteX42" fmla="*/ 106705 w 903309"/>
              <a:gd name="connsiteY42" fmla="*/ 578682 h 798490"/>
              <a:gd name="connsiteX43" fmla="*/ 72729 w 903309"/>
              <a:gd name="connsiteY43" fmla="*/ 577101 h 798490"/>
              <a:gd name="connsiteX44" fmla="*/ 470151 w 903309"/>
              <a:gd name="connsiteY44" fmla="*/ 738264 h 798490"/>
              <a:gd name="connsiteX45" fmla="*/ 390836 w 903309"/>
              <a:gd name="connsiteY45" fmla="*/ 628650 h 798490"/>
              <a:gd name="connsiteX46" fmla="*/ 382549 w 903309"/>
              <a:gd name="connsiteY46" fmla="*/ 628802 h 798490"/>
              <a:gd name="connsiteX47" fmla="*/ 351602 w 903309"/>
              <a:gd name="connsiteY47" fmla="*/ 626840 h 798490"/>
              <a:gd name="connsiteX48" fmla="*/ 317560 w 903309"/>
              <a:gd name="connsiteY48" fmla="*/ 588874 h 798490"/>
              <a:gd name="connsiteX49" fmla="*/ 292328 w 903309"/>
              <a:gd name="connsiteY49" fmla="*/ 547021 h 798490"/>
              <a:gd name="connsiteX50" fmla="*/ 243465 w 903309"/>
              <a:gd name="connsiteY50" fmla="*/ 547935 h 798490"/>
              <a:gd name="connsiteX51" fmla="*/ 193144 w 903309"/>
              <a:gd name="connsiteY51" fmla="*/ 539248 h 798490"/>
              <a:gd name="connsiteX52" fmla="*/ 156911 w 903309"/>
              <a:gd name="connsiteY52" fmla="*/ 479117 h 798490"/>
              <a:gd name="connsiteX53" fmla="*/ 172751 w 903309"/>
              <a:gd name="connsiteY53" fmla="*/ 430568 h 798490"/>
              <a:gd name="connsiteX54" fmla="*/ 196393 w 903309"/>
              <a:gd name="connsiteY54" fmla="*/ 387801 h 798490"/>
              <a:gd name="connsiteX55" fmla="*/ 171180 w 903309"/>
              <a:gd name="connsiteY55" fmla="*/ 345929 h 798490"/>
              <a:gd name="connsiteX56" fmla="*/ 153520 w 903309"/>
              <a:gd name="connsiteY56" fmla="*/ 298085 h 798490"/>
              <a:gd name="connsiteX57" fmla="*/ 187477 w 903309"/>
              <a:gd name="connsiteY57" fmla="*/ 236515 h 798490"/>
              <a:gd name="connsiteX58" fmla="*/ 237436 w 903309"/>
              <a:gd name="connsiteY58" fmla="*/ 225990 h 798490"/>
              <a:gd name="connsiteX59" fmla="*/ 286318 w 903309"/>
              <a:gd name="connsiteY59" fmla="*/ 225085 h 798490"/>
              <a:gd name="connsiteX60" fmla="*/ 309959 w 903309"/>
              <a:gd name="connsiteY60" fmla="*/ 182289 h 798490"/>
              <a:gd name="connsiteX61" fmla="*/ 342611 w 903309"/>
              <a:gd name="connsiteY61" fmla="*/ 143037 h 798490"/>
              <a:gd name="connsiteX62" fmla="*/ 412915 w 903309"/>
              <a:gd name="connsiteY62" fmla="*/ 141799 h 798490"/>
              <a:gd name="connsiteX63" fmla="*/ 446957 w 903309"/>
              <a:gd name="connsiteY63" fmla="*/ 179765 h 798490"/>
              <a:gd name="connsiteX64" fmla="*/ 472189 w 903309"/>
              <a:gd name="connsiteY64" fmla="*/ 221618 h 798490"/>
              <a:gd name="connsiteX65" fmla="*/ 521052 w 903309"/>
              <a:gd name="connsiteY65" fmla="*/ 220704 h 798490"/>
              <a:gd name="connsiteX66" fmla="*/ 571373 w 903309"/>
              <a:gd name="connsiteY66" fmla="*/ 229391 h 798490"/>
              <a:gd name="connsiteX67" fmla="*/ 598976 w 903309"/>
              <a:gd name="connsiteY67" fmla="*/ 271224 h 798490"/>
              <a:gd name="connsiteX68" fmla="*/ 638200 w 903309"/>
              <a:gd name="connsiteY68" fmla="*/ 268319 h 798490"/>
              <a:gd name="connsiteX69" fmla="*/ 903309 w 903309"/>
              <a:gd name="connsiteY69" fmla="*/ 533400 h 798490"/>
              <a:gd name="connsiteX70" fmla="*/ 384168 w 903309"/>
              <a:gd name="connsiteY70" fmla="*/ 609133 h 798490"/>
              <a:gd name="connsiteX71" fmla="*/ 373129 w 903309"/>
              <a:gd name="connsiteY71" fmla="*/ 533410 h 798490"/>
              <a:gd name="connsiteX72" fmla="*/ 379863 w 903309"/>
              <a:gd name="connsiteY72" fmla="*/ 473935 h 798490"/>
              <a:gd name="connsiteX73" fmla="*/ 305454 w 903309"/>
              <a:gd name="connsiteY73" fmla="*/ 430597 h 798490"/>
              <a:gd name="connsiteX74" fmla="*/ 295224 w 903309"/>
              <a:gd name="connsiteY74" fmla="*/ 362722 h 798490"/>
              <a:gd name="connsiteX75" fmla="*/ 335991 w 903309"/>
              <a:gd name="connsiteY75" fmla="*/ 307496 h 798490"/>
              <a:gd name="connsiteX76" fmla="*/ 410562 w 903309"/>
              <a:gd name="connsiteY76" fmla="*/ 299218 h 798490"/>
              <a:gd name="connsiteX77" fmla="*/ 459140 w 903309"/>
              <a:gd name="connsiteY77" fmla="*/ 338138 h 798490"/>
              <a:gd name="connsiteX78" fmla="*/ 578755 w 903309"/>
              <a:gd name="connsiteY78" fmla="*/ 275044 h 798490"/>
              <a:gd name="connsiteX79" fmla="*/ 556199 w 903309"/>
              <a:gd name="connsiteY79" fmla="*/ 241811 h 798490"/>
              <a:gd name="connsiteX80" fmla="*/ 531234 w 903309"/>
              <a:gd name="connsiteY80" fmla="*/ 237506 h 798490"/>
              <a:gd name="connsiteX81" fmla="*/ 462721 w 903309"/>
              <a:gd name="connsiteY81" fmla="*/ 238801 h 798490"/>
              <a:gd name="connsiteX82" fmla="*/ 427355 w 903309"/>
              <a:gd name="connsiteY82" fmla="*/ 180108 h 798490"/>
              <a:gd name="connsiteX83" fmla="*/ 410467 w 903309"/>
              <a:gd name="connsiteY83" fmla="*/ 161268 h 798490"/>
              <a:gd name="connsiteX84" fmla="*/ 345821 w 903309"/>
              <a:gd name="connsiteY84" fmla="*/ 162411 h 798490"/>
              <a:gd name="connsiteX85" fmla="*/ 329619 w 903309"/>
              <a:gd name="connsiteY85" fmla="*/ 181880 h 798490"/>
              <a:gd name="connsiteX86" fmla="*/ 296472 w 903309"/>
              <a:gd name="connsiteY86" fmla="*/ 241897 h 798490"/>
              <a:gd name="connsiteX87" fmla="*/ 227920 w 903309"/>
              <a:gd name="connsiteY87" fmla="*/ 243154 h 798490"/>
              <a:gd name="connsiteX88" fmla="*/ 203136 w 903309"/>
              <a:gd name="connsiteY88" fmla="*/ 248374 h 798490"/>
              <a:gd name="connsiteX89" fmla="*/ 171913 w 903309"/>
              <a:gd name="connsiteY89" fmla="*/ 304991 h 798490"/>
              <a:gd name="connsiteX90" fmla="*/ 180667 w 903309"/>
              <a:gd name="connsiteY90" fmla="*/ 328717 h 798490"/>
              <a:gd name="connsiteX91" fmla="*/ 216024 w 903309"/>
              <a:gd name="connsiteY91" fmla="*/ 387420 h 798490"/>
              <a:gd name="connsiteX92" fmla="*/ 182857 w 903309"/>
              <a:gd name="connsiteY92" fmla="*/ 447389 h 798490"/>
              <a:gd name="connsiteX93" fmla="*/ 174999 w 903309"/>
              <a:gd name="connsiteY93" fmla="*/ 471468 h 798490"/>
              <a:gd name="connsiteX94" fmla="*/ 208337 w 903309"/>
              <a:gd name="connsiteY94" fmla="*/ 526809 h 798490"/>
              <a:gd name="connsiteX95" fmla="*/ 233302 w 903309"/>
              <a:gd name="connsiteY95" fmla="*/ 531114 h 798490"/>
              <a:gd name="connsiteX96" fmla="*/ 301815 w 903309"/>
              <a:gd name="connsiteY96" fmla="*/ 529819 h 798490"/>
              <a:gd name="connsiteX97" fmla="*/ 337182 w 903309"/>
              <a:gd name="connsiteY97" fmla="*/ 588512 h 798490"/>
              <a:gd name="connsiteX98" fmla="*/ 354069 w 903309"/>
              <a:gd name="connsiteY98" fmla="*/ 607343 h 798490"/>
              <a:gd name="connsiteX99" fmla="*/ 384168 w 903309"/>
              <a:gd name="connsiteY99" fmla="*/ 609133 h 798490"/>
              <a:gd name="connsiteX100" fmla="*/ 444643 w 903309"/>
              <a:gd name="connsiteY100" fmla="*/ 352501 h 798490"/>
              <a:gd name="connsiteX101" fmla="*/ 404352 w 903309"/>
              <a:gd name="connsiteY101" fmla="*/ 317849 h 798490"/>
              <a:gd name="connsiteX102" fmla="*/ 346116 w 903309"/>
              <a:gd name="connsiteY102" fmla="*/ 324317 h 798490"/>
              <a:gd name="connsiteX103" fmla="*/ 314283 w 903309"/>
              <a:gd name="connsiteY103" fmla="*/ 367446 h 798490"/>
              <a:gd name="connsiteX104" fmla="*/ 322275 w 903309"/>
              <a:gd name="connsiteY104" fmla="*/ 420453 h 798490"/>
              <a:gd name="connsiteX105" fmla="*/ 385197 w 903309"/>
              <a:gd name="connsiteY105" fmla="*/ 454276 h 798490"/>
              <a:gd name="connsiteX106" fmla="*/ 444643 w 903309"/>
              <a:gd name="connsiteY106" fmla="*/ 352501 h 798490"/>
              <a:gd name="connsiteX107" fmla="*/ 883678 w 903309"/>
              <a:gd name="connsiteY107" fmla="*/ 533400 h 798490"/>
              <a:gd name="connsiteX108" fmla="*/ 638229 w 903309"/>
              <a:gd name="connsiteY108" fmla="*/ 287950 h 798490"/>
              <a:gd name="connsiteX109" fmla="*/ 392779 w 903309"/>
              <a:gd name="connsiteY109" fmla="*/ 533400 h 798490"/>
              <a:gd name="connsiteX110" fmla="*/ 638229 w 903309"/>
              <a:gd name="connsiteY110" fmla="*/ 778850 h 798490"/>
              <a:gd name="connsiteX111" fmla="*/ 883678 w 903309"/>
              <a:gd name="connsiteY111" fmla="*/ 533400 h 798490"/>
              <a:gd name="connsiteX112" fmla="*/ 771960 w 903309"/>
              <a:gd name="connsiteY112" fmla="*/ 447151 h 798490"/>
              <a:gd name="connsiteX113" fmla="*/ 771960 w 903309"/>
              <a:gd name="connsiteY113" fmla="*/ 581349 h 798490"/>
              <a:gd name="connsiteX114" fmla="*/ 638219 w 903309"/>
              <a:gd name="connsiteY114" fmla="*/ 715089 h 798490"/>
              <a:gd name="connsiteX115" fmla="*/ 504479 w 903309"/>
              <a:gd name="connsiteY115" fmla="*/ 581349 h 798490"/>
              <a:gd name="connsiteX116" fmla="*/ 504479 w 903309"/>
              <a:gd name="connsiteY116" fmla="*/ 516179 h 798490"/>
              <a:gd name="connsiteX117" fmla="*/ 514518 w 903309"/>
              <a:gd name="connsiteY117" fmla="*/ 491804 h 798490"/>
              <a:gd name="connsiteX118" fmla="*/ 539083 w 903309"/>
              <a:gd name="connsiteY118" fmla="*/ 481565 h 798490"/>
              <a:gd name="connsiteX119" fmla="*/ 554047 w 903309"/>
              <a:gd name="connsiteY119" fmla="*/ 484975 h 798490"/>
              <a:gd name="connsiteX120" fmla="*/ 554047 w 903309"/>
              <a:gd name="connsiteY120" fmla="*/ 408918 h 798490"/>
              <a:gd name="connsiteX121" fmla="*/ 564086 w 903309"/>
              <a:gd name="connsiteY121" fmla="*/ 384543 h 798490"/>
              <a:gd name="connsiteX122" fmla="*/ 588651 w 903309"/>
              <a:gd name="connsiteY122" fmla="*/ 374304 h 798490"/>
              <a:gd name="connsiteX123" fmla="*/ 604548 w 903309"/>
              <a:gd name="connsiteY123" fmla="*/ 378181 h 798490"/>
              <a:gd name="connsiteX124" fmla="*/ 613654 w 903309"/>
              <a:gd name="connsiteY124" fmla="*/ 361960 h 798490"/>
              <a:gd name="connsiteX125" fmla="*/ 638219 w 903309"/>
              <a:gd name="connsiteY125" fmla="*/ 351720 h 798490"/>
              <a:gd name="connsiteX126" fmla="*/ 671852 w 903309"/>
              <a:gd name="connsiteY126" fmla="*/ 378181 h 798490"/>
              <a:gd name="connsiteX127" fmla="*/ 687787 w 903309"/>
              <a:gd name="connsiteY127" fmla="*/ 374304 h 798490"/>
              <a:gd name="connsiteX128" fmla="*/ 722392 w 903309"/>
              <a:gd name="connsiteY128" fmla="*/ 408908 h 798490"/>
              <a:gd name="connsiteX129" fmla="*/ 722392 w 903309"/>
              <a:gd name="connsiteY129" fmla="*/ 415938 h 798490"/>
              <a:gd name="connsiteX130" fmla="*/ 737355 w 903309"/>
              <a:gd name="connsiteY130" fmla="*/ 412547 h 798490"/>
              <a:gd name="connsiteX131" fmla="*/ 771960 w 903309"/>
              <a:gd name="connsiteY131" fmla="*/ 447151 h 798490"/>
              <a:gd name="connsiteX132" fmla="*/ 752329 w 903309"/>
              <a:gd name="connsiteY132" fmla="*/ 447151 h 798490"/>
              <a:gd name="connsiteX133" fmla="*/ 737365 w 903309"/>
              <a:gd name="connsiteY133" fmla="*/ 432187 h 798490"/>
              <a:gd name="connsiteX134" fmla="*/ 726725 w 903309"/>
              <a:gd name="connsiteY134" fmla="*/ 436626 h 798490"/>
              <a:gd name="connsiteX135" fmla="*/ 722401 w 903309"/>
              <a:gd name="connsiteY135" fmla="*/ 446884 h 798490"/>
              <a:gd name="connsiteX136" fmla="*/ 722401 w 903309"/>
              <a:gd name="connsiteY136" fmla="*/ 447161 h 798490"/>
              <a:gd name="connsiteX137" fmla="*/ 722401 w 903309"/>
              <a:gd name="connsiteY137" fmla="*/ 488575 h 798490"/>
              <a:gd name="connsiteX138" fmla="*/ 712581 w 903309"/>
              <a:gd name="connsiteY138" fmla="*/ 498396 h 798490"/>
              <a:gd name="connsiteX139" fmla="*/ 702761 w 903309"/>
              <a:gd name="connsiteY139" fmla="*/ 488575 h 798490"/>
              <a:gd name="connsiteX140" fmla="*/ 702761 w 903309"/>
              <a:gd name="connsiteY140" fmla="*/ 447218 h 798490"/>
              <a:gd name="connsiteX141" fmla="*/ 702761 w 903309"/>
              <a:gd name="connsiteY141" fmla="*/ 446846 h 798490"/>
              <a:gd name="connsiteX142" fmla="*/ 702761 w 903309"/>
              <a:gd name="connsiteY142" fmla="*/ 446808 h 798490"/>
              <a:gd name="connsiteX143" fmla="*/ 702761 w 903309"/>
              <a:gd name="connsiteY143" fmla="*/ 408899 h 798490"/>
              <a:gd name="connsiteX144" fmla="*/ 687797 w 903309"/>
              <a:gd name="connsiteY144" fmla="*/ 393935 h 798490"/>
              <a:gd name="connsiteX145" fmla="*/ 677157 w 903309"/>
              <a:gd name="connsiteY145" fmla="*/ 398374 h 798490"/>
              <a:gd name="connsiteX146" fmla="*/ 672833 w 903309"/>
              <a:gd name="connsiteY146" fmla="*/ 408632 h 798490"/>
              <a:gd name="connsiteX147" fmla="*/ 672833 w 903309"/>
              <a:gd name="connsiteY147" fmla="*/ 408908 h 798490"/>
              <a:gd name="connsiteX148" fmla="*/ 672833 w 903309"/>
              <a:gd name="connsiteY148" fmla="*/ 488575 h 798490"/>
              <a:gd name="connsiteX149" fmla="*/ 663013 w 903309"/>
              <a:gd name="connsiteY149" fmla="*/ 498396 h 798490"/>
              <a:gd name="connsiteX150" fmla="*/ 653192 w 903309"/>
              <a:gd name="connsiteY150" fmla="*/ 488575 h 798490"/>
              <a:gd name="connsiteX151" fmla="*/ 653192 w 903309"/>
              <a:gd name="connsiteY151" fmla="*/ 408965 h 798490"/>
              <a:gd name="connsiteX152" fmla="*/ 653192 w 903309"/>
              <a:gd name="connsiteY152" fmla="*/ 408899 h 798490"/>
              <a:gd name="connsiteX153" fmla="*/ 653192 w 903309"/>
              <a:gd name="connsiteY153" fmla="*/ 408546 h 798490"/>
              <a:gd name="connsiteX154" fmla="*/ 653192 w 903309"/>
              <a:gd name="connsiteY154" fmla="*/ 386296 h 798490"/>
              <a:gd name="connsiteX155" fmla="*/ 638229 w 903309"/>
              <a:gd name="connsiteY155" fmla="*/ 371332 h 798490"/>
              <a:gd name="connsiteX156" fmla="*/ 627589 w 903309"/>
              <a:gd name="connsiteY156" fmla="*/ 375771 h 798490"/>
              <a:gd name="connsiteX157" fmla="*/ 623255 w 903309"/>
              <a:gd name="connsiteY157" fmla="*/ 386239 h 798490"/>
              <a:gd name="connsiteX158" fmla="*/ 623255 w 903309"/>
              <a:gd name="connsiteY158" fmla="*/ 408870 h 798490"/>
              <a:gd name="connsiteX159" fmla="*/ 623255 w 903309"/>
              <a:gd name="connsiteY159" fmla="*/ 408870 h 798490"/>
              <a:gd name="connsiteX160" fmla="*/ 623255 w 903309"/>
              <a:gd name="connsiteY160" fmla="*/ 488547 h 798490"/>
              <a:gd name="connsiteX161" fmla="*/ 613435 w 903309"/>
              <a:gd name="connsiteY161" fmla="*/ 498367 h 798490"/>
              <a:gd name="connsiteX162" fmla="*/ 603615 w 903309"/>
              <a:gd name="connsiteY162" fmla="*/ 488547 h 798490"/>
              <a:gd name="connsiteX163" fmla="*/ 603615 w 903309"/>
              <a:gd name="connsiteY163" fmla="*/ 408870 h 798490"/>
              <a:gd name="connsiteX164" fmla="*/ 588651 w 903309"/>
              <a:gd name="connsiteY164" fmla="*/ 393906 h 798490"/>
              <a:gd name="connsiteX165" fmla="*/ 578012 w 903309"/>
              <a:gd name="connsiteY165" fmla="*/ 398345 h 798490"/>
              <a:gd name="connsiteX166" fmla="*/ 573687 w 903309"/>
              <a:gd name="connsiteY166" fmla="*/ 408813 h 798490"/>
              <a:gd name="connsiteX167" fmla="*/ 573687 w 903309"/>
              <a:gd name="connsiteY167" fmla="*/ 516131 h 798490"/>
              <a:gd name="connsiteX168" fmla="*/ 573687 w 903309"/>
              <a:gd name="connsiteY168" fmla="*/ 560803 h 798490"/>
              <a:gd name="connsiteX169" fmla="*/ 563867 w 903309"/>
              <a:gd name="connsiteY169" fmla="*/ 570624 h 798490"/>
              <a:gd name="connsiteX170" fmla="*/ 554047 w 903309"/>
              <a:gd name="connsiteY170" fmla="*/ 560803 h 798490"/>
              <a:gd name="connsiteX171" fmla="*/ 554047 w 903309"/>
              <a:gd name="connsiteY171" fmla="*/ 516131 h 798490"/>
              <a:gd name="connsiteX172" fmla="*/ 539083 w 903309"/>
              <a:gd name="connsiteY172" fmla="*/ 501167 h 798490"/>
              <a:gd name="connsiteX173" fmla="*/ 528444 w 903309"/>
              <a:gd name="connsiteY173" fmla="*/ 505606 h 798490"/>
              <a:gd name="connsiteX174" fmla="*/ 524119 w 903309"/>
              <a:gd name="connsiteY174" fmla="*/ 516074 h 798490"/>
              <a:gd name="connsiteX175" fmla="*/ 524119 w 903309"/>
              <a:gd name="connsiteY175" fmla="*/ 581311 h 798490"/>
              <a:gd name="connsiteX176" fmla="*/ 638219 w 903309"/>
              <a:gd name="connsiteY176" fmla="*/ 695411 h 798490"/>
              <a:gd name="connsiteX177" fmla="*/ 752319 w 903309"/>
              <a:gd name="connsiteY177" fmla="*/ 581311 h 798490"/>
              <a:gd name="connsiteX178" fmla="*/ 752319 w 903309"/>
              <a:gd name="connsiteY178" fmla="*/ 447151 h 79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903309" h="798490">
                <a:moveTo>
                  <a:pt x="19580" y="346377"/>
                </a:moveTo>
                <a:cubicBezTo>
                  <a:pt x="19056" y="351425"/>
                  <a:pt x="14789" y="355178"/>
                  <a:pt x="9826" y="355178"/>
                </a:cubicBezTo>
                <a:cubicBezTo>
                  <a:pt x="9483" y="355178"/>
                  <a:pt x="9141" y="355159"/>
                  <a:pt x="8798" y="355121"/>
                </a:cubicBezTo>
                <a:cubicBezTo>
                  <a:pt x="3406" y="354559"/>
                  <a:pt x="-508" y="349729"/>
                  <a:pt x="54" y="344329"/>
                </a:cubicBezTo>
                <a:cubicBezTo>
                  <a:pt x="9950" y="249679"/>
                  <a:pt x="54346" y="162477"/>
                  <a:pt x="125050" y="98774"/>
                </a:cubicBezTo>
                <a:cubicBezTo>
                  <a:pt x="195754" y="35081"/>
                  <a:pt x="287109" y="0"/>
                  <a:pt x="382273" y="0"/>
                </a:cubicBezTo>
                <a:cubicBezTo>
                  <a:pt x="514051" y="0"/>
                  <a:pt x="636276" y="67647"/>
                  <a:pt x="706485" y="177965"/>
                </a:cubicBezTo>
                <a:lnTo>
                  <a:pt x="715219" y="148771"/>
                </a:lnTo>
                <a:cubicBezTo>
                  <a:pt x="716772" y="143580"/>
                  <a:pt x="722249" y="140618"/>
                  <a:pt x="727440" y="142180"/>
                </a:cubicBezTo>
                <a:cubicBezTo>
                  <a:pt x="732631" y="143732"/>
                  <a:pt x="735584" y="149209"/>
                  <a:pt x="734031" y="154400"/>
                </a:cubicBezTo>
                <a:lnTo>
                  <a:pt x="718896" y="204997"/>
                </a:lnTo>
                <a:cubicBezTo>
                  <a:pt x="718810" y="205273"/>
                  <a:pt x="718715" y="205550"/>
                  <a:pt x="718610" y="205816"/>
                </a:cubicBezTo>
                <a:cubicBezTo>
                  <a:pt x="718610" y="205816"/>
                  <a:pt x="718610" y="205816"/>
                  <a:pt x="718610" y="205826"/>
                </a:cubicBezTo>
                <a:cubicBezTo>
                  <a:pt x="718610" y="205835"/>
                  <a:pt x="718601" y="205835"/>
                  <a:pt x="718601" y="205845"/>
                </a:cubicBezTo>
                <a:cubicBezTo>
                  <a:pt x="718601" y="205845"/>
                  <a:pt x="718601" y="205854"/>
                  <a:pt x="718591" y="205854"/>
                </a:cubicBezTo>
                <a:cubicBezTo>
                  <a:pt x="718591" y="205854"/>
                  <a:pt x="718591" y="205864"/>
                  <a:pt x="718591" y="205864"/>
                </a:cubicBezTo>
                <a:cubicBezTo>
                  <a:pt x="718591" y="205873"/>
                  <a:pt x="718582" y="205873"/>
                  <a:pt x="718582" y="205883"/>
                </a:cubicBezTo>
                <a:cubicBezTo>
                  <a:pt x="718582" y="205883"/>
                  <a:pt x="718582" y="205883"/>
                  <a:pt x="718582" y="205883"/>
                </a:cubicBezTo>
                <a:cubicBezTo>
                  <a:pt x="717791" y="207826"/>
                  <a:pt x="716381" y="209531"/>
                  <a:pt x="714438" y="210664"/>
                </a:cubicBezTo>
                <a:cubicBezTo>
                  <a:pt x="714200" y="210807"/>
                  <a:pt x="713952" y="210941"/>
                  <a:pt x="713695" y="211055"/>
                </a:cubicBezTo>
                <a:cubicBezTo>
                  <a:pt x="712143" y="211788"/>
                  <a:pt x="710495" y="212074"/>
                  <a:pt x="708876" y="211988"/>
                </a:cubicBezTo>
                <a:lnTo>
                  <a:pt x="656917" y="209560"/>
                </a:lnTo>
                <a:cubicBezTo>
                  <a:pt x="651497" y="209312"/>
                  <a:pt x="647316" y="204711"/>
                  <a:pt x="647563" y="199292"/>
                </a:cubicBezTo>
                <a:cubicBezTo>
                  <a:pt x="647811" y="193872"/>
                  <a:pt x="652411" y="189652"/>
                  <a:pt x="657831" y="189938"/>
                </a:cubicBezTo>
                <a:lnTo>
                  <a:pt x="691816" y="191529"/>
                </a:lnTo>
                <a:cubicBezTo>
                  <a:pt x="625513" y="85058"/>
                  <a:pt x="508517" y="19641"/>
                  <a:pt x="382273" y="19641"/>
                </a:cubicBezTo>
                <a:cubicBezTo>
                  <a:pt x="194983" y="19641"/>
                  <a:pt x="39059" y="160106"/>
                  <a:pt x="19580" y="346377"/>
                </a:cubicBezTo>
                <a:close/>
                <a:moveTo>
                  <a:pt x="903309" y="533400"/>
                </a:moveTo>
                <a:cubicBezTo>
                  <a:pt x="903309" y="679571"/>
                  <a:pt x="784390" y="798490"/>
                  <a:pt x="638219" y="798490"/>
                </a:cubicBezTo>
                <a:cubicBezTo>
                  <a:pt x="583422" y="798490"/>
                  <a:pt x="532463" y="781783"/>
                  <a:pt x="490153" y="753189"/>
                </a:cubicBezTo>
                <a:cubicBezTo>
                  <a:pt x="455092" y="763429"/>
                  <a:pt x="418830" y="768544"/>
                  <a:pt x="382578" y="768544"/>
                </a:cubicBezTo>
                <a:cubicBezTo>
                  <a:pt x="333772" y="768544"/>
                  <a:pt x="284985" y="759314"/>
                  <a:pt x="239226" y="740969"/>
                </a:cubicBezTo>
                <a:cubicBezTo>
                  <a:pt x="164674" y="711089"/>
                  <a:pt x="101076" y="658149"/>
                  <a:pt x="58061" y="590645"/>
                </a:cubicBezTo>
                <a:lnTo>
                  <a:pt x="49317" y="619849"/>
                </a:lnTo>
                <a:cubicBezTo>
                  <a:pt x="47764" y="625050"/>
                  <a:pt x="42297" y="628002"/>
                  <a:pt x="37096" y="626440"/>
                </a:cubicBezTo>
                <a:cubicBezTo>
                  <a:pt x="31905" y="624888"/>
                  <a:pt x="28953" y="619420"/>
                  <a:pt x="30505" y="614220"/>
                </a:cubicBezTo>
                <a:lnTo>
                  <a:pt x="45640" y="563623"/>
                </a:lnTo>
                <a:cubicBezTo>
                  <a:pt x="46326" y="561318"/>
                  <a:pt x="47860" y="559260"/>
                  <a:pt x="50089" y="557965"/>
                </a:cubicBezTo>
                <a:cubicBezTo>
                  <a:pt x="50336" y="557822"/>
                  <a:pt x="50584" y="557689"/>
                  <a:pt x="50841" y="557565"/>
                </a:cubicBezTo>
                <a:cubicBezTo>
                  <a:pt x="52394" y="556832"/>
                  <a:pt x="54041" y="556536"/>
                  <a:pt x="55661" y="556632"/>
                </a:cubicBezTo>
                <a:lnTo>
                  <a:pt x="107619" y="559060"/>
                </a:lnTo>
                <a:cubicBezTo>
                  <a:pt x="113039" y="559308"/>
                  <a:pt x="117221" y="563909"/>
                  <a:pt x="116973" y="569328"/>
                </a:cubicBezTo>
                <a:cubicBezTo>
                  <a:pt x="116716" y="574748"/>
                  <a:pt x="112115" y="578930"/>
                  <a:pt x="106705" y="578682"/>
                </a:cubicBezTo>
                <a:lnTo>
                  <a:pt x="72729" y="577101"/>
                </a:lnTo>
                <a:cubicBezTo>
                  <a:pt x="155826" y="710346"/>
                  <a:pt x="317827" y="775954"/>
                  <a:pt x="470151" y="738264"/>
                </a:cubicBezTo>
                <a:cubicBezTo>
                  <a:pt x="435051" y="709413"/>
                  <a:pt x="407476" y="671732"/>
                  <a:pt x="390836" y="628650"/>
                </a:cubicBezTo>
                <a:cubicBezTo>
                  <a:pt x="388074" y="628745"/>
                  <a:pt x="385311" y="628802"/>
                  <a:pt x="382549" y="628802"/>
                </a:cubicBezTo>
                <a:cubicBezTo>
                  <a:pt x="372214" y="628802"/>
                  <a:pt x="361861" y="628145"/>
                  <a:pt x="351602" y="626840"/>
                </a:cubicBezTo>
                <a:cubicBezTo>
                  <a:pt x="332219" y="624373"/>
                  <a:pt x="317903" y="608409"/>
                  <a:pt x="317560" y="588874"/>
                </a:cubicBezTo>
                <a:cubicBezTo>
                  <a:pt x="317246" y="571224"/>
                  <a:pt x="307816" y="555574"/>
                  <a:pt x="292328" y="547021"/>
                </a:cubicBezTo>
                <a:cubicBezTo>
                  <a:pt x="276841" y="538467"/>
                  <a:pt x="258572" y="538801"/>
                  <a:pt x="243465" y="547935"/>
                </a:cubicBezTo>
                <a:cubicBezTo>
                  <a:pt x="226701" y="558060"/>
                  <a:pt x="205546" y="554412"/>
                  <a:pt x="193144" y="539248"/>
                </a:cubicBezTo>
                <a:cubicBezTo>
                  <a:pt x="178247" y="521027"/>
                  <a:pt x="166055" y="500796"/>
                  <a:pt x="156911" y="479117"/>
                </a:cubicBezTo>
                <a:cubicBezTo>
                  <a:pt x="149301" y="461067"/>
                  <a:pt x="155959" y="440655"/>
                  <a:pt x="172751" y="430568"/>
                </a:cubicBezTo>
                <a:cubicBezTo>
                  <a:pt x="187887" y="421481"/>
                  <a:pt x="196726" y="405489"/>
                  <a:pt x="196393" y="387801"/>
                </a:cubicBezTo>
                <a:cubicBezTo>
                  <a:pt x="196069" y="370103"/>
                  <a:pt x="186639" y="354454"/>
                  <a:pt x="171180" y="345929"/>
                </a:cubicBezTo>
                <a:cubicBezTo>
                  <a:pt x="154063" y="336490"/>
                  <a:pt x="146643" y="316373"/>
                  <a:pt x="153520" y="298085"/>
                </a:cubicBezTo>
                <a:cubicBezTo>
                  <a:pt x="161836" y="275977"/>
                  <a:pt x="173266" y="255260"/>
                  <a:pt x="187477" y="236515"/>
                </a:cubicBezTo>
                <a:cubicBezTo>
                  <a:pt x="199307" y="220913"/>
                  <a:pt x="220319" y="216484"/>
                  <a:pt x="237436" y="225990"/>
                </a:cubicBezTo>
                <a:cubicBezTo>
                  <a:pt x="252876" y="234563"/>
                  <a:pt x="271154" y="234229"/>
                  <a:pt x="286318" y="225085"/>
                </a:cubicBezTo>
                <a:cubicBezTo>
                  <a:pt x="301482" y="215951"/>
                  <a:pt x="310321" y="199949"/>
                  <a:pt x="309959" y="182289"/>
                </a:cubicBezTo>
                <a:cubicBezTo>
                  <a:pt x="309559" y="162716"/>
                  <a:pt x="323294" y="146209"/>
                  <a:pt x="342611" y="143037"/>
                </a:cubicBezTo>
                <a:cubicBezTo>
                  <a:pt x="365823" y="139236"/>
                  <a:pt x="389474" y="138808"/>
                  <a:pt x="412915" y="141799"/>
                </a:cubicBezTo>
                <a:cubicBezTo>
                  <a:pt x="432298" y="144266"/>
                  <a:pt x="446614" y="160230"/>
                  <a:pt x="446957" y="179765"/>
                </a:cubicBezTo>
                <a:cubicBezTo>
                  <a:pt x="447271" y="197415"/>
                  <a:pt x="456701" y="213055"/>
                  <a:pt x="472189" y="221618"/>
                </a:cubicBezTo>
                <a:cubicBezTo>
                  <a:pt x="487677" y="230181"/>
                  <a:pt x="505945" y="229838"/>
                  <a:pt x="521052" y="220704"/>
                </a:cubicBezTo>
                <a:cubicBezTo>
                  <a:pt x="537816" y="210569"/>
                  <a:pt x="558981" y="214227"/>
                  <a:pt x="571373" y="229391"/>
                </a:cubicBezTo>
                <a:cubicBezTo>
                  <a:pt x="581945" y="242326"/>
                  <a:pt x="591213" y="256375"/>
                  <a:pt x="598976" y="271224"/>
                </a:cubicBezTo>
                <a:cubicBezTo>
                  <a:pt x="611778" y="269319"/>
                  <a:pt x="624875" y="268319"/>
                  <a:pt x="638200" y="268319"/>
                </a:cubicBezTo>
                <a:cubicBezTo>
                  <a:pt x="784390" y="268310"/>
                  <a:pt x="903309" y="387229"/>
                  <a:pt x="903309" y="533400"/>
                </a:cubicBezTo>
                <a:close/>
                <a:moveTo>
                  <a:pt x="384168" y="609133"/>
                </a:moveTo>
                <a:cubicBezTo>
                  <a:pt x="376996" y="585130"/>
                  <a:pt x="373129" y="559708"/>
                  <a:pt x="373129" y="533410"/>
                </a:cubicBezTo>
                <a:cubicBezTo>
                  <a:pt x="373129" y="512969"/>
                  <a:pt x="375463" y="493062"/>
                  <a:pt x="379863" y="473935"/>
                </a:cubicBezTo>
                <a:cubicBezTo>
                  <a:pt x="349612" y="473116"/>
                  <a:pt x="321389" y="457057"/>
                  <a:pt x="305454" y="430597"/>
                </a:cubicBezTo>
                <a:cubicBezTo>
                  <a:pt x="293090" y="410080"/>
                  <a:pt x="289461" y="385972"/>
                  <a:pt x="295224" y="362722"/>
                </a:cubicBezTo>
                <a:cubicBezTo>
                  <a:pt x="300996" y="339471"/>
                  <a:pt x="315465" y="319859"/>
                  <a:pt x="335991" y="307496"/>
                </a:cubicBezTo>
                <a:cubicBezTo>
                  <a:pt x="358479" y="293942"/>
                  <a:pt x="385654" y="290922"/>
                  <a:pt x="410562" y="299218"/>
                </a:cubicBezTo>
                <a:cubicBezTo>
                  <a:pt x="431050" y="306038"/>
                  <a:pt x="448176" y="319907"/>
                  <a:pt x="459140" y="338138"/>
                </a:cubicBezTo>
                <a:cubicBezTo>
                  <a:pt x="492353" y="307648"/>
                  <a:pt x="533339" y="285493"/>
                  <a:pt x="578755" y="275044"/>
                </a:cubicBezTo>
                <a:cubicBezTo>
                  <a:pt x="572230" y="263319"/>
                  <a:pt x="564677" y="252174"/>
                  <a:pt x="556199" y="241811"/>
                </a:cubicBezTo>
                <a:cubicBezTo>
                  <a:pt x="550056" y="234296"/>
                  <a:pt x="539550" y="232486"/>
                  <a:pt x="531234" y="237506"/>
                </a:cubicBezTo>
                <a:cubicBezTo>
                  <a:pt x="510041" y="250317"/>
                  <a:pt x="484438" y="250803"/>
                  <a:pt x="462721" y="238801"/>
                </a:cubicBezTo>
                <a:cubicBezTo>
                  <a:pt x="441014" y="226800"/>
                  <a:pt x="427783" y="204864"/>
                  <a:pt x="427355" y="180108"/>
                </a:cubicBezTo>
                <a:cubicBezTo>
                  <a:pt x="427183" y="170412"/>
                  <a:pt x="420087" y="162496"/>
                  <a:pt x="410467" y="161268"/>
                </a:cubicBezTo>
                <a:cubicBezTo>
                  <a:pt x="388912" y="158525"/>
                  <a:pt x="367166" y="158915"/>
                  <a:pt x="345821" y="162411"/>
                </a:cubicBezTo>
                <a:cubicBezTo>
                  <a:pt x="336239" y="163982"/>
                  <a:pt x="329428" y="172174"/>
                  <a:pt x="329619" y="181880"/>
                </a:cubicBezTo>
                <a:cubicBezTo>
                  <a:pt x="330124" y="206645"/>
                  <a:pt x="317731" y="229086"/>
                  <a:pt x="296472" y="241897"/>
                </a:cubicBezTo>
                <a:cubicBezTo>
                  <a:pt x="275212" y="254708"/>
                  <a:pt x="249590" y="255175"/>
                  <a:pt x="227920" y="243154"/>
                </a:cubicBezTo>
                <a:cubicBezTo>
                  <a:pt x="219433" y="238449"/>
                  <a:pt x="209004" y="240640"/>
                  <a:pt x="203136" y="248374"/>
                </a:cubicBezTo>
                <a:cubicBezTo>
                  <a:pt x="190068" y="265614"/>
                  <a:pt x="179562" y="284664"/>
                  <a:pt x="171913" y="304991"/>
                </a:cubicBezTo>
                <a:cubicBezTo>
                  <a:pt x="168503" y="314058"/>
                  <a:pt x="172180" y="324041"/>
                  <a:pt x="180667" y="328717"/>
                </a:cubicBezTo>
                <a:cubicBezTo>
                  <a:pt x="202355" y="340671"/>
                  <a:pt x="215566" y="362617"/>
                  <a:pt x="216024" y="387420"/>
                </a:cubicBezTo>
                <a:cubicBezTo>
                  <a:pt x="216481" y="412223"/>
                  <a:pt x="204079" y="434635"/>
                  <a:pt x="182857" y="447389"/>
                </a:cubicBezTo>
                <a:cubicBezTo>
                  <a:pt x="174523" y="452390"/>
                  <a:pt x="171218" y="462525"/>
                  <a:pt x="174999" y="471468"/>
                </a:cubicBezTo>
                <a:cubicBezTo>
                  <a:pt x="183419" y="491423"/>
                  <a:pt x="194630" y="510035"/>
                  <a:pt x="208337" y="526809"/>
                </a:cubicBezTo>
                <a:cubicBezTo>
                  <a:pt x="214490" y="534324"/>
                  <a:pt x="224987" y="536134"/>
                  <a:pt x="233302" y="531114"/>
                </a:cubicBezTo>
                <a:cubicBezTo>
                  <a:pt x="254495" y="518303"/>
                  <a:pt x="280108" y="517817"/>
                  <a:pt x="301815" y="529819"/>
                </a:cubicBezTo>
                <a:cubicBezTo>
                  <a:pt x="323532" y="541820"/>
                  <a:pt x="336753" y="563756"/>
                  <a:pt x="337182" y="588512"/>
                </a:cubicBezTo>
                <a:cubicBezTo>
                  <a:pt x="337353" y="598199"/>
                  <a:pt x="344449" y="606123"/>
                  <a:pt x="354069" y="607343"/>
                </a:cubicBezTo>
                <a:cubicBezTo>
                  <a:pt x="364052" y="608619"/>
                  <a:pt x="374119" y="609200"/>
                  <a:pt x="384168" y="609133"/>
                </a:cubicBezTo>
                <a:close/>
                <a:moveTo>
                  <a:pt x="444643" y="352501"/>
                </a:moveTo>
                <a:cubicBezTo>
                  <a:pt x="436299" y="336166"/>
                  <a:pt x="421906" y="323698"/>
                  <a:pt x="404352" y="317849"/>
                </a:cubicBezTo>
                <a:cubicBezTo>
                  <a:pt x="384902" y="311372"/>
                  <a:pt x="363680" y="313734"/>
                  <a:pt x="346116" y="324317"/>
                </a:cubicBezTo>
                <a:cubicBezTo>
                  <a:pt x="330085" y="333975"/>
                  <a:pt x="318779" y="349291"/>
                  <a:pt x="314283" y="367446"/>
                </a:cubicBezTo>
                <a:cubicBezTo>
                  <a:pt x="309778" y="385601"/>
                  <a:pt x="312617" y="404432"/>
                  <a:pt x="322275" y="420453"/>
                </a:cubicBezTo>
                <a:cubicBezTo>
                  <a:pt x="335562" y="442512"/>
                  <a:pt x="359775" y="455343"/>
                  <a:pt x="385197" y="454276"/>
                </a:cubicBezTo>
                <a:cubicBezTo>
                  <a:pt x="397227" y="415871"/>
                  <a:pt x="417792" y="381210"/>
                  <a:pt x="444643" y="352501"/>
                </a:cubicBezTo>
                <a:close/>
                <a:moveTo>
                  <a:pt x="883678" y="533400"/>
                </a:moveTo>
                <a:cubicBezTo>
                  <a:pt x="883678" y="398059"/>
                  <a:pt x="773569" y="287950"/>
                  <a:pt x="638229" y="287950"/>
                </a:cubicBezTo>
                <a:cubicBezTo>
                  <a:pt x="502888" y="287950"/>
                  <a:pt x="392779" y="398059"/>
                  <a:pt x="392779" y="533400"/>
                </a:cubicBezTo>
                <a:cubicBezTo>
                  <a:pt x="392779" y="668741"/>
                  <a:pt x="502888" y="778850"/>
                  <a:pt x="638229" y="778850"/>
                </a:cubicBezTo>
                <a:cubicBezTo>
                  <a:pt x="773569" y="778850"/>
                  <a:pt x="883678" y="668750"/>
                  <a:pt x="883678" y="533400"/>
                </a:cubicBezTo>
                <a:close/>
                <a:moveTo>
                  <a:pt x="771960" y="447151"/>
                </a:moveTo>
                <a:lnTo>
                  <a:pt x="771960" y="581349"/>
                </a:lnTo>
                <a:cubicBezTo>
                  <a:pt x="771960" y="655091"/>
                  <a:pt x="711962" y="715089"/>
                  <a:pt x="638219" y="715089"/>
                </a:cubicBezTo>
                <a:cubicBezTo>
                  <a:pt x="564477" y="715089"/>
                  <a:pt x="504479" y="655091"/>
                  <a:pt x="504479" y="581349"/>
                </a:cubicBezTo>
                <a:lnTo>
                  <a:pt x="504479" y="516179"/>
                </a:lnTo>
                <a:cubicBezTo>
                  <a:pt x="504421" y="507054"/>
                  <a:pt x="507984" y="498377"/>
                  <a:pt x="514518" y="491804"/>
                </a:cubicBezTo>
                <a:cubicBezTo>
                  <a:pt x="521081" y="485203"/>
                  <a:pt x="529806" y="481565"/>
                  <a:pt x="539083" y="481565"/>
                </a:cubicBezTo>
                <a:cubicBezTo>
                  <a:pt x="544436" y="481565"/>
                  <a:pt x="549513" y="482784"/>
                  <a:pt x="554047" y="484975"/>
                </a:cubicBezTo>
                <a:lnTo>
                  <a:pt x="554047" y="408918"/>
                </a:lnTo>
                <a:cubicBezTo>
                  <a:pt x="553990" y="399793"/>
                  <a:pt x="557552" y="391116"/>
                  <a:pt x="564086" y="384543"/>
                </a:cubicBezTo>
                <a:cubicBezTo>
                  <a:pt x="570649" y="377942"/>
                  <a:pt x="579374" y="374304"/>
                  <a:pt x="588651" y="374304"/>
                </a:cubicBezTo>
                <a:cubicBezTo>
                  <a:pt x="594376" y="374304"/>
                  <a:pt x="599786" y="375704"/>
                  <a:pt x="604548" y="378181"/>
                </a:cubicBezTo>
                <a:cubicBezTo>
                  <a:pt x="605996" y="372132"/>
                  <a:pt x="609111" y="366532"/>
                  <a:pt x="613654" y="361960"/>
                </a:cubicBezTo>
                <a:cubicBezTo>
                  <a:pt x="620217" y="355359"/>
                  <a:pt x="628942" y="351720"/>
                  <a:pt x="638219" y="351720"/>
                </a:cubicBezTo>
                <a:cubicBezTo>
                  <a:pt x="654497" y="351720"/>
                  <a:pt x="668185" y="363017"/>
                  <a:pt x="671852" y="378181"/>
                </a:cubicBezTo>
                <a:cubicBezTo>
                  <a:pt x="676719" y="375647"/>
                  <a:pt x="682148" y="374304"/>
                  <a:pt x="687787" y="374304"/>
                </a:cubicBezTo>
                <a:cubicBezTo>
                  <a:pt x="706866" y="374304"/>
                  <a:pt x="722392" y="389830"/>
                  <a:pt x="722392" y="408908"/>
                </a:cubicBezTo>
                <a:lnTo>
                  <a:pt x="722392" y="415938"/>
                </a:lnTo>
                <a:cubicBezTo>
                  <a:pt x="727002" y="413718"/>
                  <a:pt x="732088" y="412547"/>
                  <a:pt x="737355" y="412547"/>
                </a:cubicBezTo>
                <a:cubicBezTo>
                  <a:pt x="756443" y="412547"/>
                  <a:pt x="771960" y="428073"/>
                  <a:pt x="771960" y="447151"/>
                </a:cubicBezTo>
                <a:close/>
                <a:moveTo>
                  <a:pt x="752329" y="447151"/>
                </a:moveTo>
                <a:cubicBezTo>
                  <a:pt x="752329" y="438902"/>
                  <a:pt x="745614" y="432187"/>
                  <a:pt x="737365" y="432187"/>
                </a:cubicBezTo>
                <a:cubicBezTo>
                  <a:pt x="733355" y="432187"/>
                  <a:pt x="729573" y="433769"/>
                  <a:pt x="726725" y="436626"/>
                </a:cubicBezTo>
                <a:cubicBezTo>
                  <a:pt x="723963" y="439407"/>
                  <a:pt x="722430" y="443046"/>
                  <a:pt x="722401" y="446884"/>
                </a:cubicBezTo>
                <a:lnTo>
                  <a:pt x="722401" y="447161"/>
                </a:lnTo>
                <a:lnTo>
                  <a:pt x="722401" y="488575"/>
                </a:lnTo>
                <a:cubicBezTo>
                  <a:pt x="722401" y="493995"/>
                  <a:pt x="718001" y="498396"/>
                  <a:pt x="712581" y="498396"/>
                </a:cubicBezTo>
                <a:cubicBezTo>
                  <a:pt x="707161" y="498396"/>
                  <a:pt x="702761" y="494005"/>
                  <a:pt x="702761" y="488575"/>
                </a:cubicBezTo>
                <a:lnTo>
                  <a:pt x="702761" y="447218"/>
                </a:lnTo>
                <a:cubicBezTo>
                  <a:pt x="702761" y="447094"/>
                  <a:pt x="702761" y="446970"/>
                  <a:pt x="702761" y="446846"/>
                </a:cubicBezTo>
                <a:cubicBezTo>
                  <a:pt x="702761" y="446837"/>
                  <a:pt x="702761" y="446818"/>
                  <a:pt x="702761" y="446808"/>
                </a:cubicBezTo>
                <a:lnTo>
                  <a:pt x="702761" y="408899"/>
                </a:lnTo>
                <a:cubicBezTo>
                  <a:pt x="702761" y="400641"/>
                  <a:pt x="696045" y="393935"/>
                  <a:pt x="687797" y="393935"/>
                </a:cubicBezTo>
                <a:cubicBezTo>
                  <a:pt x="683787" y="393935"/>
                  <a:pt x="680005" y="395516"/>
                  <a:pt x="677157" y="398374"/>
                </a:cubicBezTo>
                <a:cubicBezTo>
                  <a:pt x="674395" y="401155"/>
                  <a:pt x="672862" y="404793"/>
                  <a:pt x="672833" y="408632"/>
                </a:cubicBezTo>
                <a:lnTo>
                  <a:pt x="672833" y="408908"/>
                </a:lnTo>
                <a:lnTo>
                  <a:pt x="672833" y="488575"/>
                </a:lnTo>
                <a:cubicBezTo>
                  <a:pt x="672833" y="493995"/>
                  <a:pt x="668433" y="498396"/>
                  <a:pt x="663013" y="498396"/>
                </a:cubicBezTo>
                <a:cubicBezTo>
                  <a:pt x="657593" y="498396"/>
                  <a:pt x="653192" y="494005"/>
                  <a:pt x="653192" y="488575"/>
                </a:cubicBezTo>
                <a:lnTo>
                  <a:pt x="653192" y="408965"/>
                </a:lnTo>
                <a:cubicBezTo>
                  <a:pt x="653192" y="408946"/>
                  <a:pt x="653192" y="408927"/>
                  <a:pt x="653192" y="408899"/>
                </a:cubicBezTo>
                <a:cubicBezTo>
                  <a:pt x="653192" y="408784"/>
                  <a:pt x="653192" y="408661"/>
                  <a:pt x="653192" y="408546"/>
                </a:cubicBezTo>
                <a:lnTo>
                  <a:pt x="653192" y="386296"/>
                </a:lnTo>
                <a:cubicBezTo>
                  <a:pt x="653192" y="378047"/>
                  <a:pt x="646477" y="371332"/>
                  <a:pt x="638229" y="371332"/>
                </a:cubicBezTo>
                <a:cubicBezTo>
                  <a:pt x="634219" y="371332"/>
                  <a:pt x="630437" y="372913"/>
                  <a:pt x="627589" y="375771"/>
                </a:cubicBezTo>
                <a:cubicBezTo>
                  <a:pt x="624770" y="378609"/>
                  <a:pt x="623236" y="382324"/>
                  <a:pt x="623255" y="386239"/>
                </a:cubicBezTo>
                <a:lnTo>
                  <a:pt x="623255" y="408870"/>
                </a:lnTo>
                <a:lnTo>
                  <a:pt x="623255" y="408870"/>
                </a:lnTo>
                <a:lnTo>
                  <a:pt x="623255" y="488547"/>
                </a:lnTo>
                <a:cubicBezTo>
                  <a:pt x="623255" y="493967"/>
                  <a:pt x="618855" y="498367"/>
                  <a:pt x="613435" y="498367"/>
                </a:cubicBezTo>
                <a:cubicBezTo>
                  <a:pt x="608015" y="498367"/>
                  <a:pt x="603615" y="493976"/>
                  <a:pt x="603615" y="488547"/>
                </a:cubicBezTo>
                <a:lnTo>
                  <a:pt x="603615" y="408870"/>
                </a:lnTo>
                <a:cubicBezTo>
                  <a:pt x="603615" y="400612"/>
                  <a:pt x="596900" y="393906"/>
                  <a:pt x="588651" y="393906"/>
                </a:cubicBezTo>
                <a:cubicBezTo>
                  <a:pt x="584641" y="393906"/>
                  <a:pt x="580860" y="395488"/>
                  <a:pt x="578012" y="398345"/>
                </a:cubicBezTo>
                <a:cubicBezTo>
                  <a:pt x="575192" y="401183"/>
                  <a:pt x="573659" y="404898"/>
                  <a:pt x="573687" y="408813"/>
                </a:cubicBezTo>
                <a:lnTo>
                  <a:pt x="573687" y="516131"/>
                </a:lnTo>
                <a:lnTo>
                  <a:pt x="573687" y="560803"/>
                </a:lnTo>
                <a:cubicBezTo>
                  <a:pt x="573687" y="566223"/>
                  <a:pt x="569287" y="570624"/>
                  <a:pt x="563867" y="570624"/>
                </a:cubicBezTo>
                <a:cubicBezTo>
                  <a:pt x="558447" y="570624"/>
                  <a:pt x="554047" y="566233"/>
                  <a:pt x="554047" y="560803"/>
                </a:cubicBezTo>
                <a:lnTo>
                  <a:pt x="554047" y="516131"/>
                </a:lnTo>
                <a:cubicBezTo>
                  <a:pt x="554047" y="507883"/>
                  <a:pt x="547332" y="501167"/>
                  <a:pt x="539083" y="501167"/>
                </a:cubicBezTo>
                <a:cubicBezTo>
                  <a:pt x="535073" y="501167"/>
                  <a:pt x="531292" y="502749"/>
                  <a:pt x="528444" y="505606"/>
                </a:cubicBezTo>
                <a:cubicBezTo>
                  <a:pt x="525624" y="508445"/>
                  <a:pt x="524091" y="512159"/>
                  <a:pt x="524119" y="516074"/>
                </a:cubicBezTo>
                <a:lnTo>
                  <a:pt x="524119" y="581311"/>
                </a:lnTo>
                <a:cubicBezTo>
                  <a:pt x="524119" y="644223"/>
                  <a:pt x="575307" y="695411"/>
                  <a:pt x="638219" y="695411"/>
                </a:cubicBezTo>
                <a:cubicBezTo>
                  <a:pt x="701132" y="695411"/>
                  <a:pt x="752319" y="644223"/>
                  <a:pt x="752319" y="581311"/>
                </a:cubicBezTo>
                <a:lnTo>
                  <a:pt x="752319" y="447151"/>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 name="Freeform: Shape 104">
            <a:extLst>
              <a:ext uri="{FF2B5EF4-FFF2-40B4-BE49-F238E27FC236}">
                <a16:creationId xmlns:a16="http://schemas.microsoft.com/office/drawing/2014/main" id="{C0C8A8F3-5713-0FD0-0D3A-D6D7472954BF}"/>
              </a:ext>
            </a:extLst>
          </p:cNvPr>
          <p:cNvSpPr/>
          <p:nvPr/>
        </p:nvSpPr>
        <p:spPr>
          <a:xfrm>
            <a:off x="6491073" y="1436714"/>
            <a:ext cx="325429" cy="325427"/>
          </a:xfrm>
          <a:custGeom>
            <a:avLst/>
            <a:gdLst>
              <a:gd name="connsiteX0" fmla="*/ 144062 w 861183"/>
              <a:gd name="connsiteY0" fmla="*/ 419511 h 861177"/>
              <a:gd name="connsiteX1" fmla="*/ 133569 w 861183"/>
              <a:gd name="connsiteY1" fmla="*/ 430003 h 861177"/>
              <a:gd name="connsiteX2" fmla="*/ 121960 w 861183"/>
              <a:gd name="connsiteY2" fmla="*/ 430003 h 861177"/>
              <a:gd name="connsiteX3" fmla="*/ 111467 w 861183"/>
              <a:gd name="connsiteY3" fmla="*/ 419511 h 861177"/>
              <a:gd name="connsiteX4" fmla="*/ 121960 w 861183"/>
              <a:gd name="connsiteY4" fmla="*/ 409018 h 861177"/>
              <a:gd name="connsiteX5" fmla="*/ 133569 w 861183"/>
              <a:gd name="connsiteY5" fmla="*/ 409018 h 861177"/>
              <a:gd name="connsiteX6" fmla="*/ 144062 w 861183"/>
              <a:gd name="connsiteY6" fmla="*/ 419511 h 861177"/>
              <a:gd name="connsiteX7" fmla="*/ 177102 w 861183"/>
              <a:gd name="connsiteY7" fmla="*/ 267406 h 861177"/>
              <a:gd name="connsiteX8" fmla="*/ 167019 w 861183"/>
              <a:gd name="connsiteY8" fmla="*/ 261601 h 861177"/>
              <a:gd name="connsiteX9" fmla="*/ 152620 w 861183"/>
              <a:gd name="connsiteY9" fmla="*/ 265397 h 861177"/>
              <a:gd name="connsiteX10" fmla="*/ 156415 w 861183"/>
              <a:gd name="connsiteY10" fmla="*/ 279796 h 861177"/>
              <a:gd name="connsiteX11" fmla="*/ 166498 w 861183"/>
              <a:gd name="connsiteY11" fmla="*/ 285600 h 861177"/>
              <a:gd name="connsiteX12" fmla="*/ 171744 w 861183"/>
              <a:gd name="connsiteY12" fmla="*/ 287014 h 861177"/>
              <a:gd name="connsiteX13" fmla="*/ 180898 w 861183"/>
              <a:gd name="connsiteY13" fmla="*/ 281768 h 861177"/>
              <a:gd name="connsiteX14" fmla="*/ 177102 w 861183"/>
              <a:gd name="connsiteY14" fmla="*/ 267406 h 861177"/>
              <a:gd name="connsiteX15" fmla="*/ 166609 w 861183"/>
              <a:gd name="connsiteY15" fmla="*/ 553413 h 861177"/>
              <a:gd name="connsiteX16" fmla="*/ 156526 w 861183"/>
              <a:gd name="connsiteY16" fmla="*/ 559218 h 861177"/>
              <a:gd name="connsiteX17" fmla="*/ 152731 w 861183"/>
              <a:gd name="connsiteY17" fmla="*/ 573616 h 861177"/>
              <a:gd name="connsiteX18" fmla="*/ 161884 w 861183"/>
              <a:gd name="connsiteY18" fmla="*/ 578862 h 861177"/>
              <a:gd name="connsiteX19" fmla="*/ 167130 w 861183"/>
              <a:gd name="connsiteY19" fmla="*/ 577448 h 861177"/>
              <a:gd name="connsiteX20" fmla="*/ 177214 w 861183"/>
              <a:gd name="connsiteY20" fmla="*/ 571644 h 861177"/>
              <a:gd name="connsiteX21" fmla="*/ 181008 w 861183"/>
              <a:gd name="connsiteY21" fmla="*/ 557245 h 861177"/>
              <a:gd name="connsiteX22" fmla="*/ 166609 w 861183"/>
              <a:gd name="connsiteY22" fmla="*/ 553413 h 861177"/>
              <a:gd name="connsiteX23" fmla="*/ 667262 w 861183"/>
              <a:gd name="connsiteY23" fmla="*/ 287008 h 861177"/>
              <a:gd name="connsiteX24" fmla="*/ 672509 w 861183"/>
              <a:gd name="connsiteY24" fmla="*/ 285595 h 861177"/>
              <a:gd name="connsiteX25" fmla="*/ 682592 w 861183"/>
              <a:gd name="connsiteY25" fmla="*/ 279790 h 861177"/>
              <a:gd name="connsiteX26" fmla="*/ 686387 w 861183"/>
              <a:gd name="connsiteY26" fmla="*/ 265391 h 861177"/>
              <a:gd name="connsiteX27" fmla="*/ 671988 w 861183"/>
              <a:gd name="connsiteY27" fmla="*/ 261596 h 861177"/>
              <a:gd name="connsiteX28" fmla="*/ 661905 w 861183"/>
              <a:gd name="connsiteY28" fmla="*/ 267400 h 861177"/>
              <a:gd name="connsiteX29" fmla="*/ 658110 w 861183"/>
              <a:gd name="connsiteY29" fmla="*/ 281799 h 861177"/>
              <a:gd name="connsiteX30" fmla="*/ 667262 w 861183"/>
              <a:gd name="connsiteY30" fmla="*/ 287008 h 861177"/>
              <a:gd name="connsiteX31" fmla="*/ 419498 w 861183"/>
              <a:gd name="connsiteY31" fmla="*/ 143943 h 861177"/>
              <a:gd name="connsiteX32" fmla="*/ 429991 w 861183"/>
              <a:gd name="connsiteY32" fmla="*/ 133450 h 861177"/>
              <a:gd name="connsiteX33" fmla="*/ 429991 w 861183"/>
              <a:gd name="connsiteY33" fmla="*/ 121841 h 861177"/>
              <a:gd name="connsiteX34" fmla="*/ 419498 w 861183"/>
              <a:gd name="connsiteY34" fmla="*/ 111348 h 861177"/>
              <a:gd name="connsiteX35" fmla="*/ 409005 w 861183"/>
              <a:gd name="connsiteY35" fmla="*/ 121841 h 861177"/>
              <a:gd name="connsiteX36" fmla="*/ 409005 w 861183"/>
              <a:gd name="connsiteY36" fmla="*/ 133450 h 861177"/>
              <a:gd name="connsiteX37" fmla="*/ 419498 w 861183"/>
              <a:gd name="connsiteY37" fmla="*/ 143943 h 861177"/>
              <a:gd name="connsiteX38" fmla="*/ 705543 w 861183"/>
              <a:gd name="connsiteY38" fmla="*/ 429988 h 861177"/>
              <a:gd name="connsiteX39" fmla="*/ 717152 w 861183"/>
              <a:gd name="connsiteY39" fmla="*/ 429988 h 861177"/>
              <a:gd name="connsiteX40" fmla="*/ 727645 w 861183"/>
              <a:gd name="connsiteY40" fmla="*/ 419495 h 861177"/>
              <a:gd name="connsiteX41" fmla="*/ 717152 w 861183"/>
              <a:gd name="connsiteY41" fmla="*/ 409003 h 861177"/>
              <a:gd name="connsiteX42" fmla="*/ 705543 w 861183"/>
              <a:gd name="connsiteY42" fmla="*/ 409003 h 861177"/>
              <a:gd name="connsiteX43" fmla="*/ 695051 w 861183"/>
              <a:gd name="connsiteY43" fmla="*/ 419495 h 861177"/>
              <a:gd name="connsiteX44" fmla="*/ 705543 w 861183"/>
              <a:gd name="connsiteY44" fmla="*/ 429988 h 861177"/>
              <a:gd name="connsiteX45" fmla="*/ 577442 w 861183"/>
              <a:gd name="connsiteY45" fmla="*/ 166898 h 861177"/>
              <a:gd name="connsiteX46" fmla="*/ 573647 w 861183"/>
              <a:gd name="connsiteY46" fmla="*/ 152499 h 861177"/>
              <a:gd name="connsiteX47" fmla="*/ 559248 w 861183"/>
              <a:gd name="connsiteY47" fmla="*/ 156294 h 861177"/>
              <a:gd name="connsiteX48" fmla="*/ 553443 w 861183"/>
              <a:gd name="connsiteY48" fmla="*/ 166377 h 861177"/>
              <a:gd name="connsiteX49" fmla="*/ 557238 w 861183"/>
              <a:gd name="connsiteY49" fmla="*/ 180776 h 861177"/>
              <a:gd name="connsiteX50" fmla="*/ 562485 w 861183"/>
              <a:gd name="connsiteY50" fmla="*/ 182190 h 861177"/>
              <a:gd name="connsiteX51" fmla="*/ 571637 w 861183"/>
              <a:gd name="connsiteY51" fmla="*/ 176944 h 861177"/>
              <a:gd name="connsiteX52" fmla="*/ 419498 w 861183"/>
              <a:gd name="connsiteY52" fmla="*/ 694974 h 861177"/>
              <a:gd name="connsiteX53" fmla="*/ 409005 w 861183"/>
              <a:gd name="connsiteY53" fmla="*/ 705466 h 861177"/>
              <a:gd name="connsiteX54" fmla="*/ 409005 w 861183"/>
              <a:gd name="connsiteY54" fmla="*/ 717075 h 861177"/>
              <a:gd name="connsiteX55" fmla="*/ 419498 w 861183"/>
              <a:gd name="connsiteY55" fmla="*/ 727568 h 861177"/>
              <a:gd name="connsiteX56" fmla="*/ 429991 w 861183"/>
              <a:gd name="connsiteY56" fmla="*/ 717075 h 861177"/>
              <a:gd name="connsiteX57" fmla="*/ 429991 w 861183"/>
              <a:gd name="connsiteY57" fmla="*/ 705466 h 861177"/>
              <a:gd name="connsiteX58" fmla="*/ 419498 w 861183"/>
              <a:gd name="connsiteY58" fmla="*/ 694974 h 861177"/>
              <a:gd name="connsiteX59" fmla="*/ 281757 w 861183"/>
              <a:gd name="connsiteY59" fmla="*/ 657990 h 861177"/>
              <a:gd name="connsiteX60" fmla="*/ 267358 w 861183"/>
              <a:gd name="connsiteY60" fmla="*/ 661785 h 861177"/>
              <a:gd name="connsiteX61" fmla="*/ 261554 w 861183"/>
              <a:gd name="connsiteY61" fmla="*/ 671868 h 861177"/>
              <a:gd name="connsiteX62" fmla="*/ 265349 w 861183"/>
              <a:gd name="connsiteY62" fmla="*/ 686267 h 861177"/>
              <a:gd name="connsiteX63" fmla="*/ 270595 w 861183"/>
              <a:gd name="connsiteY63" fmla="*/ 687681 h 861177"/>
              <a:gd name="connsiteX64" fmla="*/ 279748 w 861183"/>
              <a:gd name="connsiteY64" fmla="*/ 682435 h 861177"/>
              <a:gd name="connsiteX65" fmla="*/ 285553 w 861183"/>
              <a:gd name="connsiteY65" fmla="*/ 672352 h 861177"/>
              <a:gd name="connsiteX66" fmla="*/ 281757 w 861183"/>
              <a:gd name="connsiteY66" fmla="*/ 657990 h 861177"/>
              <a:gd name="connsiteX67" fmla="*/ 267395 w 861183"/>
              <a:gd name="connsiteY67" fmla="*/ 176977 h 861177"/>
              <a:gd name="connsiteX68" fmla="*/ 276548 w 861183"/>
              <a:gd name="connsiteY68" fmla="*/ 182224 h 861177"/>
              <a:gd name="connsiteX69" fmla="*/ 281794 w 861183"/>
              <a:gd name="connsiteY69" fmla="*/ 180809 h 861177"/>
              <a:gd name="connsiteX70" fmla="*/ 285590 w 861183"/>
              <a:gd name="connsiteY70" fmla="*/ 166410 h 861177"/>
              <a:gd name="connsiteX71" fmla="*/ 279785 w 861183"/>
              <a:gd name="connsiteY71" fmla="*/ 156327 h 861177"/>
              <a:gd name="connsiteX72" fmla="*/ 265387 w 861183"/>
              <a:gd name="connsiteY72" fmla="*/ 152532 h 861177"/>
              <a:gd name="connsiteX73" fmla="*/ 261591 w 861183"/>
              <a:gd name="connsiteY73" fmla="*/ 166931 h 861177"/>
              <a:gd name="connsiteX74" fmla="*/ 861184 w 861183"/>
              <a:gd name="connsiteY74" fmla="*/ 690765 h 861177"/>
              <a:gd name="connsiteX75" fmla="*/ 690772 w 861183"/>
              <a:gd name="connsiteY75" fmla="*/ 861177 h 861177"/>
              <a:gd name="connsiteX76" fmla="*/ 570300 w 861183"/>
              <a:gd name="connsiteY76" fmla="*/ 811060 h 861177"/>
              <a:gd name="connsiteX77" fmla="*/ 419538 w 861183"/>
              <a:gd name="connsiteY77" fmla="*/ 839076 h 861177"/>
              <a:gd name="connsiteX78" fmla="*/ 122853 w 861183"/>
              <a:gd name="connsiteY78" fmla="*/ 716223 h 861177"/>
              <a:gd name="connsiteX79" fmla="*/ 0 w 861183"/>
              <a:gd name="connsiteY79" fmla="*/ 419538 h 861177"/>
              <a:gd name="connsiteX80" fmla="*/ 122853 w 861183"/>
              <a:gd name="connsiteY80" fmla="*/ 122853 h 861177"/>
              <a:gd name="connsiteX81" fmla="*/ 419538 w 861183"/>
              <a:gd name="connsiteY81" fmla="*/ 0 h 861177"/>
              <a:gd name="connsiteX82" fmla="*/ 716223 w 861183"/>
              <a:gd name="connsiteY82" fmla="*/ 122853 h 861177"/>
              <a:gd name="connsiteX83" fmla="*/ 839076 w 861183"/>
              <a:gd name="connsiteY83" fmla="*/ 419538 h 861177"/>
              <a:gd name="connsiteX84" fmla="*/ 811059 w 861183"/>
              <a:gd name="connsiteY84" fmla="*/ 570300 h 861177"/>
              <a:gd name="connsiteX85" fmla="*/ 861177 w 861183"/>
              <a:gd name="connsiteY85" fmla="*/ 690772 h 861177"/>
              <a:gd name="connsiteX86" fmla="*/ 555717 w 861183"/>
              <a:gd name="connsiteY86" fmla="*/ 794131 h 861177"/>
              <a:gd name="connsiteX87" fmla="*/ 532648 w 861183"/>
              <a:gd name="connsiteY87" fmla="*/ 753649 h 861177"/>
              <a:gd name="connsiteX88" fmla="*/ 419577 w 861183"/>
              <a:gd name="connsiteY88" fmla="*/ 772216 h 861177"/>
              <a:gd name="connsiteX89" fmla="*/ 66857 w 861183"/>
              <a:gd name="connsiteY89" fmla="*/ 419495 h 861177"/>
              <a:gd name="connsiteX90" fmla="*/ 419577 w 861183"/>
              <a:gd name="connsiteY90" fmla="*/ 66775 h 861177"/>
              <a:gd name="connsiteX91" fmla="*/ 772298 w 861183"/>
              <a:gd name="connsiteY91" fmla="*/ 419495 h 861177"/>
              <a:gd name="connsiteX92" fmla="*/ 753731 w 861183"/>
              <a:gd name="connsiteY92" fmla="*/ 532643 h 861177"/>
              <a:gd name="connsiteX93" fmla="*/ 794213 w 861183"/>
              <a:gd name="connsiteY93" fmla="*/ 555711 h 861177"/>
              <a:gd name="connsiteX94" fmla="*/ 818211 w 861183"/>
              <a:gd name="connsiteY94" fmla="*/ 419494 h 861177"/>
              <a:gd name="connsiteX95" fmla="*/ 419504 w 861183"/>
              <a:gd name="connsiteY95" fmla="*/ 20968 h 861177"/>
              <a:gd name="connsiteX96" fmla="*/ 20978 w 861183"/>
              <a:gd name="connsiteY96" fmla="*/ 419494 h 861177"/>
              <a:gd name="connsiteX97" fmla="*/ 419618 w 861183"/>
              <a:gd name="connsiteY97" fmla="*/ 818020 h 861177"/>
              <a:gd name="connsiteX98" fmla="*/ 555721 w 861183"/>
              <a:gd name="connsiteY98" fmla="*/ 794134 h 861177"/>
              <a:gd name="connsiteX99" fmla="*/ 520482 w 861183"/>
              <a:gd name="connsiteY99" fmla="*/ 690765 h 861177"/>
              <a:gd name="connsiteX100" fmla="*/ 690894 w 861183"/>
              <a:gd name="connsiteY100" fmla="*/ 520354 h 861177"/>
              <a:gd name="connsiteX101" fmla="*/ 733756 w 861183"/>
              <a:gd name="connsiteY101" fmla="*/ 526084 h 861177"/>
              <a:gd name="connsiteX102" fmla="*/ 751393 w 861183"/>
              <a:gd name="connsiteY102" fmla="*/ 419490 h 861177"/>
              <a:gd name="connsiteX103" fmla="*/ 419656 w 861183"/>
              <a:gd name="connsiteY103" fmla="*/ 87753 h 861177"/>
              <a:gd name="connsiteX104" fmla="*/ 87767 w 861183"/>
              <a:gd name="connsiteY104" fmla="*/ 419490 h 861177"/>
              <a:gd name="connsiteX105" fmla="*/ 419504 w 861183"/>
              <a:gd name="connsiteY105" fmla="*/ 751226 h 861177"/>
              <a:gd name="connsiteX106" fmla="*/ 526098 w 861183"/>
              <a:gd name="connsiteY106" fmla="*/ 733702 h 861177"/>
              <a:gd name="connsiteX107" fmla="*/ 520480 w 861183"/>
              <a:gd name="connsiteY107" fmla="*/ 690765 h 861177"/>
              <a:gd name="connsiteX108" fmla="*/ 840132 w 861183"/>
              <a:gd name="connsiteY108" fmla="*/ 690765 h 861177"/>
              <a:gd name="connsiteX109" fmla="*/ 690780 w 861183"/>
              <a:gd name="connsiteY109" fmla="*/ 541413 h 861177"/>
              <a:gd name="connsiteX110" fmla="*/ 541428 w 861183"/>
              <a:gd name="connsiteY110" fmla="*/ 690765 h 861177"/>
              <a:gd name="connsiteX111" fmla="*/ 690780 w 861183"/>
              <a:gd name="connsiteY111" fmla="*/ 840117 h 861177"/>
              <a:gd name="connsiteX112" fmla="*/ 840132 w 861183"/>
              <a:gd name="connsiteY112" fmla="*/ 690765 h 861177"/>
              <a:gd name="connsiteX113" fmla="*/ 760992 w 861183"/>
              <a:gd name="connsiteY113" fmla="*/ 627811 h 861177"/>
              <a:gd name="connsiteX114" fmla="*/ 657332 w 861183"/>
              <a:gd name="connsiteY114" fmla="*/ 731433 h 861177"/>
              <a:gd name="connsiteX115" fmla="*/ 605428 w 861183"/>
              <a:gd name="connsiteY115" fmla="*/ 679530 h 861177"/>
              <a:gd name="connsiteX116" fmla="*/ 590582 w 861183"/>
              <a:gd name="connsiteY116" fmla="*/ 679530 h 861177"/>
              <a:gd name="connsiteX117" fmla="*/ 590582 w 861183"/>
              <a:gd name="connsiteY117" fmla="*/ 694375 h 861177"/>
              <a:gd name="connsiteX118" fmla="*/ 649928 w 861183"/>
              <a:gd name="connsiteY118" fmla="*/ 753721 h 861177"/>
              <a:gd name="connsiteX119" fmla="*/ 657370 w 861183"/>
              <a:gd name="connsiteY119" fmla="*/ 756772 h 861177"/>
              <a:gd name="connsiteX120" fmla="*/ 664811 w 861183"/>
              <a:gd name="connsiteY120" fmla="*/ 753721 h 861177"/>
              <a:gd name="connsiteX121" fmla="*/ 775872 w 861183"/>
              <a:gd name="connsiteY121" fmla="*/ 642659 h 861177"/>
              <a:gd name="connsiteX122" fmla="*/ 775872 w 861183"/>
              <a:gd name="connsiteY122" fmla="*/ 627814 h 861177"/>
              <a:gd name="connsiteX123" fmla="*/ 760989 w 861183"/>
              <a:gd name="connsiteY123" fmla="*/ 627814 h 861177"/>
              <a:gd name="connsiteX124" fmla="*/ 472375 w 861183"/>
              <a:gd name="connsiteY124" fmla="*/ 419490 h 861177"/>
              <a:gd name="connsiteX125" fmla="*/ 419504 w 861183"/>
              <a:gd name="connsiteY125" fmla="*/ 472361 h 861177"/>
              <a:gd name="connsiteX126" fmla="*/ 403579 w 861183"/>
              <a:gd name="connsiteY126" fmla="*/ 469868 h 861177"/>
              <a:gd name="connsiteX127" fmla="*/ 291660 w 861183"/>
              <a:gd name="connsiteY127" fmla="*/ 534459 h 861177"/>
              <a:gd name="connsiteX128" fmla="*/ 273838 w 861183"/>
              <a:gd name="connsiteY128" fmla="*/ 539222 h 861177"/>
              <a:gd name="connsiteX129" fmla="*/ 242882 w 861183"/>
              <a:gd name="connsiteY129" fmla="*/ 521399 h 861177"/>
              <a:gd name="connsiteX130" fmla="*/ 239273 w 861183"/>
              <a:gd name="connsiteY130" fmla="*/ 494238 h 861177"/>
              <a:gd name="connsiteX131" fmla="*/ 255830 w 861183"/>
              <a:gd name="connsiteY131" fmla="*/ 472510 h 861177"/>
              <a:gd name="connsiteX132" fmla="*/ 367863 w 861183"/>
              <a:gd name="connsiteY132" fmla="*/ 407843 h 861177"/>
              <a:gd name="connsiteX133" fmla="*/ 383677 w 861183"/>
              <a:gd name="connsiteY133" fmla="*/ 380608 h 861177"/>
              <a:gd name="connsiteX134" fmla="*/ 383677 w 861183"/>
              <a:gd name="connsiteY134" fmla="*/ 198966 h 861177"/>
              <a:gd name="connsiteX135" fmla="*/ 419395 w 861183"/>
              <a:gd name="connsiteY135" fmla="*/ 163247 h 861177"/>
              <a:gd name="connsiteX136" fmla="*/ 444621 w 861183"/>
              <a:gd name="connsiteY136" fmla="*/ 173740 h 861177"/>
              <a:gd name="connsiteX137" fmla="*/ 455114 w 861183"/>
              <a:gd name="connsiteY137" fmla="*/ 198966 h 861177"/>
              <a:gd name="connsiteX138" fmla="*/ 455114 w 861183"/>
              <a:gd name="connsiteY138" fmla="*/ 380608 h 861177"/>
              <a:gd name="connsiteX139" fmla="*/ 472378 w 861183"/>
              <a:gd name="connsiteY139" fmla="*/ 419489 h 861177"/>
              <a:gd name="connsiteX140" fmla="*/ 404845 w 861183"/>
              <a:gd name="connsiteY140" fmla="*/ 368814 h 861177"/>
              <a:gd name="connsiteX141" fmla="*/ 419505 w 861183"/>
              <a:gd name="connsiteY141" fmla="*/ 366731 h 861177"/>
              <a:gd name="connsiteX142" fmla="*/ 434165 w 861183"/>
              <a:gd name="connsiteY142" fmla="*/ 368814 h 861177"/>
              <a:gd name="connsiteX143" fmla="*/ 434165 w 861183"/>
              <a:gd name="connsiteY143" fmla="*/ 199078 h 861177"/>
              <a:gd name="connsiteX144" fmla="*/ 429886 w 861183"/>
              <a:gd name="connsiteY144" fmla="*/ 188698 h 861177"/>
              <a:gd name="connsiteX145" fmla="*/ 419506 w 861183"/>
              <a:gd name="connsiteY145" fmla="*/ 184419 h 861177"/>
              <a:gd name="connsiteX146" fmla="*/ 404846 w 861183"/>
              <a:gd name="connsiteY146" fmla="*/ 199079 h 861177"/>
              <a:gd name="connsiteX147" fmla="*/ 382930 w 861183"/>
              <a:gd name="connsiteY147" fmla="*/ 457590 h 861177"/>
              <a:gd name="connsiteX148" fmla="*/ 368270 w 861183"/>
              <a:gd name="connsiteY148" fmla="*/ 432065 h 861177"/>
              <a:gd name="connsiteX149" fmla="*/ 266438 w 861183"/>
              <a:gd name="connsiteY149" fmla="*/ 490853 h 861177"/>
              <a:gd name="connsiteX150" fmla="*/ 259592 w 861183"/>
              <a:gd name="connsiteY150" fmla="*/ 499820 h 861177"/>
              <a:gd name="connsiteX151" fmla="*/ 261006 w 861183"/>
              <a:gd name="connsiteY151" fmla="*/ 510982 h 861177"/>
              <a:gd name="connsiteX152" fmla="*/ 281098 w 861183"/>
              <a:gd name="connsiteY152" fmla="*/ 516303 h 861177"/>
              <a:gd name="connsiteX153" fmla="*/ 451316 w 861183"/>
              <a:gd name="connsiteY153" fmla="*/ 419490 h 861177"/>
              <a:gd name="connsiteX154" fmla="*/ 419505 w 861183"/>
              <a:gd name="connsiteY154" fmla="*/ 387678 h 861177"/>
              <a:gd name="connsiteX155" fmla="*/ 387693 w 861183"/>
              <a:gd name="connsiteY155" fmla="*/ 419490 h 861177"/>
              <a:gd name="connsiteX156" fmla="*/ 419505 w 861183"/>
              <a:gd name="connsiteY156" fmla="*/ 451301 h 861177"/>
              <a:gd name="connsiteX157" fmla="*/ 451316 w 861183"/>
              <a:gd name="connsiteY157" fmla="*/ 419490 h 86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861183" h="861177">
                <a:moveTo>
                  <a:pt x="144062" y="419511"/>
                </a:moveTo>
                <a:cubicBezTo>
                  <a:pt x="144062" y="425315"/>
                  <a:pt x="139411" y="430003"/>
                  <a:pt x="133569" y="430003"/>
                </a:cubicBezTo>
                <a:lnTo>
                  <a:pt x="121960" y="430003"/>
                </a:lnTo>
                <a:cubicBezTo>
                  <a:pt x="116155" y="430003"/>
                  <a:pt x="111467" y="425352"/>
                  <a:pt x="111467" y="419511"/>
                </a:cubicBezTo>
                <a:cubicBezTo>
                  <a:pt x="111467" y="413706"/>
                  <a:pt x="116118" y="409018"/>
                  <a:pt x="121960" y="409018"/>
                </a:cubicBezTo>
                <a:lnTo>
                  <a:pt x="133569" y="409018"/>
                </a:lnTo>
                <a:cubicBezTo>
                  <a:pt x="139299" y="409018"/>
                  <a:pt x="144062" y="413706"/>
                  <a:pt x="144062" y="419511"/>
                </a:cubicBezTo>
                <a:close/>
                <a:moveTo>
                  <a:pt x="177102" y="267406"/>
                </a:moveTo>
                <a:lnTo>
                  <a:pt x="167019" y="261601"/>
                </a:lnTo>
                <a:cubicBezTo>
                  <a:pt x="161958" y="258736"/>
                  <a:pt x="155597" y="260448"/>
                  <a:pt x="152620" y="265397"/>
                </a:cubicBezTo>
                <a:cubicBezTo>
                  <a:pt x="149755" y="270457"/>
                  <a:pt x="151467" y="276819"/>
                  <a:pt x="156415" y="279796"/>
                </a:cubicBezTo>
                <a:lnTo>
                  <a:pt x="166498" y="285600"/>
                </a:lnTo>
                <a:cubicBezTo>
                  <a:pt x="168135" y="286567"/>
                  <a:pt x="169921" y="287014"/>
                  <a:pt x="171744" y="287014"/>
                </a:cubicBezTo>
                <a:cubicBezTo>
                  <a:pt x="175353" y="287014"/>
                  <a:pt x="178888" y="285117"/>
                  <a:pt x="180898" y="281768"/>
                </a:cubicBezTo>
                <a:cubicBezTo>
                  <a:pt x="183874" y="276745"/>
                  <a:pt x="182163" y="270271"/>
                  <a:pt x="177102" y="267406"/>
                </a:cubicBezTo>
                <a:close/>
                <a:moveTo>
                  <a:pt x="166609" y="553413"/>
                </a:moveTo>
                <a:lnTo>
                  <a:pt x="156526" y="559218"/>
                </a:lnTo>
                <a:cubicBezTo>
                  <a:pt x="151467" y="562083"/>
                  <a:pt x="149755" y="568556"/>
                  <a:pt x="152731" y="573616"/>
                </a:cubicBezTo>
                <a:cubicBezTo>
                  <a:pt x="154629" y="576965"/>
                  <a:pt x="158164" y="578862"/>
                  <a:pt x="161884" y="578862"/>
                </a:cubicBezTo>
                <a:cubicBezTo>
                  <a:pt x="163707" y="578862"/>
                  <a:pt x="165493" y="578379"/>
                  <a:pt x="167130" y="577448"/>
                </a:cubicBezTo>
                <a:lnTo>
                  <a:pt x="177214" y="571644"/>
                </a:lnTo>
                <a:cubicBezTo>
                  <a:pt x="182273" y="568780"/>
                  <a:pt x="183985" y="562306"/>
                  <a:pt x="181008" y="557245"/>
                </a:cubicBezTo>
                <a:cubicBezTo>
                  <a:pt x="178032" y="552185"/>
                  <a:pt x="171558" y="550474"/>
                  <a:pt x="166609" y="553413"/>
                </a:cubicBezTo>
                <a:close/>
                <a:moveTo>
                  <a:pt x="667262" y="287008"/>
                </a:moveTo>
                <a:cubicBezTo>
                  <a:pt x="669086" y="287008"/>
                  <a:pt x="670872" y="286524"/>
                  <a:pt x="672509" y="285595"/>
                </a:cubicBezTo>
                <a:lnTo>
                  <a:pt x="682592" y="279790"/>
                </a:lnTo>
                <a:cubicBezTo>
                  <a:pt x="687652" y="276925"/>
                  <a:pt x="689363" y="270451"/>
                  <a:pt x="686387" y="265391"/>
                </a:cubicBezTo>
                <a:cubicBezTo>
                  <a:pt x="683522" y="260331"/>
                  <a:pt x="677048" y="258619"/>
                  <a:pt x="671988" y="261596"/>
                </a:cubicBezTo>
                <a:lnTo>
                  <a:pt x="661905" y="267400"/>
                </a:lnTo>
                <a:cubicBezTo>
                  <a:pt x="656845" y="270265"/>
                  <a:pt x="655133" y="276739"/>
                  <a:pt x="658110" y="281799"/>
                </a:cubicBezTo>
                <a:cubicBezTo>
                  <a:pt x="660119" y="285111"/>
                  <a:pt x="663616" y="287008"/>
                  <a:pt x="667262" y="287008"/>
                </a:cubicBezTo>
                <a:close/>
                <a:moveTo>
                  <a:pt x="419498" y="143943"/>
                </a:moveTo>
                <a:cubicBezTo>
                  <a:pt x="425303" y="143943"/>
                  <a:pt x="429991" y="139292"/>
                  <a:pt x="429991" y="133450"/>
                </a:cubicBezTo>
                <a:lnTo>
                  <a:pt x="429991" y="121841"/>
                </a:lnTo>
                <a:cubicBezTo>
                  <a:pt x="429991" y="116036"/>
                  <a:pt x="425340" y="111348"/>
                  <a:pt x="419498" y="111348"/>
                </a:cubicBezTo>
                <a:cubicBezTo>
                  <a:pt x="413694" y="111348"/>
                  <a:pt x="409005" y="115999"/>
                  <a:pt x="409005" y="121841"/>
                </a:cubicBezTo>
                <a:lnTo>
                  <a:pt x="409005" y="133450"/>
                </a:lnTo>
                <a:cubicBezTo>
                  <a:pt x="409005" y="139292"/>
                  <a:pt x="413694" y="143943"/>
                  <a:pt x="419498" y="143943"/>
                </a:cubicBezTo>
                <a:close/>
                <a:moveTo>
                  <a:pt x="705543" y="429988"/>
                </a:moveTo>
                <a:lnTo>
                  <a:pt x="717152" y="429988"/>
                </a:lnTo>
                <a:cubicBezTo>
                  <a:pt x="722957" y="429988"/>
                  <a:pt x="727645" y="425337"/>
                  <a:pt x="727645" y="419495"/>
                </a:cubicBezTo>
                <a:cubicBezTo>
                  <a:pt x="727645" y="413691"/>
                  <a:pt x="722994" y="409003"/>
                  <a:pt x="717152" y="409003"/>
                </a:cubicBezTo>
                <a:lnTo>
                  <a:pt x="705543" y="409003"/>
                </a:lnTo>
                <a:cubicBezTo>
                  <a:pt x="699739" y="409003"/>
                  <a:pt x="695051" y="413654"/>
                  <a:pt x="695051" y="419495"/>
                </a:cubicBezTo>
                <a:cubicBezTo>
                  <a:pt x="695051" y="425226"/>
                  <a:pt x="699739" y="429988"/>
                  <a:pt x="705543" y="429988"/>
                </a:cubicBezTo>
                <a:close/>
                <a:moveTo>
                  <a:pt x="577442" y="166898"/>
                </a:moveTo>
                <a:cubicBezTo>
                  <a:pt x="580307" y="161838"/>
                  <a:pt x="578595" y="155476"/>
                  <a:pt x="573647" y="152499"/>
                </a:cubicBezTo>
                <a:cubicBezTo>
                  <a:pt x="568586" y="149634"/>
                  <a:pt x="562225" y="151346"/>
                  <a:pt x="559248" y="156294"/>
                </a:cubicBezTo>
                <a:lnTo>
                  <a:pt x="553443" y="166377"/>
                </a:lnTo>
                <a:cubicBezTo>
                  <a:pt x="550578" y="171438"/>
                  <a:pt x="552290" y="177799"/>
                  <a:pt x="557238" y="180776"/>
                </a:cubicBezTo>
                <a:cubicBezTo>
                  <a:pt x="558876" y="181744"/>
                  <a:pt x="560662" y="182190"/>
                  <a:pt x="562485" y="182190"/>
                </a:cubicBezTo>
                <a:cubicBezTo>
                  <a:pt x="566094" y="182190"/>
                  <a:pt x="569628" y="180293"/>
                  <a:pt x="571637" y="176944"/>
                </a:cubicBezTo>
                <a:close/>
                <a:moveTo>
                  <a:pt x="419498" y="694974"/>
                </a:moveTo>
                <a:cubicBezTo>
                  <a:pt x="413694" y="694974"/>
                  <a:pt x="409005" y="699625"/>
                  <a:pt x="409005" y="705466"/>
                </a:cubicBezTo>
                <a:lnTo>
                  <a:pt x="409005" y="717075"/>
                </a:lnTo>
                <a:cubicBezTo>
                  <a:pt x="409005" y="722880"/>
                  <a:pt x="413656" y="727568"/>
                  <a:pt x="419498" y="727568"/>
                </a:cubicBezTo>
                <a:cubicBezTo>
                  <a:pt x="425303" y="727568"/>
                  <a:pt x="429991" y="722917"/>
                  <a:pt x="429991" y="717075"/>
                </a:cubicBezTo>
                <a:lnTo>
                  <a:pt x="429991" y="705466"/>
                </a:lnTo>
                <a:cubicBezTo>
                  <a:pt x="430065" y="699625"/>
                  <a:pt x="425303" y="694974"/>
                  <a:pt x="419498" y="694974"/>
                </a:cubicBezTo>
                <a:close/>
                <a:moveTo>
                  <a:pt x="281757" y="657990"/>
                </a:moveTo>
                <a:cubicBezTo>
                  <a:pt x="276697" y="655125"/>
                  <a:pt x="270335" y="656836"/>
                  <a:pt x="267358" y="661785"/>
                </a:cubicBezTo>
                <a:lnTo>
                  <a:pt x="261554" y="671868"/>
                </a:lnTo>
                <a:cubicBezTo>
                  <a:pt x="258689" y="676928"/>
                  <a:pt x="260400" y="683290"/>
                  <a:pt x="265349" y="686267"/>
                </a:cubicBezTo>
                <a:cubicBezTo>
                  <a:pt x="266986" y="687235"/>
                  <a:pt x="268772" y="687681"/>
                  <a:pt x="270595" y="687681"/>
                </a:cubicBezTo>
                <a:cubicBezTo>
                  <a:pt x="274205" y="687681"/>
                  <a:pt x="277739" y="685784"/>
                  <a:pt x="279748" y="682435"/>
                </a:cubicBezTo>
                <a:lnTo>
                  <a:pt x="285553" y="672352"/>
                </a:lnTo>
                <a:cubicBezTo>
                  <a:pt x="288529" y="667329"/>
                  <a:pt x="286818" y="660966"/>
                  <a:pt x="281757" y="657990"/>
                </a:cubicBezTo>
                <a:close/>
                <a:moveTo>
                  <a:pt x="267395" y="176977"/>
                </a:moveTo>
                <a:cubicBezTo>
                  <a:pt x="269293" y="180326"/>
                  <a:pt x="272827" y="182224"/>
                  <a:pt x="276548" y="182224"/>
                </a:cubicBezTo>
                <a:cubicBezTo>
                  <a:pt x="278372" y="182224"/>
                  <a:pt x="280158" y="181740"/>
                  <a:pt x="281794" y="180809"/>
                </a:cubicBezTo>
                <a:cubicBezTo>
                  <a:pt x="286855" y="177945"/>
                  <a:pt x="288567" y="171471"/>
                  <a:pt x="285590" y="166410"/>
                </a:cubicBezTo>
                <a:lnTo>
                  <a:pt x="279785" y="156327"/>
                </a:lnTo>
                <a:cubicBezTo>
                  <a:pt x="276920" y="151267"/>
                  <a:pt x="270446" y="149556"/>
                  <a:pt x="265387" y="152532"/>
                </a:cubicBezTo>
                <a:cubicBezTo>
                  <a:pt x="260326" y="155398"/>
                  <a:pt x="258614" y="161872"/>
                  <a:pt x="261591" y="166931"/>
                </a:cubicBezTo>
                <a:close/>
                <a:moveTo>
                  <a:pt x="861184" y="690765"/>
                </a:moveTo>
                <a:cubicBezTo>
                  <a:pt x="861184" y="784676"/>
                  <a:pt x="784798" y="861177"/>
                  <a:pt x="690772" y="861177"/>
                </a:cubicBezTo>
                <a:cubicBezTo>
                  <a:pt x="643705" y="861177"/>
                  <a:pt x="601140" y="842016"/>
                  <a:pt x="570300" y="811060"/>
                </a:cubicBezTo>
                <a:cubicBezTo>
                  <a:pt x="522191" y="829551"/>
                  <a:pt x="471630" y="839076"/>
                  <a:pt x="419538" y="839076"/>
                </a:cubicBezTo>
                <a:cubicBezTo>
                  <a:pt x="307429" y="839076"/>
                  <a:pt x="202101" y="795470"/>
                  <a:pt x="122853" y="716223"/>
                </a:cubicBezTo>
                <a:cubicBezTo>
                  <a:pt x="43603" y="636972"/>
                  <a:pt x="0" y="531638"/>
                  <a:pt x="0" y="419538"/>
                </a:cubicBezTo>
                <a:cubicBezTo>
                  <a:pt x="0" y="307438"/>
                  <a:pt x="43606" y="202101"/>
                  <a:pt x="122853" y="122853"/>
                </a:cubicBezTo>
                <a:cubicBezTo>
                  <a:pt x="202104" y="43603"/>
                  <a:pt x="307438" y="0"/>
                  <a:pt x="419538" y="0"/>
                </a:cubicBezTo>
                <a:cubicBezTo>
                  <a:pt x="531638" y="0"/>
                  <a:pt x="636975" y="43606"/>
                  <a:pt x="716223" y="122853"/>
                </a:cubicBezTo>
                <a:cubicBezTo>
                  <a:pt x="795474" y="202104"/>
                  <a:pt x="839076" y="307438"/>
                  <a:pt x="839076" y="419538"/>
                </a:cubicBezTo>
                <a:cubicBezTo>
                  <a:pt x="839076" y="471553"/>
                  <a:pt x="829551" y="522227"/>
                  <a:pt x="811059" y="570300"/>
                </a:cubicBezTo>
                <a:cubicBezTo>
                  <a:pt x="842016" y="601145"/>
                  <a:pt x="861177" y="643821"/>
                  <a:pt x="861177" y="690772"/>
                </a:cubicBezTo>
                <a:close/>
                <a:moveTo>
                  <a:pt x="555717" y="794131"/>
                </a:moveTo>
                <a:cubicBezTo>
                  <a:pt x="546304" y="781852"/>
                  <a:pt x="538490" y="768234"/>
                  <a:pt x="532648" y="753649"/>
                </a:cubicBezTo>
                <a:cubicBezTo>
                  <a:pt x="496372" y="765928"/>
                  <a:pt x="458346" y="772216"/>
                  <a:pt x="419577" y="772216"/>
                </a:cubicBezTo>
                <a:cubicBezTo>
                  <a:pt x="225058" y="772216"/>
                  <a:pt x="66857" y="614015"/>
                  <a:pt x="66857" y="419495"/>
                </a:cubicBezTo>
                <a:cubicBezTo>
                  <a:pt x="66857" y="224976"/>
                  <a:pt x="225058" y="66775"/>
                  <a:pt x="419577" y="66775"/>
                </a:cubicBezTo>
                <a:cubicBezTo>
                  <a:pt x="614097" y="66775"/>
                  <a:pt x="772298" y="224976"/>
                  <a:pt x="772298" y="419495"/>
                </a:cubicBezTo>
                <a:cubicBezTo>
                  <a:pt x="772298" y="458265"/>
                  <a:pt x="766009" y="496253"/>
                  <a:pt x="753731" y="532643"/>
                </a:cubicBezTo>
                <a:cubicBezTo>
                  <a:pt x="768316" y="538447"/>
                  <a:pt x="781934" y="546261"/>
                  <a:pt x="794213" y="555711"/>
                </a:cubicBezTo>
                <a:cubicBezTo>
                  <a:pt x="810026" y="512179"/>
                  <a:pt x="818211" y="466452"/>
                  <a:pt x="818211" y="419494"/>
                </a:cubicBezTo>
                <a:cubicBezTo>
                  <a:pt x="818137" y="199753"/>
                  <a:pt x="639360" y="20968"/>
                  <a:pt x="419504" y="20968"/>
                </a:cubicBezTo>
                <a:cubicBezTo>
                  <a:pt x="199686" y="20968"/>
                  <a:pt x="20978" y="199753"/>
                  <a:pt x="20978" y="419494"/>
                </a:cubicBezTo>
                <a:cubicBezTo>
                  <a:pt x="20978" y="639236"/>
                  <a:pt x="199762" y="818020"/>
                  <a:pt x="419618" y="818020"/>
                </a:cubicBezTo>
                <a:cubicBezTo>
                  <a:pt x="466462" y="818132"/>
                  <a:pt x="512077" y="810021"/>
                  <a:pt x="555721" y="794134"/>
                </a:cubicBezTo>
                <a:close/>
                <a:moveTo>
                  <a:pt x="520482" y="690765"/>
                </a:moveTo>
                <a:cubicBezTo>
                  <a:pt x="520482" y="596855"/>
                  <a:pt x="596868" y="520354"/>
                  <a:pt x="690894" y="520354"/>
                </a:cubicBezTo>
                <a:cubicBezTo>
                  <a:pt x="705740" y="520354"/>
                  <a:pt x="720027" y="522438"/>
                  <a:pt x="733756" y="526084"/>
                </a:cubicBezTo>
                <a:cubicBezTo>
                  <a:pt x="745366" y="491779"/>
                  <a:pt x="751393" y="456060"/>
                  <a:pt x="751393" y="419490"/>
                </a:cubicBezTo>
                <a:cubicBezTo>
                  <a:pt x="751393" y="236505"/>
                  <a:pt x="602603" y="87753"/>
                  <a:pt x="419656" y="87753"/>
                </a:cubicBezTo>
                <a:cubicBezTo>
                  <a:pt x="236633" y="87753"/>
                  <a:pt x="87767" y="236619"/>
                  <a:pt x="87767" y="419490"/>
                </a:cubicBezTo>
                <a:cubicBezTo>
                  <a:pt x="87767" y="602360"/>
                  <a:pt x="236557" y="751226"/>
                  <a:pt x="419504" y="751226"/>
                </a:cubicBezTo>
                <a:cubicBezTo>
                  <a:pt x="456078" y="751226"/>
                  <a:pt x="491909" y="745235"/>
                  <a:pt x="526098" y="733702"/>
                </a:cubicBezTo>
                <a:cubicBezTo>
                  <a:pt x="522563" y="719899"/>
                  <a:pt x="520480" y="705611"/>
                  <a:pt x="520480" y="690765"/>
                </a:cubicBezTo>
                <a:close/>
                <a:moveTo>
                  <a:pt x="840132" y="690765"/>
                </a:moveTo>
                <a:cubicBezTo>
                  <a:pt x="840132" y="608389"/>
                  <a:pt x="773160" y="541413"/>
                  <a:pt x="690780" y="541413"/>
                </a:cubicBezTo>
                <a:cubicBezTo>
                  <a:pt x="608404" y="541413"/>
                  <a:pt x="541428" y="608386"/>
                  <a:pt x="541428" y="690765"/>
                </a:cubicBezTo>
                <a:cubicBezTo>
                  <a:pt x="541428" y="773141"/>
                  <a:pt x="608400" y="840117"/>
                  <a:pt x="690780" y="840117"/>
                </a:cubicBezTo>
                <a:cubicBezTo>
                  <a:pt x="773156" y="840117"/>
                  <a:pt x="840132" y="773145"/>
                  <a:pt x="840132" y="690765"/>
                </a:cubicBezTo>
                <a:close/>
                <a:moveTo>
                  <a:pt x="760992" y="627811"/>
                </a:moveTo>
                <a:lnTo>
                  <a:pt x="657332" y="731433"/>
                </a:lnTo>
                <a:lnTo>
                  <a:pt x="605428" y="679530"/>
                </a:lnTo>
                <a:cubicBezTo>
                  <a:pt x="601335" y="675437"/>
                  <a:pt x="594675" y="675437"/>
                  <a:pt x="590582" y="679530"/>
                </a:cubicBezTo>
                <a:cubicBezTo>
                  <a:pt x="586490" y="683623"/>
                  <a:pt x="586490" y="690283"/>
                  <a:pt x="590582" y="694375"/>
                </a:cubicBezTo>
                <a:lnTo>
                  <a:pt x="649928" y="753721"/>
                </a:lnTo>
                <a:cubicBezTo>
                  <a:pt x="652012" y="755804"/>
                  <a:pt x="654690" y="756772"/>
                  <a:pt x="657370" y="756772"/>
                </a:cubicBezTo>
                <a:cubicBezTo>
                  <a:pt x="660048" y="756772"/>
                  <a:pt x="662690" y="755730"/>
                  <a:pt x="664811" y="753721"/>
                </a:cubicBezTo>
                <a:lnTo>
                  <a:pt x="775872" y="642659"/>
                </a:lnTo>
                <a:cubicBezTo>
                  <a:pt x="779965" y="638566"/>
                  <a:pt x="779965" y="631907"/>
                  <a:pt x="775872" y="627814"/>
                </a:cubicBezTo>
                <a:cubicBezTo>
                  <a:pt x="771742" y="623721"/>
                  <a:pt x="765082" y="623721"/>
                  <a:pt x="760989" y="627814"/>
                </a:cubicBezTo>
                <a:close/>
                <a:moveTo>
                  <a:pt x="472375" y="419490"/>
                </a:moveTo>
                <a:cubicBezTo>
                  <a:pt x="472375" y="448623"/>
                  <a:pt x="448674" y="472361"/>
                  <a:pt x="419504" y="472361"/>
                </a:cubicBezTo>
                <a:cubicBezTo>
                  <a:pt x="413997" y="472361"/>
                  <a:pt x="408640" y="471506"/>
                  <a:pt x="403579" y="469868"/>
                </a:cubicBezTo>
                <a:lnTo>
                  <a:pt x="291660" y="534459"/>
                </a:lnTo>
                <a:cubicBezTo>
                  <a:pt x="286042" y="537696"/>
                  <a:pt x="279940" y="539222"/>
                  <a:pt x="273838" y="539222"/>
                </a:cubicBezTo>
                <a:cubicBezTo>
                  <a:pt x="261448" y="539222"/>
                  <a:pt x="249467" y="532822"/>
                  <a:pt x="242882" y="521399"/>
                </a:cubicBezTo>
                <a:cubicBezTo>
                  <a:pt x="238119" y="513102"/>
                  <a:pt x="236892" y="503503"/>
                  <a:pt x="239273" y="494238"/>
                </a:cubicBezTo>
                <a:cubicBezTo>
                  <a:pt x="241765" y="485010"/>
                  <a:pt x="247644" y="477272"/>
                  <a:pt x="255830" y="472510"/>
                </a:cubicBezTo>
                <a:lnTo>
                  <a:pt x="367863" y="407843"/>
                </a:lnTo>
                <a:cubicBezTo>
                  <a:pt x="370244" y="397165"/>
                  <a:pt x="375862" y="387751"/>
                  <a:pt x="383677" y="380608"/>
                </a:cubicBezTo>
                <a:lnTo>
                  <a:pt x="383677" y="198966"/>
                </a:lnTo>
                <a:cubicBezTo>
                  <a:pt x="383677" y="179246"/>
                  <a:pt x="399676" y="163247"/>
                  <a:pt x="419395" y="163247"/>
                </a:cubicBezTo>
                <a:cubicBezTo>
                  <a:pt x="428920" y="163247"/>
                  <a:pt x="437887" y="166968"/>
                  <a:pt x="444621" y="173740"/>
                </a:cubicBezTo>
                <a:cubicBezTo>
                  <a:pt x="451393" y="180511"/>
                  <a:pt x="455114" y="189441"/>
                  <a:pt x="455114" y="198966"/>
                </a:cubicBezTo>
                <a:lnTo>
                  <a:pt x="455114" y="380608"/>
                </a:lnTo>
                <a:cubicBezTo>
                  <a:pt x="465718" y="390355"/>
                  <a:pt x="472378" y="404160"/>
                  <a:pt x="472378" y="419489"/>
                </a:cubicBezTo>
                <a:close/>
                <a:moveTo>
                  <a:pt x="404845" y="368814"/>
                </a:moveTo>
                <a:cubicBezTo>
                  <a:pt x="409496" y="367475"/>
                  <a:pt x="414481" y="366731"/>
                  <a:pt x="419505" y="366731"/>
                </a:cubicBezTo>
                <a:cubicBezTo>
                  <a:pt x="424640" y="366731"/>
                  <a:pt x="429514" y="367475"/>
                  <a:pt x="434165" y="368814"/>
                </a:cubicBezTo>
                <a:lnTo>
                  <a:pt x="434165" y="199078"/>
                </a:lnTo>
                <a:cubicBezTo>
                  <a:pt x="434165" y="195171"/>
                  <a:pt x="432639" y="191451"/>
                  <a:pt x="429886" y="188698"/>
                </a:cubicBezTo>
                <a:cubicBezTo>
                  <a:pt x="427132" y="185944"/>
                  <a:pt x="423412" y="184419"/>
                  <a:pt x="419506" y="184419"/>
                </a:cubicBezTo>
                <a:cubicBezTo>
                  <a:pt x="411394" y="184419"/>
                  <a:pt x="404846" y="191005"/>
                  <a:pt x="404846" y="199079"/>
                </a:cubicBezTo>
                <a:close/>
                <a:moveTo>
                  <a:pt x="382930" y="457590"/>
                </a:moveTo>
                <a:cubicBezTo>
                  <a:pt x="375786" y="450743"/>
                  <a:pt x="370651" y="441963"/>
                  <a:pt x="368270" y="432065"/>
                </a:cubicBezTo>
                <a:lnTo>
                  <a:pt x="266438" y="490853"/>
                </a:lnTo>
                <a:cubicBezTo>
                  <a:pt x="263089" y="492750"/>
                  <a:pt x="260634" y="495988"/>
                  <a:pt x="259592" y="499820"/>
                </a:cubicBezTo>
                <a:cubicBezTo>
                  <a:pt x="258550" y="503614"/>
                  <a:pt x="259109" y="507633"/>
                  <a:pt x="261006" y="510982"/>
                </a:cubicBezTo>
                <a:cubicBezTo>
                  <a:pt x="265099" y="518014"/>
                  <a:pt x="274066" y="520396"/>
                  <a:pt x="281098" y="516303"/>
                </a:cubicBezTo>
                <a:close/>
                <a:moveTo>
                  <a:pt x="451316" y="419490"/>
                </a:moveTo>
                <a:cubicBezTo>
                  <a:pt x="451316" y="401966"/>
                  <a:pt x="437029" y="387678"/>
                  <a:pt x="419505" y="387678"/>
                </a:cubicBezTo>
                <a:cubicBezTo>
                  <a:pt x="401981" y="387678"/>
                  <a:pt x="387693" y="401966"/>
                  <a:pt x="387693" y="419490"/>
                </a:cubicBezTo>
                <a:cubicBezTo>
                  <a:pt x="387693" y="437014"/>
                  <a:pt x="401981" y="451301"/>
                  <a:pt x="419505" y="451301"/>
                </a:cubicBezTo>
                <a:cubicBezTo>
                  <a:pt x="437029" y="451301"/>
                  <a:pt x="451316" y="437014"/>
                  <a:pt x="451316" y="41949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07" name="Graphic 57">
            <a:extLst>
              <a:ext uri="{FF2B5EF4-FFF2-40B4-BE49-F238E27FC236}">
                <a16:creationId xmlns:a16="http://schemas.microsoft.com/office/drawing/2014/main" id="{C28B772F-D16A-EA25-2651-809C2C141FCD}"/>
              </a:ext>
            </a:extLst>
          </p:cNvPr>
          <p:cNvGrpSpPr/>
          <p:nvPr/>
        </p:nvGrpSpPr>
        <p:grpSpPr>
          <a:xfrm>
            <a:off x="6511332" y="3157809"/>
            <a:ext cx="389844" cy="268283"/>
            <a:chOff x="6065992" y="3398566"/>
            <a:chExt cx="58362" cy="40165"/>
          </a:xfrm>
          <a:solidFill>
            <a:schemeClr val="bg1"/>
          </a:solidFill>
        </p:grpSpPr>
        <p:sp>
          <p:nvSpPr>
            <p:cNvPr id="109" name="Freeform: Shape 108">
              <a:extLst>
                <a:ext uri="{FF2B5EF4-FFF2-40B4-BE49-F238E27FC236}">
                  <a16:creationId xmlns:a16="http://schemas.microsoft.com/office/drawing/2014/main" id="{4E7578FF-537C-3F62-C8DF-80D67A510623}"/>
                </a:ext>
              </a:extLst>
            </p:cNvPr>
            <p:cNvSpPr/>
            <p:nvPr/>
          </p:nvSpPr>
          <p:spPr>
            <a:xfrm>
              <a:off x="6086903" y="3410327"/>
              <a:ext cx="16540" cy="16539"/>
            </a:xfrm>
            <a:custGeom>
              <a:avLst/>
              <a:gdLst>
                <a:gd name="connsiteX0" fmla="*/ 8271 w 16540"/>
                <a:gd name="connsiteY0" fmla="*/ 1336 h 16539"/>
                <a:gd name="connsiteX1" fmla="*/ 1337 w 16540"/>
                <a:gd name="connsiteY1" fmla="*/ 8270 h 16539"/>
                <a:gd name="connsiteX2" fmla="*/ 8271 w 16540"/>
                <a:gd name="connsiteY2" fmla="*/ 15203 h 16539"/>
                <a:gd name="connsiteX3" fmla="*/ 15204 w 16540"/>
                <a:gd name="connsiteY3" fmla="*/ 8270 h 16539"/>
                <a:gd name="connsiteX4" fmla="*/ 8271 w 16540"/>
                <a:gd name="connsiteY4" fmla="*/ 1336 h 16539"/>
                <a:gd name="connsiteX5" fmla="*/ 8271 w 16540"/>
                <a:gd name="connsiteY5" fmla="*/ 16540 h 16539"/>
                <a:gd name="connsiteX6" fmla="*/ 0 w 16540"/>
                <a:gd name="connsiteY6" fmla="*/ 8270 h 16539"/>
                <a:gd name="connsiteX7" fmla="*/ 8271 w 16540"/>
                <a:gd name="connsiteY7" fmla="*/ 0 h 16539"/>
                <a:gd name="connsiteX8" fmla="*/ 16540 w 16540"/>
                <a:gd name="connsiteY8" fmla="*/ 8270 h 16539"/>
                <a:gd name="connsiteX9" fmla="*/ 8271 w 16540"/>
                <a:gd name="connsiteY9" fmla="*/ 16540 h 16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540" h="16539">
                  <a:moveTo>
                    <a:pt x="8271" y="1336"/>
                  </a:moveTo>
                  <a:cubicBezTo>
                    <a:pt x="4447" y="1336"/>
                    <a:pt x="1337" y="4447"/>
                    <a:pt x="1337" y="8270"/>
                  </a:cubicBezTo>
                  <a:cubicBezTo>
                    <a:pt x="1337" y="12093"/>
                    <a:pt x="4447" y="15203"/>
                    <a:pt x="8271" y="15203"/>
                  </a:cubicBezTo>
                  <a:cubicBezTo>
                    <a:pt x="12094" y="15203"/>
                    <a:pt x="15204" y="12093"/>
                    <a:pt x="15204" y="8270"/>
                  </a:cubicBezTo>
                  <a:cubicBezTo>
                    <a:pt x="15204" y="4447"/>
                    <a:pt x="12093" y="1336"/>
                    <a:pt x="8271" y="1336"/>
                  </a:cubicBezTo>
                  <a:close/>
                  <a:moveTo>
                    <a:pt x="8271" y="16540"/>
                  </a:moveTo>
                  <a:cubicBezTo>
                    <a:pt x="3710" y="16540"/>
                    <a:pt x="0" y="12830"/>
                    <a:pt x="0" y="8270"/>
                  </a:cubicBezTo>
                  <a:cubicBezTo>
                    <a:pt x="0" y="3710"/>
                    <a:pt x="3710" y="0"/>
                    <a:pt x="8271" y="0"/>
                  </a:cubicBezTo>
                  <a:cubicBezTo>
                    <a:pt x="12830" y="0"/>
                    <a:pt x="16540" y="3710"/>
                    <a:pt x="16540" y="8270"/>
                  </a:cubicBezTo>
                  <a:cubicBezTo>
                    <a:pt x="16540" y="12830"/>
                    <a:pt x="12830" y="16540"/>
                    <a:pt x="8271" y="1654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 name="Freeform: Shape 109">
              <a:extLst>
                <a:ext uri="{FF2B5EF4-FFF2-40B4-BE49-F238E27FC236}">
                  <a16:creationId xmlns:a16="http://schemas.microsoft.com/office/drawing/2014/main" id="{415E0E69-72D8-A1E4-7C4D-372054A3583E}"/>
                </a:ext>
              </a:extLst>
            </p:cNvPr>
            <p:cNvSpPr/>
            <p:nvPr/>
          </p:nvSpPr>
          <p:spPr>
            <a:xfrm>
              <a:off x="6078318" y="3401741"/>
              <a:ext cx="33712" cy="33711"/>
            </a:xfrm>
            <a:custGeom>
              <a:avLst/>
              <a:gdLst>
                <a:gd name="connsiteX0" fmla="*/ 14660 w 33712"/>
                <a:gd name="connsiteY0" fmla="*/ 32375 h 33711"/>
                <a:gd name="connsiteX1" fmla="*/ 19052 w 33712"/>
                <a:gd name="connsiteY1" fmla="*/ 32375 h 33711"/>
                <a:gd name="connsiteX2" fmla="*/ 19052 w 33712"/>
                <a:gd name="connsiteY2" fmla="*/ 29866 h 33711"/>
                <a:gd name="connsiteX3" fmla="*/ 19578 w 33712"/>
                <a:gd name="connsiteY3" fmla="*/ 29213 h 33711"/>
                <a:gd name="connsiteX4" fmla="*/ 23667 w 33712"/>
                <a:gd name="connsiteY4" fmla="*/ 27517 h 33711"/>
                <a:gd name="connsiteX5" fmla="*/ 24500 w 33712"/>
                <a:gd name="connsiteY5" fmla="*/ 27607 h 33711"/>
                <a:gd name="connsiteX6" fmla="*/ 26275 w 33712"/>
                <a:gd name="connsiteY6" fmla="*/ 29382 h 33711"/>
                <a:gd name="connsiteX7" fmla="*/ 29382 w 33712"/>
                <a:gd name="connsiteY7" fmla="*/ 26276 h 33711"/>
                <a:gd name="connsiteX8" fmla="*/ 27607 w 33712"/>
                <a:gd name="connsiteY8" fmla="*/ 24501 h 33711"/>
                <a:gd name="connsiteX9" fmla="*/ 27517 w 33712"/>
                <a:gd name="connsiteY9" fmla="*/ 23668 h 33711"/>
                <a:gd name="connsiteX10" fmla="*/ 29213 w 33712"/>
                <a:gd name="connsiteY10" fmla="*/ 19578 h 33711"/>
                <a:gd name="connsiteX11" fmla="*/ 29866 w 33712"/>
                <a:gd name="connsiteY11" fmla="*/ 19052 h 33711"/>
                <a:gd name="connsiteX12" fmla="*/ 32376 w 33712"/>
                <a:gd name="connsiteY12" fmla="*/ 19052 h 33711"/>
                <a:gd name="connsiteX13" fmla="*/ 32376 w 33712"/>
                <a:gd name="connsiteY13" fmla="*/ 14660 h 33711"/>
                <a:gd name="connsiteX14" fmla="*/ 29866 w 33712"/>
                <a:gd name="connsiteY14" fmla="*/ 14660 h 33711"/>
                <a:gd name="connsiteX15" fmla="*/ 29213 w 33712"/>
                <a:gd name="connsiteY15" fmla="*/ 14134 h 33711"/>
                <a:gd name="connsiteX16" fmla="*/ 27517 w 33712"/>
                <a:gd name="connsiteY16" fmla="*/ 10045 h 33711"/>
                <a:gd name="connsiteX17" fmla="*/ 27607 w 33712"/>
                <a:gd name="connsiteY17" fmla="*/ 9211 h 33711"/>
                <a:gd name="connsiteX18" fmla="*/ 29382 w 33712"/>
                <a:gd name="connsiteY18" fmla="*/ 7436 h 33711"/>
                <a:gd name="connsiteX19" fmla="*/ 26275 w 33712"/>
                <a:gd name="connsiteY19" fmla="*/ 4329 h 33711"/>
                <a:gd name="connsiteX20" fmla="*/ 24500 w 33712"/>
                <a:gd name="connsiteY20" fmla="*/ 6105 h 33711"/>
                <a:gd name="connsiteX21" fmla="*/ 23667 w 33712"/>
                <a:gd name="connsiteY21" fmla="*/ 6195 h 33711"/>
                <a:gd name="connsiteX22" fmla="*/ 19578 w 33712"/>
                <a:gd name="connsiteY22" fmla="*/ 4499 h 33711"/>
                <a:gd name="connsiteX23" fmla="*/ 19052 w 33712"/>
                <a:gd name="connsiteY23" fmla="*/ 3846 h 33711"/>
                <a:gd name="connsiteX24" fmla="*/ 19052 w 33712"/>
                <a:gd name="connsiteY24" fmla="*/ 1336 h 33711"/>
                <a:gd name="connsiteX25" fmla="*/ 14660 w 33712"/>
                <a:gd name="connsiteY25" fmla="*/ 1336 h 33711"/>
                <a:gd name="connsiteX26" fmla="*/ 14660 w 33712"/>
                <a:gd name="connsiteY26" fmla="*/ 3846 h 33711"/>
                <a:gd name="connsiteX27" fmla="*/ 14134 w 33712"/>
                <a:gd name="connsiteY27" fmla="*/ 4499 h 33711"/>
                <a:gd name="connsiteX28" fmla="*/ 10045 w 33712"/>
                <a:gd name="connsiteY28" fmla="*/ 6195 h 33711"/>
                <a:gd name="connsiteX29" fmla="*/ 9212 w 33712"/>
                <a:gd name="connsiteY29" fmla="*/ 6105 h 33711"/>
                <a:gd name="connsiteX30" fmla="*/ 7435 w 33712"/>
                <a:gd name="connsiteY30" fmla="*/ 4329 h 33711"/>
                <a:gd name="connsiteX31" fmla="*/ 4330 w 33712"/>
                <a:gd name="connsiteY31" fmla="*/ 7436 h 33711"/>
                <a:gd name="connsiteX32" fmla="*/ 6105 w 33712"/>
                <a:gd name="connsiteY32" fmla="*/ 9211 h 33711"/>
                <a:gd name="connsiteX33" fmla="*/ 6195 w 33712"/>
                <a:gd name="connsiteY33" fmla="*/ 10045 h 33711"/>
                <a:gd name="connsiteX34" fmla="*/ 4498 w 33712"/>
                <a:gd name="connsiteY34" fmla="*/ 14134 h 33711"/>
                <a:gd name="connsiteX35" fmla="*/ 3846 w 33712"/>
                <a:gd name="connsiteY35" fmla="*/ 14660 h 33711"/>
                <a:gd name="connsiteX36" fmla="*/ 1337 w 33712"/>
                <a:gd name="connsiteY36" fmla="*/ 14660 h 33711"/>
                <a:gd name="connsiteX37" fmla="*/ 1337 w 33712"/>
                <a:gd name="connsiteY37" fmla="*/ 19052 h 33711"/>
                <a:gd name="connsiteX38" fmla="*/ 3846 w 33712"/>
                <a:gd name="connsiteY38" fmla="*/ 19052 h 33711"/>
                <a:gd name="connsiteX39" fmla="*/ 4498 w 33712"/>
                <a:gd name="connsiteY39" fmla="*/ 19578 h 33711"/>
                <a:gd name="connsiteX40" fmla="*/ 6195 w 33712"/>
                <a:gd name="connsiteY40" fmla="*/ 23668 h 33711"/>
                <a:gd name="connsiteX41" fmla="*/ 6105 w 33712"/>
                <a:gd name="connsiteY41" fmla="*/ 24501 h 33711"/>
                <a:gd name="connsiteX42" fmla="*/ 4330 w 33712"/>
                <a:gd name="connsiteY42" fmla="*/ 26276 h 33711"/>
                <a:gd name="connsiteX43" fmla="*/ 7435 w 33712"/>
                <a:gd name="connsiteY43" fmla="*/ 29382 h 33711"/>
                <a:gd name="connsiteX44" fmla="*/ 9212 w 33712"/>
                <a:gd name="connsiteY44" fmla="*/ 27607 h 33711"/>
                <a:gd name="connsiteX45" fmla="*/ 10045 w 33712"/>
                <a:gd name="connsiteY45" fmla="*/ 27517 h 33711"/>
                <a:gd name="connsiteX46" fmla="*/ 14134 w 33712"/>
                <a:gd name="connsiteY46" fmla="*/ 29213 h 33711"/>
                <a:gd name="connsiteX47" fmla="*/ 14660 w 33712"/>
                <a:gd name="connsiteY47" fmla="*/ 29866 h 33711"/>
                <a:gd name="connsiteX48" fmla="*/ 14660 w 33712"/>
                <a:gd name="connsiteY48" fmla="*/ 32375 h 33711"/>
                <a:gd name="connsiteX49" fmla="*/ 19721 w 33712"/>
                <a:gd name="connsiteY49" fmla="*/ 33712 h 33711"/>
                <a:gd name="connsiteX50" fmla="*/ 13992 w 33712"/>
                <a:gd name="connsiteY50" fmla="*/ 33712 h 33711"/>
                <a:gd name="connsiteX51" fmla="*/ 13323 w 33712"/>
                <a:gd name="connsiteY51" fmla="*/ 33044 h 33711"/>
                <a:gd name="connsiteX52" fmla="*/ 13323 w 33712"/>
                <a:gd name="connsiteY52" fmla="*/ 30393 h 33711"/>
                <a:gd name="connsiteX53" fmla="*/ 9784 w 33712"/>
                <a:gd name="connsiteY53" fmla="*/ 28925 h 33711"/>
                <a:gd name="connsiteX54" fmla="*/ 7908 w 33712"/>
                <a:gd name="connsiteY54" fmla="*/ 30800 h 33711"/>
                <a:gd name="connsiteX55" fmla="*/ 6963 w 33712"/>
                <a:gd name="connsiteY55" fmla="*/ 30800 h 33711"/>
                <a:gd name="connsiteX56" fmla="*/ 2912 w 33712"/>
                <a:gd name="connsiteY56" fmla="*/ 26749 h 33711"/>
                <a:gd name="connsiteX57" fmla="*/ 2716 w 33712"/>
                <a:gd name="connsiteY57" fmla="*/ 26276 h 33711"/>
                <a:gd name="connsiteX58" fmla="*/ 2912 w 33712"/>
                <a:gd name="connsiteY58" fmla="*/ 25803 h 33711"/>
                <a:gd name="connsiteX59" fmla="*/ 4787 w 33712"/>
                <a:gd name="connsiteY59" fmla="*/ 23928 h 33711"/>
                <a:gd name="connsiteX60" fmla="*/ 3319 w 33712"/>
                <a:gd name="connsiteY60" fmla="*/ 20389 h 33711"/>
                <a:gd name="connsiteX61" fmla="*/ 668 w 33712"/>
                <a:gd name="connsiteY61" fmla="*/ 20389 h 33711"/>
                <a:gd name="connsiteX62" fmla="*/ 0 w 33712"/>
                <a:gd name="connsiteY62" fmla="*/ 19721 h 33711"/>
                <a:gd name="connsiteX63" fmla="*/ 0 w 33712"/>
                <a:gd name="connsiteY63" fmla="*/ 13991 h 33711"/>
                <a:gd name="connsiteX64" fmla="*/ 668 w 33712"/>
                <a:gd name="connsiteY64" fmla="*/ 13323 h 33711"/>
                <a:gd name="connsiteX65" fmla="*/ 3319 w 33712"/>
                <a:gd name="connsiteY65" fmla="*/ 13323 h 33711"/>
                <a:gd name="connsiteX66" fmla="*/ 4787 w 33712"/>
                <a:gd name="connsiteY66" fmla="*/ 9784 h 33711"/>
                <a:gd name="connsiteX67" fmla="*/ 2912 w 33712"/>
                <a:gd name="connsiteY67" fmla="*/ 7908 h 33711"/>
                <a:gd name="connsiteX68" fmla="*/ 2716 w 33712"/>
                <a:gd name="connsiteY68" fmla="*/ 7436 h 33711"/>
                <a:gd name="connsiteX69" fmla="*/ 2912 w 33712"/>
                <a:gd name="connsiteY69" fmla="*/ 6964 h 33711"/>
                <a:gd name="connsiteX70" fmla="*/ 6964 w 33712"/>
                <a:gd name="connsiteY70" fmla="*/ 2912 h 33711"/>
                <a:gd name="connsiteX71" fmla="*/ 7908 w 33712"/>
                <a:gd name="connsiteY71" fmla="*/ 2912 h 33711"/>
                <a:gd name="connsiteX72" fmla="*/ 9784 w 33712"/>
                <a:gd name="connsiteY72" fmla="*/ 4787 h 33711"/>
                <a:gd name="connsiteX73" fmla="*/ 13323 w 33712"/>
                <a:gd name="connsiteY73" fmla="*/ 3319 h 33711"/>
                <a:gd name="connsiteX74" fmla="*/ 13323 w 33712"/>
                <a:gd name="connsiteY74" fmla="*/ 668 h 33711"/>
                <a:gd name="connsiteX75" fmla="*/ 13992 w 33712"/>
                <a:gd name="connsiteY75" fmla="*/ 0 h 33711"/>
                <a:gd name="connsiteX76" fmla="*/ 19721 w 33712"/>
                <a:gd name="connsiteY76" fmla="*/ 0 h 33711"/>
                <a:gd name="connsiteX77" fmla="*/ 20389 w 33712"/>
                <a:gd name="connsiteY77" fmla="*/ 669 h 33711"/>
                <a:gd name="connsiteX78" fmla="*/ 20389 w 33712"/>
                <a:gd name="connsiteY78" fmla="*/ 3319 h 33711"/>
                <a:gd name="connsiteX79" fmla="*/ 23928 w 33712"/>
                <a:gd name="connsiteY79" fmla="*/ 4787 h 33711"/>
                <a:gd name="connsiteX80" fmla="*/ 25803 w 33712"/>
                <a:gd name="connsiteY80" fmla="*/ 2912 h 33711"/>
                <a:gd name="connsiteX81" fmla="*/ 26749 w 33712"/>
                <a:gd name="connsiteY81" fmla="*/ 2912 h 33711"/>
                <a:gd name="connsiteX82" fmla="*/ 30800 w 33712"/>
                <a:gd name="connsiteY82" fmla="*/ 6963 h 33711"/>
                <a:gd name="connsiteX83" fmla="*/ 30996 w 33712"/>
                <a:gd name="connsiteY83" fmla="*/ 7436 h 33711"/>
                <a:gd name="connsiteX84" fmla="*/ 30800 w 33712"/>
                <a:gd name="connsiteY84" fmla="*/ 7909 h 33711"/>
                <a:gd name="connsiteX85" fmla="*/ 28925 w 33712"/>
                <a:gd name="connsiteY85" fmla="*/ 9784 h 33711"/>
                <a:gd name="connsiteX86" fmla="*/ 30393 w 33712"/>
                <a:gd name="connsiteY86" fmla="*/ 13323 h 33711"/>
                <a:gd name="connsiteX87" fmla="*/ 33044 w 33712"/>
                <a:gd name="connsiteY87" fmla="*/ 13323 h 33711"/>
                <a:gd name="connsiteX88" fmla="*/ 33712 w 33712"/>
                <a:gd name="connsiteY88" fmla="*/ 13991 h 33711"/>
                <a:gd name="connsiteX89" fmla="*/ 33712 w 33712"/>
                <a:gd name="connsiteY89" fmla="*/ 19721 h 33711"/>
                <a:gd name="connsiteX90" fmla="*/ 33044 w 33712"/>
                <a:gd name="connsiteY90" fmla="*/ 20389 h 33711"/>
                <a:gd name="connsiteX91" fmla="*/ 30393 w 33712"/>
                <a:gd name="connsiteY91" fmla="*/ 20389 h 33711"/>
                <a:gd name="connsiteX92" fmla="*/ 28925 w 33712"/>
                <a:gd name="connsiteY92" fmla="*/ 23928 h 33711"/>
                <a:gd name="connsiteX93" fmla="*/ 30800 w 33712"/>
                <a:gd name="connsiteY93" fmla="*/ 25803 h 33711"/>
                <a:gd name="connsiteX94" fmla="*/ 30996 w 33712"/>
                <a:gd name="connsiteY94" fmla="*/ 26276 h 33711"/>
                <a:gd name="connsiteX95" fmla="*/ 30800 w 33712"/>
                <a:gd name="connsiteY95" fmla="*/ 26749 h 33711"/>
                <a:gd name="connsiteX96" fmla="*/ 26749 w 33712"/>
                <a:gd name="connsiteY96" fmla="*/ 30800 h 33711"/>
                <a:gd name="connsiteX97" fmla="*/ 25803 w 33712"/>
                <a:gd name="connsiteY97" fmla="*/ 30800 h 33711"/>
                <a:gd name="connsiteX98" fmla="*/ 23928 w 33712"/>
                <a:gd name="connsiteY98" fmla="*/ 28925 h 33711"/>
                <a:gd name="connsiteX99" fmla="*/ 20389 w 33712"/>
                <a:gd name="connsiteY99" fmla="*/ 30393 h 33711"/>
                <a:gd name="connsiteX100" fmla="*/ 20389 w 33712"/>
                <a:gd name="connsiteY100" fmla="*/ 33044 h 33711"/>
                <a:gd name="connsiteX101" fmla="*/ 19721 w 33712"/>
                <a:gd name="connsiteY101" fmla="*/ 33712 h 3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3712" h="33711">
                  <a:moveTo>
                    <a:pt x="14660" y="32375"/>
                  </a:moveTo>
                  <a:lnTo>
                    <a:pt x="19052" y="32375"/>
                  </a:lnTo>
                  <a:lnTo>
                    <a:pt x="19052" y="29866"/>
                  </a:lnTo>
                  <a:cubicBezTo>
                    <a:pt x="19052" y="29552"/>
                    <a:pt x="19270" y="29281"/>
                    <a:pt x="19578" y="29213"/>
                  </a:cubicBezTo>
                  <a:cubicBezTo>
                    <a:pt x="21033" y="28894"/>
                    <a:pt x="22408" y="28324"/>
                    <a:pt x="23667" y="27517"/>
                  </a:cubicBezTo>
                  <a:cubicBezTo>
                    <a:pt x="23932" y="27348"/>
                    <a:pt x="24279" y="27385"/>
                    <a:pt x="24500" y="27607"/>
                  </a:cubicBezTo>
                  <a:lnTo>
                    <a:pt x="26275" y="29382"/>
                  </a:lnTo>
                  <a:lnTo>
                    <a:pt x="29382" y="26276"/>
                  </a:lnTo>
                  <a:lnTo>
                    <a:pt x="27607" y="24501"/>
                  </a:lnTo>
                  <a:cubicBezTo>
                    <a:pt x="27385" y="24278"/>
                    <a:pt x="27347" y="23932"/>
                    <a:pt x="27517" y="23668"/>
                  </a:cubicBezTo>
                  <a:cubicBezTo>
                    <a:pt x="28324" y="22408"/>
                    <a:pt x="28895" y="21032"/>
                    <a:pt x="29213" y="19578"/>
                  </a:cubicBezTo>
                  <a:cubicBezTo>
                    <a:pt x="29280" y="19271"/>
                    <a:pt x="29551" y="19052"/>
                    <a:pt x="29866" y="19052"/>
                  </a:cubicBezTo>
                  <a:lnTo>
                    <a:pt x="32376" y="19052"/>
                  </a:lnTo>
                  <a:lnTo>
                    <a:pt x="32376" y="14660"/>
                  </a:lnTo>
                  <a:lnTo>
                    <a:pt x="29866" y="14660"/>
                  </a:lnTo>
                  <a:cubicBezTo>
                    <a:pt x="29552" y="14660"/>
                    <a:pt x="29280" y="14441"/>
                    <a:pt x="29213" y="14134"/>
                  </a:cubicBezTo>
                  <a:cubicBezTo>
                    <a:pt x="28895" y="12680"/>
                    <a:pt x="28324" y="11304"/>
                    <a:pt x="27517" y="10045"/>
                  </a:cubicBezTo>
                  <a:cubicBezTo>
                    <a:pt x="27347" y="9780"/>
                    <a:pt x="27384" y="9433"/>
                    <a:pt x="27607" y="9211"/>
                  </a:cubicBezTo>
                  <a:lnTo>
                    <a:pt x="29382" y="7436"/>
                  </a:lnTo>
                  <a:lnTo>
                    <a:pt x="26275" y="4329"/>
                  </a:lnTo>
                  <a:lnTo>
                    <a:pt x="24500" y="6105"/>
                  </a:lnTo>
                  <a:cubicBezTo>
                    <a:pt x="24279" y="6327"/>
                    <a:pt x="23932" y="6364"/>
                    <a:pt x="23667" y="6195"/>
                  </a:cubicBezTo>
                  <a:cubicBezTo>
                    <a:pt x="22409" y="5388"/>
                    <a:pt x="21032" y="4817"/>
                    <a:pt x="19578" y="4499"/>
                  </a:cubicBezTo>
                  <a:cubicBezTo>
                    <a:pt x="19270" y="4431"/>
                    <a:pt x="19052" y="4160"/>
                    <a:pt x="19052" y="3846"/>
                  </a:cubicBezTo>
                  <a:lnTo>
                    <a:pt x="19052" y="1336"/>
                  </a:lnTo>
                  <a:lnTo>
                    <a:pt x="14660" y="1336"/>
                  </a:lnTo>
                  <a:lnTo>
                    <a:pt x="14660" y="3846"/>
                  </a:lnTo>
                  <a:cubicBezTo>
                    <a:pt x="14660" y="4160"/>
                    <a:pt x="14440" y="4432"/>
                    <a:pt x="14134" y="4499"/>
                  </a:cubicBezTo>
                  <a:cubicBezTo>
                    <a:pt x="12679" y="4817"/>
                    <a:pt x="11303" y="5388"/>
                    <a:pt x="10045" y="6195"/>
                  </a:cubicBezTo>
                  <a:cubicBezTo>
                    <a:pt x="9780" y="6364"/>
                    <a:pt x="9433" y="6327"/>
                    <a:pt x="9212" y="6105"/>
                  </a:cubicBezTo>
                  <a:lnTo>
                    <a:pt x="7435" y="4329"/>
                  </a:lnTo>
                  <a:lnTo>
                    <a:pt x="4330" y="7436"/>
                  </a:lnTo>
                  <a:lnTo>
                    <a:pt x="6105" y="9211"/>
                  </a:lnTo>
                  <a:cubicBezTo>
                    <a:pt x="6327" y="9433"/>
                    <a:pt x="6365" y="9780"/>
                    <a:pt x="6195" y="10045"/>
                  </a:cubicBezTo>
                  <a:cubicBezTo>
                    <a:pt x="5388" y="11304"/>
                    <a:pt x="4817" y="12680"/>
                    <a:pt x="4498" y="14134"/>
                  </a:cubicBezTo>
                  <a:cubicBezTo>
                    <a:pt x="4432" y="14441"/>
                    <a:pt x="4159" y="14660"/>
                    <a:pt x="3846" y="14660"/>
                  </a:cubicBezTo>
                  <a:lnTo>
                    <a:pt x="1337" y="14660"/>
                  </a:lnTo>
                  <a:lnTo>
                    <a:pt x="1337" y="19052"/>
                  </a:lnTo>
                  <a:lnTo>
                    <a:pt x="3846" y="19052"/>
                  </a:lnTo>
                  <a:cubicBezTo>
                    <a:pt x="4159" y="19052"/>
                    <a:pt x="4432" y="19271"/>
                    <a:pt x="4498" y="19578"/>
                  </a:cubicBezTo>
                  <a:cubicBezTo>
                    <a:pt x="4817" y="21032"/>
                    <a:pt x="5388" y="22409"/>
                    <a:pt x="6195" y="23668"/>
                  </a:cubicBezTo>
                  <a:cubicBezTo>
                    <a:pt x="6365" y="23932"/>
                    <a:pt x="6326" y="24279"/>
                    <a:pt x="6105" y="24501"/>
                  </a:cubicBezTo>
                  <a:lnTo>
                    <a:pt x="4330" y="26276"/>
                  </a:lnTo>
                  <a:lnTo>
                    <a:pt x="7435" y="29382"/>
                  </a:lnTo>
                  <a:lnTo>
                    <a:pt x="9212" y="27607"/>
                  </a:lnTo>
                  <a:cubicBezTo>
                    <a:pt x="9433" y="27385"/>
                    <a:pt x="9780" y="27348"/>
                    <a:pt x="10045" y="27517"/>
                  </a:cubicBezTo>
                  <a:cubicBezTo>
                    <a:pt x="11303" y="28324"/>
                    <a:pt x="12679" y="28895"/>
                    <a:pt x="14134" y="29213"/>
                  </a:cubicBezTo>
                  <a:cubicBezTo>
                    <a:pt x="14441" y="29281"/>
                    <a:pt x="14660" y="29552"/>
                    <a:pt x="14660" y="29866"/>
                  </a:cubicBezTo>
                  <a:lnTo>
                    <a:pt x="14660" y="32375"/>
                  </a:lnTo>
                  <a:close/>
                  <a:moveTo>
                    <a:pt x="19721" y="33712"/>
                  </a:moveTo>
                  <a:lnTo>
                    <a:pt x="13992" y="33712"/>
                  </a:lnTo>
                  <a:cubicBezTo>
                    <a:pt x="13623" y="33712"/>
                    <a:pt x="13323" y="33413"/>
                    <a:pt x="13323" y="33044"/>
                  </a:cubicBezTo>
                  <a:lnTo>
                    <a:pt x="13323" y="30393"/>
                  </a:lnTo>
                  <a:cubicBezTo>
                    <a:pt x="12080" y="30070"/>
                    <a:pt x="10894" y="29578"/>
                    <a:pt x="9784" y="28925"/>
                  </a:cubicBezTo>
                  <a:lnTo>
                    <a:pt x="7908" y="30800"/>
                  </a:lnTo>
                  <a:cubicBezTo>
                    <a:pt x="7648" y="31061"/>
                    <a:pt x="7224" y="31061"/>
                    <a:pt x="6963" y="30800"/>
                  </a:cubicBezTo>
                  <a:lnTo>
                    <a:pt x="2912" y="26749"/>
                  </a:lnTo>
                  <a:cubicBezTo>
                    <a:pt x="2787" y="26623"/>
                    <a:pt x="2716" y="26453"/>
                    <a:pt x="2716" y="26276"/>
                  </a:cubicBezTo>
                  <a:cubicBezTo>
                    <a:pt x="2716" y="26099"/>
                    <a:pt x="2787" y="25929"/>
                    <a:pt x="2912" y="25803"/>
                  </a:cubicBezTo>
                  <a:lnTo>
                    <a:pt x="4787" y="23928"/>
                  </a:lnTo>
                  <a:cubicBezTo>
                    <a:pt x="4134" y="22818"/>
                    <a:pt x="3642" y="21632"/>
                    <a:pt x="3319" y="20389"/>
                  </a:cubicBezTo>
                  <a:lnTo>
                    <a:pt x="668" y="20389"/>
                  </a:lnTo>
                  <a:cubicBezTo>
                    <a:pt x="300" y="20389"/>
                    <a:pt x="0" y="20090"/>
                    <a:pt x="0" y="19721"/>
                  </a:cubicBezTo>
                  <a:lnTo>
                    <a:pt x="0" y="13991"/>
                  </a:lnTo>
                  <a:cubicBezTo>
                    <a:pt x="0" y="13622"/>
                    <a:pt x="299" y="13323"/>
                    <a:pt x="668" y="13323"/>
                  </a:cubicBezTo>
                  <a:lnTo>
                    <a:pt x="3319" y="13323"/>
                  </a:lnTo>
                  <a:cubicBezTo>
                    <a:pt x="3642" y="12080"/>
                    <a:pt x="4134" y="10894"/>
                    <a:pt x="4787" y="9784"/>
                  </a:cubicBezTo>
                  <a:lnTo>
                    <a:pt x="2912" y="7908"/>
                  </a:lnTo>
                  <a:cubicBezTo>
                    <a:pt x="2787" y="7783"/>
                    <a:pt x="2716" y="7613"/>
                    <a:pt x="2716" y="7436"/>
                  </a:cubicBezTo>
                  <a:cubicBezTo>
                    <a:pt x="2716" y="7259"/>
                    <a:pt x="2787" y="7089"/>
                    <a:pt x="2912" y="6964"/>
                  </a:cubicBezTo>
                  <a:lnTo>
                    <a:pt x="6964" y="2912"/>
                  </a:lnTo>
                  <a:cubicBezTo>
                    <a:pt x="7225" y="2651"/>
                    <a:pt x="7648" y="2651"/>
                    <a:pt x="7908" y="2912"/>
                  </a:cubicBezTo>
                  <a:lnTo>
                    <a:pt x="9784" y="4787"/>
                  </a:lnTo>
                  <a:cubicBezTo>
                    <a:pt x="10894" y="4134"/>
                    <a:pt x="12080" y="3642"/>
                    <a:pt x="13323" y="3319"/>
                  </a:cubicBezTo>
                  <a:lnTo>
                    <a:pt x="13323" y="668"/>
                  </a:lnTo>
                  <a:cubicBezTo>
                    <a:pt x="13323" y="299"/>
                    <a:pt x="13623" y="0"/>
                    <a:pt x="13992" y="0"/>
                  </a:cubicBezTo>
                  <a:lnTo>
                    <a:pt x="19721" y="0"/>
                  </a:lnTo>
                  <a:cubicBezTo>
                    <a:pt x="20089" y="0"/>
                    <a:pt x="20389" y="299"/>
                    <a:pt x="20389" y="669"/>
                  </a:cubicBezTo>
                  <a:lnTo>
                    <a:pt x="20389" y="3319"/>
                  </a:lnTo>
                  <a:cubicBezTo>
                    <a:pt x="21631" y="3642"/>
                    <a:pt x="22818" y="4134"/>
                    <a:pt x="23928" y="4787"/>
                  </a:cubicBezTo>
                  <a:lnTo>
                    <a:pt x="25803" y="2912"/>
                  </a:lnTo>
                  <a:cubicBezTo>
                    <a:pt x="26064" y="2651"/>
                    <a:pt x="26488" y="2651"/>
                    <a:pt x="26749" y="2912"/>
                  </a:cubicBezTo>
                  <a:lnTo>
                    <a:pt x="30800" y="6963"/>
                  </a:lnTo>
                  <a:cubicBezTo>
                    <a:pt x="30925" y="7089"/>
                    <a:pt x="30996" y="7259"/>
                    <a:pt x="30996" y="7436"/>
                  </a:cubicBezTo>
                  <a:cubicBezTo>
                    <a:pt x="30996" y="7613"/>
                    <a:pt x="30925" y="7783"/>
                    <a:pt x="30800" y="7909"/>
                  </a:cubicBezTo>
                  <a:lnTo>
                    <a:pt x="28925" y="9784"/>
                  </a:lnTo>
                  <a:cubicBezTo>
                    <a:pt x="29577" y="10894"/>
                    <a:pt x="30070" y="12080"/>
                    <a:pt x="30393" y="13323"/>
                  </a:cubicBezTo>
                  <a:lnTo>
                    <a:pt x="33044" y="13323"/>
                  </a:lnTo>
                  <a:cubicBezTo>
                    <a:pt x="33413" y="13323"/>
                    <a:pt x="33712" y="13622"/>
                    <a:pt x="33712" y="13991"/>
                  </a:cubicBezTo>
                  <a:lnTo>
                    <a:pt x="33712" y="19721"/>
                  </a:lnTo>
                  <a:cubicBezTo>
                    <a:pt x="33712" y="20090"/>
                    <a:pt x="33413" y="20389"/>
                    <a:pt x="33044" y="20389"/>
                  </a:cubicBezTo>
                  <a:lnTo>
                    <a:pt x="30393" y="20389"/>
                  </a:lnTo>
                  <a:cubicBezTo>
                    <a:pt x="30070" y="21631"/>
                    <a:pt x="29577" y="22818"/>
                    <a:pt x="28925" y="23928"/>
                  </a:cubicBezTo>
                  <a:lnTo>
                    <a:pt x="30800" y="25803"/>
                  </a:lnTo>
                  <a:cubicBezTo>
                    <a:pt x="30925" y="25929"/>
                    <a:pt x="30996" y="26099"/>
                    <a:pt x="30996" y="26276"/>
                  </a:cubicBezTo>
                  <a:cubicBezTo>
                    <a:pt x="30996" y="26453"/>
                    <a:pt x="30925" y="26623"/>
                    <a:pt x="30800" y="26749"/>
                  </a:cubicBezTo>
                  <a:lnTo>
                    <a:pt x="26749" y="30800"/>
                  </a:lnTo>
                  <a:cubicBezTo>
                    <a:pt x="26488" y="31061"/>
                    <a:pt x="26064" y="31061"/>
                    <a:pt x="25803" y="30800"/>
                  </a:cubicBezTo>
                  <a:lnTo>
                    <a:pt x="23928" y="28925"/>
                  </a:lnTo>
                  <a:cubicBezTo>
                    <a:pt x="22818" y="29578"/>
                    <a:pt x="21631" y="30070"/>
                    <a:pt x="20389" y="30393"/>
                  </a:cubicBezTo>
                  <a:lnTo>
                    <a:pt x="20389" y="33044"/>
                  </a:lnTo>
                  <a:cubicBezTo>
                    <a:pt x="20389" y="33412"/>
                    <a:pt x="20089" y="33712"/>
                    <a:pt x="19721" y="3371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 name="Freeform: Shape 110">
              <a:extLst>
                <a:ext uri="{FF2B5EF4-FFF2-40B4-BE49-F238E27FC236}">
                  <a16:creationId xmlns:a16="http://schemas.microsoft.com/office/drawing/2014/main" id="{867332D4-2AC6-3A29-385D-C6945F6FB2F0}"/>
                </a:ext>
              </a:extLst>
            </p:cNvPr>
            <p:cNvSpPr/>
            <p:nvPr/>
          </p:nvSpPr>
          <p:spPr>
            <a:xfrm>
              <a:off x="6091181" y="3415726"/>
              <a:ext cx="7985" cy="5741"/>
            </a:xfrm>
            <a:custGeom>
              <a:avLst/>
              <a:gdLst>
                <a:gd name="connsiteX0" fmla="*/ 2913 w 7985"/>
                <a:gd name="connsiteY0" fmla="*/ 5742 h 5741"/>
                <a:gd name="connsiteX1" fmla="*/ 2441 w 7985"/>
                <a:gd name="connsiteY1" fmla="*/ 5546 h 5741"/>
                <a:gd name="connsiteX2" fmla="*/ 196 w 7985"/>
                <a:gd name="connsiteY2" fmla="*/ 3301 h 5741"/>
                <a:gd name="connsiteX3" fmla="*/ 196 w 7985"/>
                <a:gd name="connsiteY3" fmla="*/ 2356 h 5741"/>
                <a:gd name="connsiteX4" fmla="*/ 1140 w 7985"/>
                <a:gd name="connsiteY4" fmla="*/ 2356 h 5741"/>
                <a:gd name="connsiteX5" fmla="*/ 2913 w 7985"/>
                <a:gd name="connsiteY5" fmla="*/ 4129 h 5741"/>
                <a:gd name="connsiteX6" fmla="*/ 6845 w 7985"/>
                <a:gd name="connsiteY6" fmla="*/ 196 h 5741"/>
                <a:gd name="connsiteX7" fmla="*/ 7790 w 7985"/>
                <a:gd name="connsiteY7" fmla="*/ 196 h 5741"/>
                <a:gd name="connsiteX8" fmla="*/ 7790 w 7985"/>
                <a:gd name="connsiteY8" fmla="*/ 1141 h 5741"/>
                <a:gd name="connsiteX9" fmla="*/ 3386 w 7985"/>
                <a:gd name="connsiteY9" fmla="*/ 5546 h 5741"/>
                <a:gd name="connsiteX10" fmla="*/ 2913 w 7985"/>
                <a:gd name="connsiteY10" fmla="*/ 5742 h 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85" h="5741">
                  <a:moveTo>
                    <a:pt x="2913" y="5742"/>
                  </a:moveTo>
                  <a:cubicBezTo>
                    <a:pt x="2737" y="5742"/>
                    <a:pt x="2566" y="5672"/>
                    <a:pt x="2441" y="5546"/>
                  </a:cubicBezTo>
                  <a:lnTo>
                    <a:pt x="196" y="3301"/>
                  </a:lnTo>
                  <a:cubicBezTo>
                    <a:pt x="-65" y="3040"/>
                    <a:pt x="-65" y="2617"/>
                    <a:pt x="196" y="2356"/>
                  </a:cubicBezTo>
                  <a:cubicBezTo>
                    <a:pt x="457" y="2095"/>
                    <a:pt x="879" y="2095"/>
                    <a:pt x="1140" y="2356"/>
                  </a:cubicBezTo>
                  <a:lnTo>
                    <a:pt x="2913" y="4129"/>
                  </a:lnTo>
                  <a:lnTo>
                    <a:pt x="6845" y="196"/>
                  </a:lnTo>
                  <a:cubicBezTo>
                    <a:pt x="7106" y="-65"/>
                    <a:pt x="7529" y="-65"/>
                    <a:pt x="7790" y="196"/>
                  </a:cubicBezTo>
                  <a:cubicBezTo>
                    <a:pt x="8051" y="457"/>
                    <a:pt x="8051" y="880"/>
                    <a:pt x="7790" y="1141"/>
                  </a:cubicBezTo>
                  <a:lnTo>
                    <a:pt x="3386" y="5546"/>
                  </a:lnTo>
                  <a:cubicBezTo>
                    <a:pt x="3261" y="5672"/>
                    <a:pt x="3090" y="5742"/>
                    <a:pt x="2913" y="574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 name="Freeform: Shape 111">
              <a:extLst>
                <a:ext uri="{FF2B5EF4-FFF2-40B4-BE49-F238E27FC236}">
                  <a16:creationId xmlns:a16="http://schemas.microsoft.com/office/drawing/2014/main" id="{D446EB35-E387-1FAF-19F7-6F3F3242724D}"/>
                </a:ext>
              </a:extLst>
            </p:cNvPr>
            <p:cNvSpPr/>
            <p:nvPr/>
          </p:nvSpPr>
          <p:spPr>
            <a:xfrm>
              <a:off x="6071875" y="3401507"/>
              <a:ext cx="12520" cy="6313"/>
            </a:xfrm>
            <a:custGeom>
              <a:avLst/>
              <a:gdLst>
                <a:gd name="connsiteX0" fmla="*/ 11852 w 12520"/>
                <a:gd name="connsiteY0" fmla="*/ 6314 h 6313"/>
                <a:gd name="connsiteX1" fmla="*/ 11379 w 12520"/>
                <a:gd name="connsiteY1" fmla="*/ 6118 h 6313"/>
                <a:gd name="connsiteX2" fmla="*/ 6716 w 12520"/>
                <a:gd name="connsiteY2" fmla="*/ 1456 h 6313"/>
                <a:gd name="connsiteX3" fmla="*/ 6425 w 12520"/>
                <a:gd name="connsiteY3" fmla="*/ 1337 h 6313"/>
                <a:gd name="connsiteX4" fmla="*/ 668 w 12520"/>
                <a:gd name="connsiteY4" fmla="*/ 1336 h 6313"/>
                <a:gd name="connsiteX5" fmla="*/ 0 w 12520"/>
                <a:gd name="connsiteY5" fmla="*/ 668 h 6313"/>
                <a:gd name="connsiteX6" fmla="*/ 668 w 12520"/>
                <a:gd name="connsiteY6" fmla="*/ 0 h 6313"/>
                <a:gd name="connsiteX7" fmla="*/ 6425 w 12520"/>
                <a:gd name="connsiteY7" fmla="*/ 0 h 6313"/>
                <a:gd name="connsiteX8" fmla="*/ 7659 w 12520"/>
                <a:gd name="connsiteY8" fmla="*/ 510 h 6313"/>
                <a:gd name="connsiteX9" fmla="*/ 12324 w 12520"/>
                <a:gd name="connsiteY9" fmla="*/ 5173 h 6313"/>
                <a:gd name="connsiteX10" fmla="*/ 12324 w 12520"/>
                <a:gd name="connsiteY10" fmla="*/ 6118 h 6313"/>
                <a:gd name="connsiteX11" fmla="*/ 11852 w 12520"/>
                <a:gd name="connsiteY11" fmla="*/ 6314 h 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20" h="6313">
                  <a:moveTo>
                    <a:pt x="11852" y="6314"/>
                  </a:moveTo>
                  <a:cubicBezTo>
                    <a:pt x="11681" y="6314"/>
                    <a:pt x="11510" y="6249"/>
                    <a:pt x="11379" y="6118"/>
                  </a:cubicBezTo>
                  <a:lnTo>
                    <a:pt x="6716" y="1456"/>
                  </a:lnTo>
                  <a:cubicBezTo>
                    <a:pt x="6640" y="1381"/>
                    <a:pt x="6533" y="1337"/>
                    <a:pt x="6425" y="1337"/>
                  </a:cubicBezTo>
                  <a:lnTo>
                    <a:pt x="668" y="1336"/>
                  </a:lnTo>
                  <a:cubicBezTo>
                    <a:pt x="298" y="1336"/>
                    <a:pt x="0" y="1038"/>
                    <a:pt x="0" y="668"/>
                  </a:cubicBezTo>
                  <a:cubicBezTo>
                    <a:pt x="0" y="299"/>
                    <a:pt x="298" y="0"/>
                    <a:pt x="668" y="0"/>
                  </a:cubicBezTo>
                  <a:lnTo>
                    <a:pt x="6425" y="0"/>
                  </a:lnTo>
                  <a:cubicBezTo>
                    <a:pt x="6890" y="0"/>
                    <a:pt x="7329" y="181"/>
                    <a:pt x="7659" y="510"/>
                  </a:cubicBezTo>
                  <a:lnTo>
                    <a:pt x="12324" y="5173"/>
                  </a:lnTo>
                  <a:cubicBezTo>
                    <a:pt x="12585" y="5434"/>
                    <a:pt x="12585" y="5857"/>
                    <a:pt x="12324" y="6118"/>
                  </a:cubicBezTo>
                  <a:cubicBezTo>
                    <a:pt x="12193" y="6248"/>
                    <a:pt x="12023" y="6314"/>
                    <a:pt x="11852" y="631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 name="Freeform: Shape 112">
              <a:extLst>
                <a:ext uri="{FF2B5EF4-FFF2-40B4-BE49-F238E27FC236}">
                  <a16:creationId xmlns:a16="http://schemas.microsoft.com/office/drawing/2014/main" id="{936EC1AD-67FD-E701-5F94-29C77F2A1236}"/>
                </a:ext>
              </a:extLst>
            </p:cNvPr>
            <p:cNvSpPr/>
            <p:nvPr/>
          </p:nvSpPr>
          <p:spPr>
            <a:xfrm>
              <a:off x="6071875" y="3429384"/>
              <a:ext cx="12530" cy="6405"/>
            </a:xfrm>
            <a:custGeom>
              <a:avLst/>
              <a:gdLst>
                <a:gd name="connsiteX0" fmla="*/ 6419 w 12530"/>
                <a:gd name="connsiteY0" fmla="*/ 6405 h 6405"/>
                <a:gd name="connsiteX1" fmla="*/ 668 w 12530"/>
                <a:gd name="connsiteY1" fmla="*/ 6405 h 6405"/>
                <a:gd name="connsiteX2" fmla="*/ 0 w 12530"/>
                <a:gd name="connsiteY2" fmla="*/ 5737 h 6405"/>
                <a:gd name="connsiteX3" fmla="*/ 668 w 12530"/>
                <a:gd name="connsiteY3" fmla="*/ 5069 h 6405"/>
                <a:gd name="connsiteX4" fmla="*/ 6419 w 12530"/>
                <a:gd name="connsiteY4" fmla="*/ 5069 h 6405"/>
                <a:gd name="connsiteX5" fmla="*/ 6713 w 12530"/>
                <a:gd name="connsiteY5" fmla="*/ 4945 h 6405"/>
                <a:gd name="connsiteX6" fmla="*/ 11386 w 12530"/>
                <a:gd name="connsiteY6" fmla="*/ 199 h 6405"/>
                <a:gd name="connsiteX7" fmla="*/ 12331 w 12530"/>
                <a:gd name="connsiteY7" fmla="*/ 192 h 6405"/>
                <a:gd name="connsiteX8" fmla="*/ 12338 w 12530"/>
                <a:gd name="connsiteY8" fmla="*/ 1137 h 6405"/>
                <a:gd name="connsiteX9" fmla="*/ 7665 w 12530"/>
                <a:gd name="connsiteY9" fmla="*/ 5884 h 6405"/>
                <a:gd name="connsiteX10" fmla="*/ 6419 w 12530"/>
                <a:gd name="connsiteY10" fmla="*/ 6405 h 6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30" h="6405">
                  <a:moveTo>
                    <a:pt x="6419" y="6405"/>
                  </a:moveTo>
                  <a:lnTo>
                    <a:pt x="668" y="6405"/>
                  </a:lnTo>
                  <a:cubicBezTo>
                    <a:pt x="298" y="6405"/>
                    <a:pt x="0" y="6106"/>
                    <a:pt x="0" y="5737"/>
                  </a:cubicBezTo>
                  <a:cubicBezTo>
                    <a:pt x="0" y="5368"/>
                    <a:pt x="298" y="5069"/>
                    <a:pt x="668" y="5069"/>
                  </a:cubicBezTo>
                  <a:lnTo>
                    <a:pt x="6419" y="5069"/>
                  </a:lnTo>
                  <a:cubicBezTo>
                    <a:pt x="6528" y="5069"/>
                    <a:pt x="6636" y="5024"/>
                    <a:pt x="6713" y="4945"/>
                  </a:cubicBezTo>
                  <a:lnTo>
                    <a:pt x="11386" y="199"/>
                  </a:lnTo>
                  <a:cubicBezTo>
                    <a:pt x="11645" y="-64"/>
                    <a:pt x="12068" y="-67"/>
                    <a:pt x="12331" y="192"/>
                  </a:cubicBezTo>
                  <a:cubicBezTo>
                    <a:pt x="12594" y="451"/>
                    <a:pt x="12597" y="874"/>
                    <a:pt x="12338" y="1137"/>
                  </a:cubicBezTo>
                  <a:lnTo>
                    <a:pt x="7665" y="5884"/>
                  </a:lnTo>
                  <a:cubicBezTo>
                    <a:pt x="7338" y="6215"/>
                    <a:pt x="6883" y="6405"/>
                    <a:pt x="6419" y="640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 name="Freeform: Shape 113">
              <a:extLst>
                <a:ext uri="{FF2B5EF4-FFF2-40B4-BE49-F238E27FC236}">
                  <a16:creationId xmlns:a16="http://schemas.microsoft.com/office/drawing/2014/main" id="{55DB0413-9526-3F99-6295-D4986A83C44F}"/>
                </a:ext>
              </a:extLst>
            </p:cNvPr>
            <p:cNvSpPr/>
            <p:nvPr/>
          </p:nvSpPr>
          <p:spPr>
            <a:xfrm>
              <a:off x="6065992" y="3398566"/>
              <a:ext cx="7219" cy="7219"/>
            </a:xfrm>
            <a:custGeom>
              <a:avLst/>
              <a:gdLst>
                <a:gd name="connsiteX0" fmla="*/ 3609 w 7219"/>
                <a:gd name="connsiteY0" fmla="*/ 1336 h 7219"/>
                <a:gd name="connsiteX1" fmla="*/ 1337 w 7219"/>
                <a:gd name="connsiteY1" fmla="*/ 3610 h 7219"/>
                <a:gd name="connsiteX2" fmla="*/ 3609 w 7219"/>
                <a:gd name="connsiteY2" fmla="*/ 5883 h 7219"/>
                <a:gd name="connsiteX3" fmla="*/ 5883 w 7219"/>
                <a:gd name="connsiteY3" fmla="*/ 3610 h 7219"/>
                <a:gd name="connsiteX4" fmla="*/ 3609 w 7219"/>
                <a:gd name="connsiteY4" fmla="*/ 1336 h 7219"/>
                <a:gd name="connsiteX5" fmla="*/ 3609 w 7219"/>
                <a:gd name="connsiteY5" fmla="*/ 7219 h 7219"/>
                <a:gd name="connsiteX6" fmla="*/ 0 w 7219"/>
                <a:gd name="connsiteY6" fmla="*/ 3610 h 7219"/>
                <a:gd name="connsiteX7" fmla="*/ 3609 w 7219"/>
                <a:gd name="connsiteY7" fmla="*/ 0 h 7219"/>
                <a:gd name="connsiteX8" fmla="*/ 7220 w 7219"/>
                <a:gd name="connsiteY8" fmla="*/ 3610 h 7219"/>
                <a:gd name="connsiteX9" fmla="*/ 3609 w 7219"/>
                <a:gd name="connsiteY9" fmla="*/ 7219 h 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9" h="7219">
                  <a:moveTo>
                    <a:pt x="3609" y="1336"/>
                  </a:moveTo>
                  <a:cubicBezTo>
                    <a:pt x="2356" y="1336"/>
                    <a:pt x="1337" y="2356"/>
                    <a:pt x="1337" y="3610"/>
                  </a:cubicBezTo>
                  <a:cubicBezTo>
                    <a:pt x="1337" y="4863"/>
                    <a:pt x="2356" y="5883"/>
                    <a:pt x="3609" y="5883"/>
                  </a:cubicBezTo>
                  <a:cubicBezTo>
                    <a:pt x="4863" y="5883"/>
                    <a:pt x="5883" y="4863"/>
                    <a:pt x="5883" y="3610"/>
                  </a:cubicBezTo>
                  <a:cubicBezTo>
                    <a:pt x="5883" y="2356"/>
                    <a:pt x="4863" y="1336"/>
                    <a:pt x="3609" y="1336"/>
                  </a:cubicBezTo>
                  <a:close/>
                  <a:moveTo>
                    <a:pt x="3609" y="7219"/>
                  </a:moveTo>
                  <a:cubicBezTo>
                    <a:pt x="1618" y="7219"/>
                    <a:pt x="0" y="5600"/>
                    <a:pt x="0" y="3610"/>
                  </a:cubicBezTo>
                  <a:cubicBezTo>
                    <a:pt x="0" y="1619"/>
                    <a:pt x="1618" y="0"/>
                    <a:pt x="3609" y="0"/>
                  </a:cubicBezTo>
                  <a:cubicBezTo>
                    <a:pt x="5600" y="0"/>
                    <a:pt x="7220" y="1619"/>
                    <a:pt x="7220" y="3610"/>
                  </a:cubicBezTo>
                  <a:cubicBezTo>
                    <a:pt x="7220" y="5600"/>
                    <a:pt x="5600" y="7220"/>
                    <a:pt x="3609" y="721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 name="Freeform: Shape 114">
              <a:extLst>
                <a:ext uri="{FF2B5EF4-FFF2-40B4-BE49-F238E27FC236}">
                  <a16:creationId xmlns:a16="http://schemas.microsoft.com/office/drawing/2014/main" id="{444FC873-466F-E6ED-833C-925C6414E7A9}"/>
                </a:ext>
              </a:extLst>
            </p:cNvPr>
            <p:cNvSpPr/>
            <p:nvPr/>
          </p:nvSpPr>
          <p:spPr>
            <a:xfrm>
              <a:off x="6065992" y="3431512"/>
              <a:ext cx="7219" cy="7219"/>
            </a:xfrm>
            <a:custGeom>
              <a:avLst/>
              <a:gdLst>
                <a:gd name="connsiteX0" fmla="*/ 3609 w 7219"/>
                <a:gd name="connsiteY0" fmla="*/ 1336 h 7219"/>
                <a:gd name="connsiteX1" fmla="*/ 1337 w 7219"/>
                <a:gd name="connsiteY1" fmla="*/ 3610 h 7219"/>
                <a:gd name="connsiteX2" fmla="*/ 3609 w 7219"/>
                <a:gd name="connsiteY2" fmla="*/ 5883 h 7219"/>
                <a:gd name="connsiteX3" fmla="*/ 5883 w 7219"/>
                <a:gd name="connsiteY3" fmla="*/ 3610 h 7219"/>
                <a:gd name="connsiteX4" fmla="*/ 3609 w 7219"/>
                <a:gd name="connsiteY4" fmla="*/ 1336 h 7219"/>
                <a:gd name="connsiteX5" fmla="*/ 3609 w 7219"/>
                <a:gd name="connsiteY5" fmla="*/ 7219 h 7219"/>
                <a:gd name="connsiteX6" fmla="*/ 0 w 7219"/>
                <a:gd name="connsiteY6" fmla="*/ 3610 h 7219"/>
                <a:gd name="connsiteX7" fmla="*/ 3609 w 7219"/>
                <a:gd name="connsiteY7" fmla="*/ 0 h 7219"/>
                <a:gd name="connsiteX8" fmla="*/ 7220 w 7219"/>
                <a:gd name="connsiteY8" fmla="*/ 3610 h 7219"/>
                <a:gd name="connsiteX9" fmla="*/ 3609 w 7219"/>
                <a:gd name="connsiteY9" fmla="*/ 7219 h 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9" h="7219">
                  <a:moveTo>
                    <a:pt x="3609" y="1336"/>
                  </a:moveTo>
                  <a:cubicBezTo>
                    <a:pt x="2356" y="1336"/>
                    <a:pt x="1337" y="2356"/>
                    <a:pt x="1337" y="3610"/>
                  </a:cubicBezTo>
                  <a:cubicBezTo>
                    <a:pt x="1337" y="4863"/>
                    <a:pt x="2356" y="5883"/>
                    <a:pt x="3609" y="5883"/>
                  </a:cubicBezTo>
                  <a:cubicBezTo>
                    <a:pt x="4863" y="5883"/>
                    <a:pt x="5883" y="4863"/>
                    <a:pt x="5883" y="3610"/>
                  </a:cubicBezTo>
                  <a:cubicBezTo>
                    <a:pt x="5883" y="2356"/>
                    <a:pt x="4863" y="1336"/>
                    <a:pt x="3609" y="1336"/>
                  </a:cubicBezTo>
                  <a:close/>
                  <a:moveTo>
                    <a:pt x="3609" y="7219"/>
                  </a:moveTo>
                  <a:cubicBezTo>
                    <a:pt x="1618" y="7219"/>
                    <a:pt x="0" y="5600"/>
                    <a:pt x="0" y="3610"/>
                  </a:cubicBezTo>
                  <a:cubicBezTo>
                    <a:pt x="0" y="1619"/>
                    <a:pt x="1618" y="0"/>
                    <a:pt x="3609" y="0"/>
                  </a:cubicBezTo>
                  <a:cubicBezTo>
                    <a:pt x="5600" y="0"/>
                    <a:pt x="7220" y="1619"/>
                    <a:pt x="7220" y="3610"/>
                  </a:cubicBezTo>
                  <a:cubicBezTo>
                    <a:pt x="7220" y="5600"/>
                    <a:pt x="5600" y="7219"/>
                    <a:pt x="3609" y="721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 name="Freeform: Shape 115">
              <a:extLst>
                <a:ext uri="{FF2B5EF4-FFF2-40B4-BE49-F238E27FC236}">
                  <a16:creationId xmlns:a16="http://schemas.microsoft.com/office/drawing/2014/main" id="{958FE6CC-20F7-5E6F-F1AC-EEDDDE19AF11}"/>
                </a:ext>
              </a:extLst>
            </p:cNvPr>
            <p:cNvSpPr/>
            <p:nvPr/>
          </p:nvSpPr>
          <p:spPr>
            <a:xfrm>
              <a:off x="6072110" y="3417929"/>
              <a:ext cx="7544" cy="1336"/>
            </a:xfrm>
            <a:custGeom>
              <a:avLst/>
              <a:gdLst>
                <a:gd name="connsiteX0" fmla="*/ 6876 w 7544"/>
                <a:gd name="connsiteY0" fmla="*/ 1336 h 1336"/>
                <a:gd name="connsiteX1" fmla="*/ 668 w 7544"/>
                <a:gd name="connsiteY1" fmla="*/ 1336 h 1336"/>
                <a:gd name="connsiteX2" fmla="*/ 0 w 7544"/>
                <a:gd name="connsiteY2" fmla="*/ 668 h 1336"/>
                <a:gd name="connsiteX3" fmla="*/ 668 w 7544"/>
                <a:gd name="connsiteY3" fmla="*/ 0 h 1336"/>
                <a:gd name="connsiteX4" fmla="*/ 6876 w 7544"/>
                <a:gd name="connsiteY4" fmla="*/ 0 h 1336"/>
                <a:gd name="connsiteX5" fmla="*/ 7545 w 7544"/>
                <a:gd name="connsiteY5" fmla="*/ 668 h 1336"/>
                <a:gd name="connsiteX6" fmla="*/ 6876 w 7544"/>
                <a:gd name="connsiteY6" fmla="*/ 1336 h 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44" h="1336">
                  <a:moveTo>
                    <a:pt x="6876" y="1336"/>
                  </a:moveTo>
                  <a:lnTo>
                    <a:pt x="668" y="1336"/>
                  </a:lnTo>
                  <a:cubicBezTo>
                    <a:pt x="299" y="1336"/>
                    <a:pt x="0" y="1037"/>
                    <a:pt x="0" y="668"/>
                  </a:cubicBezTo>
                  <a:cubicBezTo>
                    <a:pt x="0" y="299"/>
                    <a:pt x="299" y="0"/>
                    <a:pt x="668" y="0"/>
                  </a:cubicBezTo>
                  <a:lnTo>
                    <a:pt x="6876" y="0"/>
                  </a:lnTo>
                  <a:cubicBezTo>
                    <a:pt x="7245" y="0"/>
                    <a:pt x="7545" y="299"/>
                    <a:pt x="7545" y="668"/>
                  </a:cubicBezTo>
                  <a:cubicBezTo>
                    <a:pt x="7545" y="1037"/>
                    <a:pt x="7245" y="1336"/>
                    <a:pt x="6876" y="13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 name="Freeform: Shape 116">
              <a:extLst>
                <a:ext uri="{FF2B5EF4-FFF2-40B4-BE49-F238E27FC236}">
                  <a16:creationId xmlns:a16="http://schemas.microsoft.com/office/drawing/2014/main" id="{E3C3588D-3E08-8BE5-BCBF-C5B0E6F66787}"/>
                </a:ext>
              </a:extLst>
            </p:cNvPr>
            <p:cNvSpPr/>
            <p:nvPr/>
          </p:nvSpPr>
          <p:spPr>
            <a:xfrm>
              <a:off x="6066226" y="3414987"/>
              <a:ext cx="7219" cy="7219"/>
            </a:xfrm>
            <a:custGeom>
              <a:avLst/>
              <a:gdLst>
                <a:gd name="connsiteX0" fmla="*/ 3609 w 7219"/>
                <a:gd name="connsiteY0" fmla="*/ 1336 h 7219"/>
                <a:gd name="connsiteX1" fmla="*/ 1337 w 7219"/>
                <a:gd name="connsiteY1" fmla="*/ 3610 h 7219"/>
                <a:gd name="connsiteX2" fmla="*/ 3609 w 7219"/>
                <a:gd name="connsiteY2" fmla="*/ 5883 h 7219"/>
                <a:gd name="connsiteX3" fmla="*/ 5883 w 7219"/>
                <a:gd name="connsiteY3" fmla="*/ 3610 h 7219"/>
                <a:gd name="connsiteX4" fmla="*/ 3609 w 7219"/>
                <a:gd name="connsiteY4" fmla="*/ 1336 h 7219"/>
                <a:gd name="connsiteX5" fmla="*/ 3609 w 7219"/>
                <a:gd name="connsiteY5" fmla="*/ 7219 h 7219"/>
                <a:gd name="connsiteX6" fmla="*/ 0 w 7219"/>
                <a:gd name="connsiteY6" fmla="*/ 3610 h 7219"/>
                <a:gd name="connsiteX7" fmla="*/ 3609 w 7219"/>
                <a:gd name="connsiteY7" fmla="*/ 0 h 7219"/>
                <a:gd name="connsiteX8" fmla="*/ 7220 w 7219"/>
                <a:gd name="connsiteY8" fmla="*/ 3610 h 7219"/>
                <a:gd name="connsiteX9" fmla="*/ 3609 w 7219"/>
                <a:gd name="connsiteY9" fmla="*/ 7219 h 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9" h="7219">
                  <a:moveTo>
                    <a:pt x="3609" y="1336"/>
                  </a:moveTo>
                  <a:cubicBezTo>
                    <a:pt x="2357" y="1336"/>
                    <a:pt x="1337" y="2356"/>
                    <a:pt x="1337" y="3610"/>
                  </a:cubicBezTo>
                  <a:cubicBezTo>
                    <a:pt x="1337" y="4863"/>
                    <a:pt x="2356" y="5883"/>
                    <a:pt x="3609" y="5883"/>
                  </a:cubicBezTo>
                  <a:cubicBezTo>
                    <a:pt x="4863" y="5883"/>
                    <a:pt x="5883" y="4863"/>
                    <a:pt x="5883" y="3610"/>
                  </a:cubicBezTo>
                  <a:cubicBezTo>
                    <a:pt x="5883" y="2356"/>
                    <a:pt x="4863" y="1336"/>
                    <a:pt x="3609" y="1336"/>
                  </a:cubicBezTo>
                  <a:close/>
                  <a:moveTo>
                    <a:pt x="3609" y="7219"/>
                  </a:moveTo>
                  <a:cubicBezTo>
                    <a:pt x="1620" y="7219"/>
                    <a:pt x="0" y="5600"/>
                    <a:pt x="0" y="3610"/>
                  </a:cubicBezTo>
                  <a:cubicBezTo>
                    <a:pt x="0" y="1619"/>
                    <a:pt x="1620" y="0"/>
                    <a:pt x="3609" y="0"/>
                  </a:cubicBezTo>
                  <a:cubicBezTo>
                    <a:pt x="5600" y="0"/>
                    <a:pt x="7220" y="1619"/>
                    <a:pt x="7220" y="3610"/>
                  </a:cubicBezTo>
                  <a:cubicBezTo>
                    <a:pt x="7220" y="5600"/>
                    <a:pt x="5600" y="7220"/>
                    <a:pt x="3609" y="721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 name="Freeform: Shape 117">
              <a:extLst>
                <a:ext uri="{FF2B5EF4-FFF2-40B4-BE49-F238E27FC236}">
                  <a16:creationId xmlns:a16="http://schemas.microsoft.com/office/drawing/2014/main" id="{764FD30E-1800-339B-A243-2220539FBC1A}"/>
                </a:ext>
              </a:extLst>
            </p:cNvPr>
            <p:cNvSpPr/>
            <p:nvPr/>
          </p:nvSpPr>
          <p:spPr>
            <a:xfrm>
              <a:off x="6105952" y="3401507"/>
              <a:ext cx="12520" cy="6313"/>
            </a:xfrm>
            <a:custGeom>
              <a:avLst/>
              <a:gdLst>
                <a:gd name="connsiteX0" fmla="*/ 668 w 12520"/>
                <a:gd name="connsiteY0" fmla="*/ 6314 h 6313"/>
                <a:gd name="connsiteX1" fmla="*/ 196 w 12520"/>
                <a:gd name="connsiteY1" fmla="*/ 6118 h 6313"/>
                <a:gd name="connsiteX2" fmla="*/ 196 w 12520"/>
                <a:gd name="connsiteY2" fmla="*/ 5173 h 6313"/>
                <a:gd name="connsiteX3" fmla="*/ 4859 w 12520"/>
                <a:gd name="connsiteY3" fmla="*/ 511 h 6313"/>
                <a:gd name="connsiteX4" fmla="*/ 6095 w 12520"/>
                <a:gd name="connsiteY4" fmla="*/ 0 h 6313"/>
                <a:gd name="connsiteX5" fmla="*/ 11852 w 12520"/>
                <a:gd name="connsiteY5" fmla="*/ 0 h 6313"/>
                <a:gd name="connsiteX6" fmla="*/ 12520 w 12520"/>
                <a:gd name="connsiteY6" fmla="*/ 668 h 6313"/>
                <a:gd name="connsiteX7" fmla="*/ 11852 w 12520"/>
                <a:gd name="connsiteY7" fmla="*/ 1337 h 6313"/>
                <a:gd name="connsiteX8" fmla="*/ 6095 w 12520"/>
                <a:gd name="connsiteY8" fmla="*/ 1337 h 6313"/>
                <a:gd name="connsiteX9" fmla="*/ 5804 w 12520"/>
                <a:gd name="connsiteY9" fmla="*/ 1457 h 6313"/>
                <a:gd name="connsiteX10" fmla="*/ 1140 w 12520"/>
                <a:gd name="connsiteY10" fmla="*/ 6118 h 6313"/>
                <a:gd name="connsiteX11" fmla="*/ 668 w 12520"/>
                <a:gd name="connsiteY11" fmla="*/ 6314 h 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20" h="6313">
                  <a:moveTo>
                    <a:pt x="668" y="6314"/>
                  </a:moveTo>
                  <a:cubicBezTo>
                    <a:pt x="498" y="6314"/>
                    <a:pt x="326" y="6249"/>
                    <a:pt x="196" y="6118"/>
                  </a:cubicBezTo>
                  <a:cubicBezTo>
                    <a:pt x="-65" y="5857"/>
                    <a:pt x="-65" y="5434"/>
                    <a:pt x="196" y="5173"/>
                  </a:cubicBezTo>
                  <a:lnTo>
                    <a:pt x="4859" y="511"/>
                  </a:lnTo>
                  <a:cubicBezTo>
                    <a:pt x="5188" y="182"/>
                    <a:pt x="5628" y="0"/>
                    <a:pt x="6095" y="0"/>
                  </a:cubicBezTo>
                  <a:lnTo>
                    <a:pt x="11852" y="0"/>
                  </a:lnTo>
                  <a:cubicBezTo>
                    <a:pt x="12221" y="0"/>
                    <a:pt x="12520" y="299"/>
                    <a:pt x="12520" y="668"/>
                  </a:cubicBezTo>
                  <a:cubicBezTo>
                    <a:pt x="12520" y="1037"/>
                    <a:pt x="12221" y="1337"/>
                    <a:pt x="11852" y="1337"/>
                  </a:cubicBezTo>
                  <a:lnTo>
                    <a:pt x="6095" y="1337"/>
                  </a:lnTo>
                  <a:cubicBezTo>
                    <a:pt x="5984" y="1337"/>
                    <a:pt x="5881" y="1379"/>
                    <a:pt x="5804" y="1457"/>
                  </a:cubicBezTo>
                  <a:lnTo>
                    <a:pt x="1140" y="6118"/>
                  </a:lnTo>
                  <a:cubicBezTo>
                    <a:pt x="1010" y="6249"/>
                    <a:pt x="840" y="6314"/>
                    <a:pt x="668" y="631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 name="Freeform: Shape 118">
              <a:extLst>
                <a:ext uri="{FF2B5EF4-FFF2-40B4-BE49-F238E27FC236}">
                  <a16:creationId xmlns:a16="http://schemas.microsoft.com/office/drawing/2014/main" id="{D80EFC16-CED3-F848-4133-0BE85F272EE2}"/>
                </a:ext>
              </a:extLst>
            </p:cNvPr>
            <p:cNvSpPr/>
            <p:nvPr/>
          </p:nvSpPr>
          <p:spPr>
            <a:xfrm>
              <a:off x="6105939" y="3429384"/>
              <a:ext cx="12531" cy="6405"/>
            </a:xfrm>
            <a:custGeom>
              <a:avLst/>
              <a:gdLst>
                <a:gd name="connsiteX0" fmla="*/ 11863 w 12531"/>
                <a:gd name="connsiteY0" fmla="*/ 6405 h 6405"/>
                <a:gd name="connsiteX1" fmla="*/ 6111 w 12531"/>
                <a:gd name="connsiteY1" fmla="*/ 6405 h 6405"/>
                <a:gd name="connsiteX2" fmla="*/ 4866 w 12531"/>
                <a:gd name="connsiteY2" fmla="*/ 5884 h 6405"/>
                <a:gd name="connsiteX3" fmla="*/ 192 w 12531"/>
                <a:gd name="connsiteY3" fmla="*/ 1137 h 6405"/>
                <a:gd name="connsiteX4" fmla="*/ 200 w 12531"/>
                <a:gd name="connsiteY4" fmla="*/ 192 h 6405"/>
                <a:gd name="connsiteX5" fmla="*/ 1144 w 12531"/>
                <a:gd name="connsiteY5" fmla="*/ 199 h 6405"/>
                <a:gd name="connsiteX6" fmla="*/ 5819 w 12531"/>
                <a:gd name="connsiteY6" fmla="*/ 4946 h 6405"/>
                <a:gd name="connsiteX7" fmla="*/ 6111 w 12531"/>
                <a:gd name="connsiteY7" fmla="*/ 5069 h 6405"/>
                <a:gd name="connsiteX8" fmla="*/ 11863 w 12531"/>
                <a:gd name="connsiteY8" fmla="*/ 5069 h 6405"/>
                <a:gd name="connsiteX9" fmla="*/ 12531 w 12531"/>
                <a:gd name="connsiteY9" fmla="*/ 5737 h 6405"/>
                <a:gd name="connsiteX10" fmla="*/ 11863 w 12531"/>
                <a:gd name="connsiteY10" fmla="*/ 6405 h 6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31" h="6405">
                  <a:moveTo>
                    <a:pt x="11863" y="6405"/>
                  </a:moveTo>
                  <a:lnTo>
                    <a:pt x="6111" y="6405"/>
                  </a:lnTo>
                  <a:cubicBezTo>
                    <a:pt x="5647" y="6405"/>
                    <a:pt x="5193" y="6215"/>
                    <a:pt x="4866" y="5884"/>
                  </a:cubicBezTo>
                  <a:lnTo>
                    <a:pt x="192" y="1137"/>
                  </a:lnTo>
                  <a:cubicBezTo>
                    <a:pt x="-67" y="874"/>
                    <a:pt x="-64" y="451"/>
                    <a:pt x="200" y="192"/>
                  </a:cubicBezTo>
                  <a:cubicBezTo>
                    <a:pt x="462" y="-67"/>
                    <a:pt x="885" y="-64"/>
                    <a:pt x="1144" y="199"/>
                  </a:cubicBezTo>
                  <a:lnTo>
                    <a:pt x="5819" y="4946"/>
                  </a:lnTo>
                  <a:cubicBezTo>
                    <a:pt x="5895" y="5024"/>
                    <a:pt x="6002" y="5069"/>
                    <a:pt x="6111" y="5069"/>
                  </a:cubicBezTo>
                  <a:lnTo>
                    <a:pt x="11863" y="5069"/>
                  </a:lnTo>
                  <a:cubicBezTo>
                    <a:pt x="12232" y="5069"/>
                    <a:pt x="12531" y="5368"/>
                    <a:pt x="12531" y="5737"/>
                  </a:cubicBezTo>
                  <a:cubicBezTo>
                    <a:pt x="12531" y="6106"/>
                    <a:pt x="12232" y="6405"/>
                    <a:pt x="11863" y="640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 name="Freeform: Shape 119">
              <a:extLst>
                <a:ext uri="{FF2B5EF4-FFF2-40B4-BE49-F238E27FC236}">
                  <a16:creationId xmlns:a16="http://schemas.microsoft.com/office/drawing/2014/main" id="{954481D8-2C57-0138-794B-80D3A94FBE3A}"/>
                </a:ext>
              </a:extLst>
            </p:cNvPr>
            <p:cNvSpPr/>
            <p:nvPr/>
          </p:nvSpPr>
          <p:spPr>
            <a:xfrm>
              <a:off x="6117135" y="3398566"/>
              <a:ext cx="7219" cy="7219"/>
            </a:xfrm>
            <a:custGeom>
              <a:avLst/>
              <a:gdLst>
                <a:gd name="connsiteX0" fmla="*/ 3611 w 7219"/>
                <a:gd name="connsiteY0" fmla="*/ 1336 h 7219"/>
                <a:gd name="connsiteX1" fmla="*/ 1337 w 7219"/>
                <a:gd name="connsiteY1" fmla="*/ 3610 h 7219"/>
                <a:gd name="connsiteX2" fmla="*/ 3610 w 7219"/>
                <a:gd name="connsiteY2" fmla="*/ 5883 h 7219"/>
                <a:gd name="connsiteX3" fmla="*/ 5883 w 7219"/>
                <a:gd name="connsiteY3" fmla="*/ 3610 h 7219"/>
                <a:gd name="connsiteX4" fmla="*/ 3611 w 7219"/>
                <a:gd name="connsiteY4" fmla="*/ 1336 h 7219"/>
                <a:gd name="connsiteX5" fmla="*/ 3611 w 7219"/>
                <a:gd name="connsiteY5" fmla="*/ 7219 h 7219"/>
                <a:gd name="connsiteX6" fmla="*/ 0 w 7219"/>
                <a:gd name="connsiteY6" fmla="*/ 3610 h 7219"/>
                <a:gd name="connsiteX7" fmla="*/ 3610 w 7219"/>
                <a:gd name="connsiteY7" fmla="*/ 0 h 7219"/>
                <a:gd name="connsiteX8" fmla="*/ 7220 w 7219"/>
                <a:gd name="connsiteY8" fmla="*/ 3610 h 7219"/>
                <a:gd name="connsiteX9" fmla="*/ 3611 w 7219"/>
                <a:gd name="connsiteY9" fmla="*/ 7219 h 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9" h="7219">
                  <a:moveTo>
                    <a:pt x="3611" y="1336"/>
                  </a:moveTo>
                  <a:cubicBezTo>
                    <a:pt x="2356" y="1336"/>
                    <a:pt x="1337" y="2356"/>
                    <a:pt x="1337" y="3610"/>
                  </a:cubicBezTo>
                  <a:cubicBezTo>
                    <a:pt x="1337" y="4863"/>
                    <a:pt x="2356" y="5883"/>
                    <a:pt x="3610" y="5883"/>
                  </a:cubicBezTo>
                  <a:cubicBezTo>
                    <a:pt x="4864" y="5883"/>
                    <a:pt x="5883" y="4863"/>
                    <a:pt x="5883" y="3610"/>
                  </a:cubicBezTo>
                  <a:cubicBezTo>
                    <a:pt x="5883" y="2356"/>
                    <a:pt x="4863" y="1336"/>
                    <a:pt x="3611" y="1336"/>
                  </a:cubicBezTo>
                  <a:close/>
                  <a:moveTo>
                    <a:pt x="3611" y="7219"/>
                  </a:moveTo>
                  <a:cubicBezTo>
                    <a:pt x="1620" y="7219"/>
                    <a:pt x="0" y="5600"/>
                    <a:pt x="0" y="3610"/>
                  </a:cubicBezTo>
                  <a:cubicBezTo>
                    <a:pt x="0" y="1619"/>
                    <a:pt x="1620" y="0"/>
                    <a:pt x="3610" y="0"/>
                  </a:cubicBezTo>
                  <a:cubicBezTo>
                    <a:pt x="5600" y="0"/>
                    <a:pt x="7220" y="1619"/>
                    <a:pt x="7220" y="3610"/>
                  </a:cubicBezTo>
                  <a:cubicBezTo>
                    <a:pt x="7220" y="5600"/>
                    <a:pt x="5600" y="7220"/>
                    <a:pt x="3611" y="721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 name="Freeform: Shape 120">
              <a:extLst>
                <a:ext uri="{FF2B5EF4-FFF2-40B4-BE49-F238E27FC236}">
                  <a16:creationId xmlns:a16="http://schemas.microsoft.com/office/drawing/2014/main" id="{3D981847-13E2-17D4-D3F4-2E247EB87897}"/>
                </a:ext>
              </a:extLst>
            </p:cNvPr>
            <p:cNvSpPr/>
            <p:nvPr/>
          </p:nvSpPr>
          <p:spPr>
            <a:xfrm>
              <a:off x="6117135" y="3431512"/>
              <a:ext cx="7219" cy="7219"/>
            </a:xfrm>
            <a:custGeom>
              <a:avLst/>
              <a:gdLst>
                <a:gd name="connsiteX0" fmla="*/ 3611 w 7219"/>
                <a:gd name="connsiteY0" fmla="*/ 1336 h 7219"/>
                <a:gd name="connsiteX1" fmla="*/ 1337 w 7219"/>
                <a:gd name="connsiteY1" fmla="*/ 3610 h 7219"/>
                <a:gd name="connsiteX2" fmla="*/ 3610 w 7219"/>
                <a:gd name="connsiteY2" fmla="*/ 5883 h 7219"/>
                <a:gd name="connsiteX3" fmla="*/ 5883 w 7219"/>
                <a:gd name="connsiteY3" fmla="*/ 3610 h 7219"/>
                <a:gd name="connsiteX4" fmla="*/ 3611 w 7219"/>
                <a:gd name="connsiteY4" fmla="*/ 1336 h 7219"/>
                <a:gd name="connsiteX5" fmla="*/ 3611 w 7219"/>
                <a:gd name="connsiteY5" fmla="*/ 7219 h 7219"/>
                <a:gd name="connsiteX6" fmla="*/ 0 w 7219"/>
                <a:gd name="connsiteY6" fmla="*/ 3610 h 7219"/>
                <a:gd name="connsiteX7" fmla="*/ 3610 w 7219"/>
                <a:gd name="connsiteY7" fmla="*/ 0 h 7219"/>
                <a:gd name="connsiteX8" fmla="*/ 7220 w 7219"/>
                <a:gd name="connsiteY8" fmla="*/ 3610 h 7219"/>
                <a:gd name="connsiteX9" fmla="*/ 3611 w 7219"/>
                <a:gd name="connsiteY9" fmla="*/ 7219 h 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9" h="7219">
                  <a:moveTo>
                    <a:pt x="3611" y="1336"/>
                  </a:moveTo>
                  <a:cubicBezTo>
                    <a:pt x="2356" y="1336"/>
                    <a:pt x="1337" y="2356"/>
                    <a:pt x="1337" y="3610"/>
                  </a:cubicBezTo>
                  <a:cubicBezTo>
                    <a:pt x="1337" y="4863"/>
                    <a:pt x="2356" y="5883"/>
                    <a:pt x="3610" y="5883"/>
                  </a:cubicBezTo>
                  <a:cubicBezTo>
                    <a:pt x="4864" y="5883"/>
                    <a:pt x="5883" y="4863"/>
                    <a:pt x="5883" y="3610"/>
                  </a:cubicBezTo>
                  <a:cubicBezTo>
                    <a:pt x="5883" y="2356"/>
                    <a:pt x="4863" y="1336"/>
                    <a:pt x="3611" y="1336"/>
                  </a:cubicBezTo>
                  <a:close/>
                  <a:moveTo>
                    <a:pt x="3611" y="7219"/>
                  </a:moveTo>
                  <a:cubicBezTo>
                    <a:pt x="1620" y="7219"/>
                    <a:pt x="0" y="5600"/>
                    <a:pt x="0" y="3610"/>
                  </a:cubicBezTo>
                  <a:cubicBezTo>
                    <a:pt x="0" y="1619"/>
                    <a:pt x="1620" y="0"/>
                    <a:pt x="3610" y="0"/>
                  </a:cubicBezTo>
                  <a:cubicBezTo>
                    <a:pt x="5600" y="0"/>
                    <a:pt x="7220" y="1619"/>
                    <a:pt x="7220" y="3610"/>
                  </a:cubicBezTo>
                  <a:cubicBezTo>
                    <a:pt x="7220" y="5600"/>
                    <a:pt x="5600" y="7219"/>
                    <a:pt x="3611" y="721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 name="Freeform: Shape 121">
              <a:extLst>
                <a:ext uri="{FF2B5EF4-FFF2-40B4-BE49-F238E27FC236}">
                  <a16:creationId xmlns:a16="http://schemas.microsoft.com/office/drawing/2014/main" id="{469016D5-20C4-290A-6DA6-6AA809B19DF5}"/>
                </a:ext>
              </a:extLst>
            </p:cNvPr>
            <p:cNvSpPr/>
            <p:nvPr/>
          </p:nvSpPr>
          <p:spPr>
            <a:xfrm>
              <a:off x="6110693" y="3417929"/>
              <a:ext cx="7544" cy="1336"/>
            </a:xfrm>
            <a:custGeom>
              <a:avLst/>
              <a:gdLst>
                <a:gd name="connsiteX0" fmla="*/ 6876 w 7544"/>
                <a:gd name="connsiteY0" fmla="*/ 1336 h 1336"/>
                <a:gd name="connsiteX1" fmla="*/ 668 w 7544"/>
                <a:gd name="connsiteY1" fmla="*/ 1336 h 1336"/>
                <a:gd name="connsiteX2" fmla="*/ 0 w 7544"/>
                <a:gd name="connsiteY2" fmla="*/ 668 h 1336"/>
                <a:gd name="connsiteX3" fmla="*/ 668 w 7544"/>
                <a:gd name="connsiteY3" fmla="*/ 0 h 1336"/>
                <a:gd name="connsiteX4" fmla="*/ 6876 w 7544"/>
                <a:gd name="connsiteY4" fmla="*/ 0 h 1336"/>
                <a:gd name="connsiteX5" fmla="*/ 7545 w 7544"/>
                <a:gd name="connsiteY5" fmla="*/ 668 h 1336"/>
                <a:gd name="connsiteX6" fmla="*/ 6876 w 7544"/>
                <a:gd name="connsiteY6" fmla="*/ 1336 h 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44" h="1336">
                  <a:moveTo>
                    <a:pt x="6876" y="1336"/>
                  </a:moveTo>
                  <a:lnTo>
                    <a:pt x="668" y="1336"/>
                  </a:lnTo>
                  <a:cubicBezTo>
                    <a:pt x="299" y="1336"/>
                    <a:pt x="0" y="1037"/>
                    <a:pt x="0" y="668"/>
                  </a:cubicBezTo>
                  <a:cubicBezTo>
                    <a:pt x="0" y="299"/>
                    <a:pt x="299" y="0"/>
                    <a:pt x="668" y="0"/>
                  </a:cubicBezTo>
                  <a:lnTo>
                    <a:pt x="6876" y="0"/>
                  </a:lnTo>
                  <a:cubicBezTo>
                    <a:pt x="7245" y="0"/>
                    <a:pt x="7545" y="299"/>
                    <a:pt x="7545" y="668"/>
                  </a:cubicBezTo>
                  <a:cubicBezTo>
                    <a:pt x="7545" y="1037"/>
                    <a:pt x="7245" y="1336"/>
                    <a:pt x="6876" y="13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 name="Freeform: Shape 122">
              <a:extLst>
                <a:ext uri="{FF2B5EF4-FFF2-40B4-BE49-F238E27FC236}">
                  <a16:creationId xmlns:a16="http://schemas.microsoft.com/office/drawing/2014/main" id="{9386B927-6B12-4947-8092-D008BCEF4D82}"/>
                </a:ext>
              </a:extLst>
            </p:cNvPr>
            <p:cNvSpPr/>
            <p:nvPr/>
          </p:nvSpPr>
          <p:spPr>
            <a:xfrm>
              <a:off x="6116901" y="3414987"/>
              <a:ext cx="7219" cy="7219"/>
            </a:xfrm>
            <a:custGeom>
              <a:avLst/>
              <a:gdLst>
                <a:gd name="connsiteX0" fmla="*/ 3609 w 7219"/>
                <a:gd name="connsiteY0" fmla="*/ 1336 h 7219"/>
                <a:gd name="connsiteX1" fmla="*/ 1337 w 7219"/>
                <a:gd name="connsiteY1" fmla="*/ 3610 h 7219"/>
                <a:gd name="connsiteX2" fmla="*/ 3609 w 7219"/>
                <a:gd name="connsiteY2" fmla="*/ 5883 h 7219"/>
                <a:gd name="connsiteX3" fmla="*/ 5883 w 7219"/>
                <a:gd name="connsiteY3" fmla="*/ 3610 h 7219"/>
                <a:gd name="connsiteX4" fmla="*/ 3609 w 7219"/>
                <a:gd name="connsiteY4" fmla="*/ 1336 h 7219"/>
                <a:gd name="connsiteX5" fmla="*/ 3609 w 7219"/>
                <a:gd name="connsiteY5" fmla="*/ 7219 h 7219"/>
                <a:gd name="connsiteX6" fmla="*/ 0 w 7219"/>
                <a:gd name="connsiteY6" fmla="*/ 3610 h 7219"/>
                <a:gd name="connsiteX7" fmla="*/ 3609 w 7219"/>
                <a:gd name="connsiteY7" fmla="*/ 0 h 7219"/>
                <a:gd name="connsiteX8" fmla="*/ 7220 w 7219"/>
                <a:gd name="connsiteY8" fmla="*/ 3610 h 7219"/>
                <a:gd name="connsiteX9" fmla="*/ 3609 w 7219"/>
                <a:gd name="connsiteY9" fmla="*/ 7219 h 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9" h="7219">
                  <a:moveTo>
                    <a:pt x="3609" y="1336"/>
                  </a:moveTo>
                  <a:cubicBezTo>
                    <a:pt x="2357" y="1336"/>
                    <a:pt x="1337" y="2356"/>
                    <a:pt x="1337" y="3610"/>
                  </a:cubicBezTo>
                  <a:cubicBezTo>
                    <a:pt x="1337" y="4863"/>
                    <a:pt x="2356" y="5883"/>
                    <a:pt x="3609" y="5883"/>
                  </a:cubicBezTo>
                  <a:cubicBezTo>
                    <a:pt x="4863" y="5883"/>
                    <a:pt x="5883" y="4863"/>
                    <a:pt x="5883" y="3610"/>
                  </a:cubicBezTo>
                  <a:cubicBezTo>
                    <a:pt x="5883" y="2356"/>
                    <a:pt x="4863" y="1336"/>
                    <a:pt x="3609" y="1336"/>
                  </a:cubicBezTo>
                  <a:close/>
                  <a:moveTo>
                    <a:pt x="3609" y="7219"/>
                  </a:moveTo>
                  <a:cubicBezTo>
                    <a:pt x="1620" y="7219"/>
                    <a:pt x="0" y="5600"/>
                    <a:pt x="0" y="3610"/>
                  </a:cubicBezTo>
                  <a:cubicBezTo>
                    <a:pt x="0" y="1619"/>
                    <a:pt x="1620" y="0"/>
                    <a:pt x="3609" y="0"/>
                  </a:cubicBezTo>
                  <a:cubicBezTo>
                    <a:pt x="5600" y="0"/>
                    <a:pt x="7220" y="1619"/>
                    <a:pt x="7220" y="3610"/>
                  </a:cubicBezTo>
                  <a:cubicBezTo>
                    <a:pt x="7220" y="5600"/>
                    <a:pt x="5600" y="7220"/>
                    <a:pt x="3609" y="721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pic>
        <p:nvPicPr>
          <p:cNvPr id="124" name="Graphic 123">
            <a:extLst>
              <a:ext uri="{FF2B5EF4-FFF2-40B4-BE49-F238E27FC236}">
                <a16:creationId xmlns:a16="http://schemas.microsoft.com/office/drawing/2014/main" id="{9913873B-E11F-1EB1-4211-11249046F16F}"/>
              </a:ext>
            </a:extLst>
          </p:cNvPr>
          <p:cNvPicPr>
            <a:picLocks noChangeAspect="1"/>
          </p:cNvPicPr>
          <p:nvPr/>
        </p:nvPicPr>
        <p:blipFill>
          <a:blip>
            <a:extLst>
              <a:ext uri="{96DAC541-7B7A-43D3-8B79-37D633B846F1}">
                <asvg:svgBlip xmlns:asvg="http://schemas.microsoft.com/office/drawing/2016/SVG/main" r:embed="rId9"/>
              </a:ext>
            </a:extLst>
          </a:blip>
          <a:srcRect b="13644"/>
          <a:stretch>
            <a:fillRect/>
          </a:stretch>
        </p:blipFill>
        <p:spPr>
          <a:xfrm>
            <a:off x="6488664" y="4758019"/>
            <a:ext cx="352208" cy="374628"/>
          </a:xfrm>
          <a:prstGeom prst="rect">
            <a:avLst/>
          </a:prstGeom>
        </p:spPr>
      </p:pic>
      <p:sp>
        <p:nvSpPr>
          <p:cNvPr id="3" name="Rectangle 2">
            <a:extLst>
              <a:ext uri="{FF2B5EF4-FFF2-40B4-BE49-F238E27FC236}">
                <a16:creationId xmlns:a16="http://schemas.microsoft.com/office/drawing/2014/main" id="{CD6BBE5A-D7CC-0C8C-8C6B-F0ED1DB2E7FB}"/>
              </a:ext>
            </a:extLst>
          </p:cNvPr>
          <p:cNvSpPr>
            <a:spLocks/>
          </p:cNvSpPr>
          <p:nvPr/>
        </p:nvSpPr>
        <p:spPr>
          <a:xfrm>
            <a:off x="415595" y="1000700"/>
            <a:ext cx="4148170" cy="33823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561" rIns="0" bIns="45561"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Customer Challenges</a:t>
            </a:r>
          </a:p>
        </p:txBody>
      </p:sp>
      <p:sp>
        <p:nvSpPr>
          <p:cNvPr id="5" name="Rectangle 4">
            <a:extLst>
              <a:ext uri="{FF2B5EF4-FFF2-40B4-BE49-F238E27FC236}">
                <a16:creationId xmlns:a16="http://schemas.microsoft.com/office/drawing/2014/main" id="{4EBA506A-1C1C-DC4E-3C59-CE0A27988517}"/>
              </a:ext>
            </a:extLst>
          </p:cNvPr>
          <p:cNvSpPr>
            <a:spLocks/>
          </p:cNvSpPr>
          <p:nvPr/>
        </p:nvSpPr>
        <p:spPr>
          <a:xfrm>
            <a:off x="6283324" y="1000700"/>
            <a:ext cx="4148170" cy="33823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561" rIns="0" bIns="45561"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Commvault Cloud Capability</a:t>
            </a:r>
          </a:p>
        </p:txBody>
      </p:sp>
    </p:spTree>
    <p:extLst>
      <p:ext uri="{BB962C8B-B14F-4D97-AF65-F5344CB8AC3E}">
        <p14:creationId xmlns:p14="http://schemas.microsoft.com/office/powerpoint/2010/main" val="33833281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E6CCA8-CFA6-918D-0C3C-AD584DE497AA}"/>
              </a:ext>
            </a:extLst>
          </p:cNvPr>
          <p:cNvSpPr>
            <a:spLocks noGrp="1"/>
          </p:cNvSpPr>
          <p:nvPr>
            <p:ph type="title"/>
          </p:nvPr>
        </p:nvSpPr>
        <p:spPr/>
        <p:txBody>
          <a:bodyPr/>
          <a:lstStyle/>
          <a:p>
            <a:r>
              <a:rPr lang="en-US"/>
              <a:t>Cyber Resilience</a:t>
            </a:r>
          </a:p>
        </p:txBody>
      </p:sp>
      <p:sp>
        <p:nvSpPr>
          <p:cNvPr id="5" name="Text Placeholder 4">
            <a:extLst>
              <a:ext uri="{FF2B5EF4-FFF2-40B4-BE49-F238E27FC236}">
                <a16:creationId xmlns:a16="http://schemas.microsoft.com/office/drawing/2014/main" id="{381B961D-3DB4-8A5F-17E8-99DD2E0D3C36}"/>
              </a:ext>
            </a:extLst>
          </p:cNvPr>
          <p:cNvSpPr>
            <a:spLocks noGrp="1"/>
          </p:cNvSpPr>
          <p:nvPr>
            <p:ph type="body" sz="quarter" idx="23"/>
          </p:nvPr>
        </p:nvSpPr>
        <p:spPr/>
        <p:txBody>
          <a:bodyPr/>
          <a:lstStyle/>
          <a:p>
            <a:endParaRPr lang="en-US"/>
          </a:p>
        </p:txBody>
      </p:sp>
      <p:sp>
        <p:nvSpPr>
          <p:cNvPr id="9" name="Footer Placeholder 2">
            <a:extLst>
              <a:ext uri="{FF2B5EF4-FFF2-40B4-BE49-F238E27FC236}">
                <a16:creationId xmlns:a16="http://schemas.microsoft.com/office/drawing/2014/main" id="{D39A45F9-0D46-6830-F36E-EADD0E1F3FD9}"/>
              </a:ext>
            </a:extLst>
          </p:cNvPr>
          <p:cNvSpPr txBox="1">
            <a:spLocks/>
          </p:cNvSpPr>
          <p:nvPr/>
        </p:nvSpPr>
        <p:spPr>
          <a:xfrm>
            <a:off x="10172700" y="6344667"/>
            <a:ext cx="1123950" cy="28336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800">
                <a:solidFill>
                  <a:srgbClr val="FFFFFF"/>
                </a:solidFill>
                <a:latin typeface="Arial" panose="020B0604020202020204"/>
              </a:rPr>
              <a:t>© Commvault 2025</a:t>
            </a:r>
          </a:p>
        </p:txBody>
      </p:sp>
      <p:sp>
        <p:nvSpPr>
          <p:cNvPr id="10" name="Slide Number Placeholder 4">
            <a:extLst>
              <a:ext uri="{FF2B5EF4-FFF2-40B4-BE49-F238E27FC236}">
                <a16:creationId xmlns:a16="http://schemas.microsoft.com/office/drawing/2014/main" id="{BFE7EF9A-9591-8FE4-9276-11B8784829E8}"/>
              </a:ext>
            </a:extLst>
          </p:cNvPr>
          <p:cNvSpPr txBox="1">
            <a:spLocks/>
          </p:cNvSpPr>
          <p:nvPr/>
        </p:nvSpPr>
        <p:spPr>
          <a:xfrm>
            <a:off x="11403176" y="6377920"/>
            <a:ext cx="373227" cy="25577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71676EBD-8486-AA4B-82C3-0598DF1E43FA}" type="slidenum">
              <a:rPr lang="en-US" sz="800" smtClean="0">
                <a:solidFill>
                  <a:srgbClr val="FFFFFF"/>
                </a:solidFill>
                <a:latin typeface="Arial" panose="020B0604020202020204"/>
              </a:rPr>
              <a:pPr algn="r">
                <a:defRPr/>
              </a:pPr>
              <a:t>13</a:t>
            </a:fld>
            <a:endParaRPr lang="en-US" sz="800">
              <a:solidFill>
                <a:srgbClr val="FFFFFF"/>
              </a:solidFill>
              <a:latin typeface="Arial" panose="020B0604020202020204"/>
            </a:endParaRPr>
          </a:p>
        </p:txBody>
      </p:sp>
    </p:spTree>
    <p:extLst>
      <p:ext uri="{BB962C8B-B14F-4D97-AF65-F5344CB8AC3E}">
        <p14:creationId xmlns:p14="http://schemas.microsoft.com/office/powerpoint/2010/main" val="20384241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8DDDA8-3420-DDE3-8CB1-1F2301415927}"/>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101D1644-29B3-2C41-097D-70628F4808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1" name="think-cell data - do not delete" hidden="1">
                        <a:extLst>
                          <a:ext uri="{FF2B5EF4-FFF2-40B4-BE49-F238E27FC236}">
                            <a16:creationId xmlns:a16="http://schemas.microsoft.com/office/drawing/2014/main" id="{101D1644-29B3-2C41-097D-70628F4808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0" name="2" descr="preencoded.png">
            <a:extLst>
              <a:ext uri="{FF2B5EF4-FFF2-40B4-BE49-F238E27FC236}">
                <a16:creationId xmlns:a16="http://schemas.microsoft.com/office/drawing/2014/main" id="{CB0ABF7A-64CA-6128-5A7F-D087D1C196E6}"/>
              </a:ext>
            </a:extLst>
          </p:cNvPr>
          <p:cNvPicPr>
            <a:picLocks/>
          </p:cNvPicPr>
          <p:nvPr>
            <p:custDataLst>
              <p:tags r:id="rId2"/>
            </p:custDataLst>
          </p:nvPr>
        </p:nvPicPr>
        <p:blipFill>
          <a:blip r:embed="rId7">
            <a:alphaModFix amt="80000"/>
          </a:blip>
          <a:srcRect/>
          <a:stretch/>
        </p:blipFill>
        <p:spPr>
          <a:xfrm>
            <a:off x="0" y="0"/>
            <a:ext cx="12192000" cy="6858000"/>
          </a:xfrm>
          <a:prstGeom prst="rect">
            <a:avLst/>
          </a:prstGeom>
        </p:spPr>
      </p:pic>
      <p:sp>
        <p:nvSpPr>
          <p:cNvPr id="19" name="Title 18">
            <a:extLst>
              <a:ext uri="{FF2B5EF4-FFF2-40B4-BE49-F238E27FC236}">
                <a16:creationId xmlns:a16="http://schemas.microsoft.com/office/drawing/2014/main" id="{78146683-2F41-3F10-FF5B-E30CA2250635}"/>
              </a:ext>
            </a:extLst>
          </p:cNvPr>
          <p:cNvSpPr>
            <a:spLocks noGrp="1"/>
          </p:cNvSpPr>
          <p:nvPr>
            <p:ph type="title"/>
          </p:nvPr>
        </p:nvSpPr>
        <p:spPr>
          <a:xfrm>
            <a:off x="415596" y="462505"/>
            <a:ext cx="11360808" cy="430887"/>
          </a:xfrm>
        </p:spPr>
        <p:txBody>
          <a:bodyPr vert="horz"/>
          <a:lstStyle/>
          <a:p>
            <a:r>
              <a:rPr lang="en-US"/>
              <a:t>Help Isolate and Remove Compromised Data with Synthetic </a:t>
            </a:r>
            <a:r>
              <a:rPr lang="en-US" err="1"/>
              <a:t>Recovery</a:t>
            </a:r>
            <a:r>
              <a:rPr lang="en-US" sz="2400" baseline="30000" err="1"/>
              <a:t>TM</a:t>
            </a:r>
            <a:endParaRPr lang="en-US" sz="2400" baseline="30000">
              <a:cs typeface="Arial"/>
            </a:endParaRPr>
          </a:p>
        </p:txBody>
      </p:sp>
      <p:sp>
        <p:nvSpPr>
          <p:cNvPr id="62" name="Footer Placeholder 2">
            <a:extLst>
              <a:ext uri="{FF2B5EF4-FFF2-40B4-BE49-F238E27FC236}">
                <a16:creationId xmlns:a16="http://schemas.microsoft.com/office/drawing/2014/main" id="{2DA4079B-A7F3-B22C-6C96-C53E9D64527B}"/>
              </a:ext>
            </a:extLst>
          </p:cNvPr>
          <p:cNvSpPr>
            <a:spLocks noGrp="1"/>
          </p:cNvSpPr>
          <p:nvPr>
            <p:ph type="ftr" sz="quarter" idx="14"/>
          </p:nvPr>
        </p:nvSpPr>
        <p:spPr>
          <a:xfrm>
            <a:off x="10172700" y="6364123"/>
            <a:ext cx="1123950" cy="28336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mn-ea"/>
                <a:cs typeface="+mn-cs"/>
              </a:rPr>
              <a:t>© Commvault 2025</a:t>
            </a:r>
          </a:p>
        </p:txBody>
      </p:sp>
      <p:sp>
        <p:nvSpPr>
          <p:cNvPr id="63" name="Slide Number Placeholder 4">
            <a:extLst>
              <a:ext uri="{FF2B5EF4-FFF2-40B4-BE49-F238E27FC236}">
                <a16:creationId xmlns:a16="http://schemas.microsoft.com/office/drawing/2014/main" id="{A391E93B-7290-68AD-2300-A8E326A9FDAA}"/>
              </a:ext>
            </a:extLst>
          </p:cNvPr>
          <p:cNvSpPr>
            <a:spLocks noGrp="1"/>
          </p:cNvSpPr>
          <p:nvPr>
            <p:ph type="sldNum" sz="quarter" idx="15"/>
          </p:nvPr>
        </p:nvSpPr>
        <p:spPr>
          <a:xfrm>
            <a:off x="11403176" y="6377920"/>
            <a:ext cx="373227" cy="25577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676EBD-8486-AA4B-82C3-0598DF1E43FA}" type="slidenum">
              <a:rPr kumimoji="0" lang="en-US" sz="8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4" name="Graphic 63">
            <a:extLst>
              <a:ext uri="{FF2B5EF4-FFF2-40B4-BE49-F238E27FC236}">
                <a16:creationId xmlns:a16="http://schemas.microsoft.com/office/drawing/2014/main" id="{979D66C3-1FC5-D68B-8E16-5B3FCB1B413A}"/>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400017" y="6364123"/>
            <a:ext cx="1484309" cy="283368"/>
          </a:xfrm>
          <a:prstGeom prst="rect">
            <a:avLst/>
          </a:prstGeom>
        </p:spPr>
      </p:pic>
      <p:sp>
        <p:nvSpPr>
          <p:cNvPr id="6" name="Google Shape;4891;p434">
            <a:extLst>
              <a:ext uri="{FF2B5EF4-FFF2-40B4-BE49-F238E27FC236}">
                <a16:creationId xmlns:a16="http://schemas.microsoft.com/office/drawing/2014/main" id="{36D26DAE-4736-9170-13AA-2C3DC2DD806B}"/>
              </a:ext>
            </a:extLst>
          </p:cNvPr>
          <p:cNvSpPr txBox="1">
            <a:spLocks/>
          </p:cNvSpPr>
          <p:nvPr/>
        </p:nvSpPr>
        <p:spPr>
          <a:xfrm>
            <a:off x="572433" y="1863570"/>
            <a:ext cx="3418995"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ct val="0"/>
              </a:spcAft>
              <a:buClr>
                <a:srgbClr val="000000"/>
              </a:buClr>
              <a:buSzPts val="1100"/>
              <a:buFont typeface="Arial"/>
              <a:buNone/>
              <a:tabLst/>
              <a:defRPr/>
            </a:pPr>
            <a:r>
              <a:rPr kumimoji="0" lang="en-US" sz="1400" b="1" i="0" u="none" strike="noStrike" kern="1200" cap="none" spc="0" normalizeH="0" baseline="0" noProof="0">
                <a:ln>
                  <a:noFill/>
                </a:ln>
                <a:solidFill>
                  <a:srgbClr val="834895">
                    <a:lumMod val="60000"/>
                    <a:lumOff val="40000"/>
                  </a:srgbClr>
                </a:solidFill>
                <a:effectLst/>
                <a:uLnTx/>
                <a:uFillTx/>
                <a:latin typeface="Arial" panose="020B0604020202020204"/>
                <a:ea typeface="+mn-ea"/>
                <a:cs typeface="+mn-cs"/>
              </a:rPr>
              <a:t>Painful Trade-Offs During Recovery</a:t>
            </a:r>
          </a:p>
        </p:txBody>
      </p:sp>
      <p:sp>
        <p:nvSpPr>
          <p:cNvPr id="8" name="Rectangle 7">
            <a:extLst>
              <a:ext uri="{FF2B5EF4-FFF2-40B4-BE49-F238E27FC236}">
                <a16:creationId xmlns:a16="http://schemas.microsoft.com/office/drawing/2014/main" id="{B8CBA653-5286-7BF0-927C-2CE7B18E431D}"/>
              </a:ext>
            </a:extLst>
          </p:cNvPr>
          <p:cNvSpPr>
            <a:spLocks/>
          </p:cNvSpPr>
          <p:nvPr/>
        </p:nvSpPr>
        <p:spPr>
          <a:xfrm>
            <a:off x="572432" y="2132993"/>
            <a:ext cx="4892195"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Teams must choose between rolling back far enough to be safe (and losing days of data) or restoring recent data (and risking reinfection)</a:t>
            </a:r>
          </a:p>
        </p:txBody>
      </p:sp>
      <p:cxnSp>
        <p:nvCxnSpPr>
          <p:cNvPr id="14" name="Straight Connector 13">
            <a:extLst>
              <a:ext uri="{FF2B5EF4-FFF2-40B4-BE49-F238E27FC236}">
                <a16:creationId xmlns:a16="http://schemas.microsoft.com/office/drawing/2014/main" id="{5C5069F9-AF47-AE8E-B3BA-CDF51E41837E}"/>
              </a:ext>
            </a:extLst>
          </p:cNvPr>
          <p:cNvCxnSpPr>
            <a:cxnSpLocks/>
          </p:cNvCxnSpPr>
          <p:nvPr/>
        </p:nvCxnSpPr>
        <p:spPr>
          <a:xfrm>
            <a:off x="415595" y="1392425"/>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9AB117C-FA1B-3BBC-3516-FB3AE972FE02}"/>
              </a:ext>
            </a:extLst>
          </p:cNvPr>
          <p:cNvCxnSpPr>
            <a:cxnSpLocks/>
          </p:cNvCxnSpPr>
          <p:nvPr/>
        </p:nvCxnSpPr>
        <p:spPr>
          <a:xfrm>
            <a:off x="415595" y="1852589"/>
            <a:ext cx="0" cy="926735"/>
          </a:xfrm>
          <a:prstGeom prst="line">
            <a:avLst/>
          </a:prstGeom>
        </p:spPr>
        <p:style>
          <a:lnRef idx="1">
            <a:schemeClr val="accent1"/>
          </a:lnRef>
          <a:fillRef idx="0">
            <a:schemeClr val="accent1"/>
          </a:fillRef>
          <a:effectRef idx="0">
            <a:schemeClr val="accent1"/>
          </a:effectRef>
          <a:fontRef idx="minor">
            <a:schemeClr val="tx1"/>
          </a:fontRef>
        </p:style>
      </p:cxnSp>
      <p:sp>
        <p:nvSpPr>
          <p:cNvPr id="32" name="Google Shape;4891;p434">
            <a:extLst>
              <a:ext uri="{FF2B5EF4-FFF2-40B4-BE49-F238E27FC236}">
                <a16:creationId xmlns:a16="http://schemas.microsoft.com/office/drawing/2014/main" id="{9C9BECB7-E832-A8A6-9FDD-9BF26ACFBF3D}"/>
              </a:ext>
            </a:extLst>
          </p:cNvPr>
          <p:cNvSpPr txBox="1">
            <a:spLocks/>
          </p:cNvSpPr>
          <p:nvPr/>
        </p:nvSpPr>
        <p:spPr>
          <a:xfrm>
            <a:off x="572433" y="3435732"/>
            <a:ext cx="5099022"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ct val="0"/>
              </a:spcAft>
              <a:buClr>
                <a:srgbClr val="000000"/>
              </a:buClr>
              <a:buSzPts val="1100"/>
              <a:buFont typeface="Arial"/>
              <a:buNone/>
              <a:tabLst/>
              <a:defRPr/>
            </a:pPr>
            <a:r>
              <a:rPr kumimoji="0" lang="en-US" sz="1400" b="1" i="0" u="none" strike="noStrike" kern="1200" cap="none" spc="0" normalizeH="0" baseline="0" noProof="0">
                <a:ln>
                  <a:noFill/>
                </a:ln>
                <a:solidFill>
                  <a:srgbClr val="834895">
                    <a:lumMod val="60000"/>
                    <a:lumOff val="40000"/>
                  </a:srgbClr>
                </a:solidFill>
                <a:effectLst/>
                <a:uLnTx/>
                <a:uFillTx/>
                <a:latin typeface="Arial" panose="020B0604020202020204"/>
                <a:ea typeface="+mn-ea"/>
                <a:cs typeface="+mn-cs"/>
              </a:rPr>
              <a:t>Reinfection and Untrusted Data</a:t>
            </a:r>
          </a:p>
        </p:txBody>
      </p:sp>
      <p:sp>
        <p:nvSpPr>
          <p:cNvPr id="40" name="Rectangle 39">
            <a:extLst>
              <a:ext uri="{FF2B5EF4-FFF2-40B4-BE49-F238E27FC236}">
                <a16:creationId xmlns:a16="http://schemas.microsoft.com/office/drawing/2014/main" id="{47F1276E-A188-9BE2-DE78-07156965062A}"/>
              </a:ext>
            </a:extLst>
          </p:cNvPr>
          <p:cNvSpPr>
            <a:spLocks/>
          </p:cNvSpPr>
          <p:nvPr/>
        </p:nvSpPr>
        <p:spPr>
          <a:xfrm>
            <a:off x="572433" y="3705155"/>
            <a:ext cx="5099019" cy="4308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Even when you recover, infected or corrupted data can slip back</a:t>
            </a:r>
            <a:b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in – compromising trust in the restored environment</a:t>
            </a:r>
          </a:p>
        </p:txBody>
      </p:sp>
      <p:cxnSp>
        <p:nvCxnSpPr>
          <p:cNvPr id="43" name="Straight Connector 42">
            <a:extLst>
              <a:ext uri="{FF2B5EF4-FFF2-40B4-BE49-F238E27FC236}">
                <a16:creationId xmlns:a16="http://schemas.microsoft.com/office/drawing/2014/main" id="{304C968C-6A71-8BA8-9963-361AD8AE384E}"/>
              </a:ext>
            </a:extLst>
          </p:cNvPr>
          <p:cNvCxnSpPr>
            <a:cxnSpLocks/>
          </p:cNvCxnSpPr>
          <p:nvPr/>
        </p:nvCxnSpPr>
        <p:spPr>
          <a:xfrm>
            <a:off x="415595" y="3387579"/>
            <a:ext cx="0" cy="856641"/>
          </a:xfrm>
          <a:prstGeom prst="line">
            <a:avLst/>
          </a:prstGeom>
        </p:spPr>
        <p:style>
          <a:lnRef idx="1">
            <a:schemeClr val="accent1"/>
          </a:lnRef>
          <a:fillRef idx="0">
            <a:schemeClr val="accent1"/>
          </a:fillRef>
          <a:effectRef idx="0">
            <a:schemeClr val="accent1"/>
          </a:effectRef>
          <a:fontRef idx="minor">
            <a:schemeClr val="tx1"/>
          </a:fontRef>
        </p:style>
      </p:cxnSp>
      <p:sp>
        <p:nvSpPr>
          <p:cNvPr id="45" name="Google Shape;4891;p434">
            <a:extLst>
              <a:ext uri="{FF2B5EF4-FFF2-40B4-BE49-F238E27FC236}">
                <a16:creationId xmlns:a16="http://schemas.microsoft.com/office/drawing/2014/main" id="{8A2A2DA3-0163-5651-586E-D4D6EF6F18AA}"/>
              </a:ext>
            </a:extLst>
          </p:cNvPr>
          <p:cNvSpPr txBox="1">
            <a:spLocks/>
          </p:cNvSpPr>
          <p:nvPr/>
        </p:nvSpPr>
        <p:spPr>
          <a:xfrm>
            <a:off x="568066" y="4896712"/>
            <a:ext cx="3418995"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ct val="0"/>
              </a:spcAft>
              <a:buClr>
                <a:srgbClr val="000000"/>
              </a:buClr>
              <a:buSzPts val="1100"/>
              <a:buFont typeface="Arial"/>
              <a:buNone/>
              <a:tabLst/>
              <a:defRPr/>
            </a:pPr>
            <a:r>
              <a:rPr kumimoji="0" lang="en-US" sz="1400" b="1" i="0" u="none" strike="noStrike" kern="1200" cap="none" spc="0" normalizeH="0" baseline="0" noProof="0">
                <a:ln>
                  <a:noFill/>
                </a:ln>
                <a:solidFill>
                  <a:srgbClr val="834895">
                    <a:lumMod val="60000"/>
                    <a:lumOff val="40000"/>
                  </a:srgbClr>
                </a:solidFill>
                <a:effectLst/>
                <a:uLnTx/>
                <a:uFillTx/>
                <a:latin typeface="Arial" panose="020B0604020202020204"/>
                <a:ea typeface="+mn-ea"/>
                <a:cs typeface="+mn-cs"/>
              </a:rPr>
              <a:t>Manual, Time-Consuming Processes</a:t>
            </a:r>
          </a:p>
        </p:txBody>
      </p:sp>
      <p:sp>
        <p:nvSpPr>
          <p:cNvPr id="49" name="Rectangle 48">
            <a:extLst>
              <a:ext uri="{FF2B5EF4-FFF2-40B4-BE49-F238E27FC236}">
                <a16:creationId xmlns:a16="http://schemas.microsoft.com/office/drawing/2014/main" id="{E823F2A0-249C-F8A0-C6D3-03386968AEE1}"/>
              </a:ext>
            </a:extLst>
          </p:cNvPr>
          <p:cNvSpPr>
            <a:spLocks/>
          </p:cNvSpPr>
          <p:nvPr/>
        </p:nvSpPr>
        <p:spPr>
          <a:xfrm>
            <a:off x="568066" y="5166135"/>
            <a:ext cx="5099009"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Traditional recovery methods rely on manual snapshots and scripts, slowing recovery and increasing downtime</a:t>
            </a:r>
            <a:b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during an attack</a:t>
            </a:r>
          </a:p>
        </p:txBody>
      </p:sp>
      <p:cxnSp>
        <p:nvCxnSpPr>
          <p:cNvPr id="51" name="Straight Connector 50">
            <a:extLst>
              <a:ext uri="{FF2B5EF4-FFF2-40B4-BE49-F238E27FC236}">
                <a16:creationId xmlns:a16="http://schemas.microsoft.com/office/drawing/2014/main" id="{C27844DE-255D-B907-2598-C8FD40AB5019}"/>
              </a:ext>
            </a:extLst>
          </p:cNvPr>
          <p:cNvCxnSpPr>
            <a:cxnSpLocks/>
          </p:cNvCxnSpPr>
          <p:nvPr/>
        </p:nvCxnSpPr>
        <p:spPr>
          <a:xfrm>
            <a:off x="411228" y="4407495"/>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FE06B29-1FB7-ECB0-76C5-DBE3B2D79ADA}"/>
              </a:ext>
            </a:extLst>
          </p:cNvPr>
          <p:cNvCxnSpPr>
            <a:cxnSpLocks/>
          </p:cNvCxnSpPr>
          <p:nvPr/>
        </p:nvCxnSpPr>
        <p:spPr>
          <a:xfrm>
            <a:off x="411228" y="4867659"/>
            <a:ext cx="0" cy="944807"/>
          </a:xfrm>
          <a:prstGeom prst="line">
            <a:avLst/>
          </a:prstGeom>
        </p:spPr>
        <p:style>
          <a:lnRef idx="1">
            <a:schemeClr val="accent1"/>
          </a:lnRef>
          <a:fillRef idx="0">
            <a:schemeClr val="accent1"/>
          </a:fillRef>
          <a:effectRef idx="0">
            <a:schemeClr val="accent1"/>
          </a:effectRef>
          <a:fontRef idx="minor">
            <a:schemeClr val="tx1"/>
          </a:fontRef>
        </p:style>
      </p:cxnSp>
      <p:sp>
        <p:nvSpPr>
          <p:cNvPr id="75" name="Google Shape;4891;p434">
            <a:extLst>
              <a:ext uri="{FF2B5EF4-FFF2-40B4-BE49-F238E27FC236}">
                <a16:creationId xmlns:a16="http://schemas.microsoft.com/office/drawing/2014/main" id="{E98CDDCD-0C2E-72E9-6FA0-28D8833FB733}"/>
              </a:ext>
            </a:extLst>
          </p:cNvPr>
          <p:cNvSpPr txBox="1">
            <a:spLocks/>
          </p:cNvSpPr>
          <p:nvPr/>
        </p:nvSpPr>
        <p:spPr>
          <a:xfrm>
            <a:off x="6491076" y="1863570"/>
            <a:ext cx="5285327"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ct val="0"/>
              </a:spcAft>
              <a:buClr>
                <a:srgbClr val="000000"/>
              </a:buClr>
              <a:buSzPts val="1100"/>
              <a:buFont typeface="Arial"/>
              <a:buNone/>
              <a:tabLst/>
              <a:defRPr/>
            </a:pPr>
            <a:r>
              <a:rPr lang="en-US" sz="1400" b="1">
                <a:solidFill>
                  <a:srgbClr val="834895">
                    <a:lumMod val="60000"/>
                    <a:lumOff val="40000"/>
                  </a:srgbClr>
                </a:solidFill>
                <a:latin typeface="Arial" panose="020B0604020202020204"/>
              </a:rPr>
              <a:t>AI-Enabled</a:t>
            </a:r>
            <a:r>
              <a:rPr kumimoji="0" lang="en-US" sz="1400" b="1" i="0" u="none" strike="noStrike" kern="1200" cap="none" spc="0" normalizeH="0" baseline="0" noProof="0">
                <a:ln>
                  <a:noFill/>
                </a:ln>
                <a:solidFill>
                  <a:srgbClr val="834895">
                    <a:lumMod val="60000"/>
                    <a:lumOff val="40000"/>
                  </a:srgbClr>
                </a:solidFill>
                <a:effectLst/>
                <a:uLnTx/>
                <a:uFillTx/>
                <a:latin typeface="Arial" panose="020B0604020202020204"/>
                <a:ea typeface="+mn-ea"/>
                <a:cs typeface="+mn-cs"/>
              </a:rPr>
              <a:t> Threat Detection =</a:t>
            </a:r>
            <a:r>
              <a:rPr kumimoji="0" lang="en-US" sz="1400" b="1">
                <a:solidFill>
                  <a:srgbClr val="834895">
                    <a:lumMod val="60000"/>
                    <a:lumOff val="40000"/>
                  </a:srgbClr>
                </a:solidFill>
                <a:latin typeface="Arial" panose="020B0604020202020204"/>
                <a:ea typeface="+mn-ea"/>
                <a:cs typeface="+mn-cs"/>
              </a:rPr>
              <a:t> </a:t>
            </a:r>
            <a:r>
              <a:rPr kumimoji="0" lang="en-US" sz="1400" b="1" i="0" u="none" strike="noStrike" kern="1200" cap="none" spc="0" normalizeH="0" baseline="0" noProof="0">
                <a:ln>
                  <a:noFill/>
                </a:ln>
                <a:solidFill>
                  <a:srgbClr val="834895">
                    <a:lumMod val="60000"/>
                    <a:lumOff val="40000"/>
                  </a:srgbClr>
                </a:solidFill>
                <a:effectLst/>
                <a:uLnTx/>
                <a:uFillTx/>
                <a:latin typeface="Arial" panose="020B0604020202020204"/>
                <a:ea typeface="+mn-ea"/>
                <a:cs typeface="+mn-cs"/>
              </a:rPr>
              <a:t>Clean Recovery</a:t>
            </a:r>
          </a:p>
        </p:txBody>
      </p:sp>
      <p:sp>
        <p:nvSpPr>
          <p:cNvPr id="76" name="Rectangle 75">
            <a:extLst>
              <a:ext uri="{FF2B5EF4-FFF2-40B4-BE49-F238E27FC236}">
                <a16:creationId xmlns:a16="http://schemas.microsoft.com/office/drawing/2014/main" id="{1A2C5EF3-9D52-FD88-D55A-E8A346C378C2}"/>
              </a:ext>
            </a:extLst>
          </p:cNvPr>
          <p:cNvSpPr>
            <a:spLocks/>
          </p:cNvSpPr>
          <p:nvPr/>
        </p:nvSpPr>
        <p:spPr>
          <a:xfrm>
            <a:off x="6491076" y="2140141"/>
            <a:ext cx="5128485" cy="4308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fontAlgn="base">
              <a:spcAft>
                <a:spcPct val="0"/>
              </a:spcAf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Commvault</a:t>
            </a:r>
            <a:r>
              <a:rPr lang="en-US" sz="1400">
                <a:solidFill>
                  <a:srgbClr val="FFFFFF"/>
                </a:solidFill>
                <a:latin typeface="Arial" panose="020B0604020202020204"/>
              </a:rPr>
              <a:t> </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identifies</a:t>
            </a:r>
            <a:r>
              <a:rPr lang="en-US" sz="1400">
                <a:solidFill>
                  <a:srgbClr val="FFFFFF"/>
                </a:solidFill>
                <a:latin typeface="Arial" panose="020B0604020202020204"/>
              </a:rPr>
              <a:t> </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and </a:t>
            </a:r>
            <a:r>
              <a:rPr lang="en-US" sz="1400">
                <a:solidFill>
                  <a:srgbClr val="FFFFFF"/>
                </a:solidFill>
                <a:latin typeface="Arial" panose="020B0604020202020204"/>
              </a:rPr>
              <a:t>helps  remove</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 compromised data during the recovery process using</a:t>
            </a:r>
            <a:r>
              <a:rPr lang="en-US" sz="1400">
                <a:solidFill>
                  <a:srgbClr val="FFFFFF"/>
                </a:solidFill>
                <a:latin typeface="Arial" panose="020B0604020202020204"/>
              </a:rPr>
              <a:t> </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built-in AI analysis</a:t>
            </a:r>
          </a:p>
        </p:txBody>
      </p:sp>
      <p:cxnSp>
        <p:nvCxnSpPr>
          <p:cNvPr id="80" name="Straight Connector 79">
            <a:extLst>
              <a:ext uri="{FF2B5EF4-FFF2-40B4-BE49-F238E27FC236}">
                <a16:creationId xmlns:a16="http://schemas.microsoft.com/office/drawing/2014/main" id="{F7987443-31BF-6DC0-BA79-68A5E3C2F928}"/>
              </a:ext>
            </a:extLst>
          </p:cNvPr>
          <p:cNvCxnSpPr>
            <a:cxnSpLocks/>
          </p:cNvCxnSpPr>
          <p:nvPr/>
        </p:nvCxnSpPr>
        <p:spPr>
          <a:xfrm>
            <a:off x="6334238" y="1400992"/>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E7EFEF8E-0A2C-AAF1-6846-77BA1DDA3639}"/>
              </a:ext>
            </a:extLst>
          </p:cNvPr>
          <p:cNvCxnSpPr>
            <a:cxnSpLocks/>
          </p:cNvCxnSpPr>
          <p:nvPr/>
        </p:nvCxnSpPr>
        <p:spPr>
          <a:xfrm>
            <a:off x="6334238" y="1861156"/>
            <a:ext cx="0" cy="816730"/>
          </a:xfrm>
          <a:prstGeom prst="line">
            <a:avLst/>
          </a:prstGeom>
        </p:spPr>
        <p:style>
          <a:lnRef idx="1">
            <a:schemeClr val="accent1"/>
          </a:lnRef>
          <a:fillRef idx="0">
            <a:schemeClr val="accent1"/>
          </a:fillRef>
          <a:effectRef idx="0">
            <a:schemeClr val="accent1"/>
          </a:effectRef>
          <a:fontRef idx="minor">
            <a:schemeClr val="tx1"/>
          </a:fontRef>
        </p:style>
      </p:cxnSp>
      <p:sp>
        <p:nvSpPr>
          <p:cNvPr id="84" name="Google Shape;4891;p434">
            <a:extLst>
              <a:ext uri="{FF2B5EF4-FFF2-40B4-BE49-F238E27FC236}">
                <a16:creationId xmlns:a16="http://schemas.microsoft.com/office/drawing/2014/main" id="{3D9E084D-2865-D12C-3750-F2BE90985FFC}"/>
              </a:ext>
            </a:extLst>
          </p:cNvPr>
          <p:cNvSpPr txBox="1">
            <a:spLocks/>
          </p:cNvSpPr>
          <p:nvPr/>
        </p:nvSpPr>
        <p:spPr>
          <a:xfrm>
            <a:off x="6491075" y="3387579"/>
            <a:ext cx="4699436"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ct val="0"/>
              </a:spcAft>
              <a:buClr>
                <a:srgbClr val="000000"/>
              </a:buClr>
              <a:buSzPts val="1100"/>
              <a:buFont typeface="Arial"/>
              <a:buNone/>
              <a:tabLst/>
              <a:defRPr/>
            </a:pPr>
            <a:r>
              <a:rPr kumimoji="0" lang="en-US" sz="1400" b="1" i="0" u="none" strike="noStrike" kern="1200" cap="none" spc="0" normalizeH="0" baseline="0" noProof="0">
                <a:ln>
                  <a:noFill/>
                </a:ln>
                <a:solidFill>
                  <a:srgbClr val="834895">
                    <a:lumMod val="60000"/>
                    <a:lumOff val="40000"/>
                  </a:srgbClr>
                </a:solidFill>
                <a:effectLst/>
                <a:uLnTx/>
                <a:uFillTx/>
                <a:latin typeface="Arial" panose="020B0604020202020204"/>
                <a:ea typeface="+mn-ea"/>
                <a:cs typeface="+mn-cs"/>
              </a:rPr>
              <a:t>Synthetic Recovery = Clean + Current Data</a:t>
            </a:r>
          </a:p>
        </p:txBody>
      </p:sp>
      <p:sp>
        <p:nvSpPr>
          <p:cNvPr id="85" name="Rectangle 84">
            <a:extLst>
              <a:ext uri="{FF2B5EF4-FFF2-40B4-BE49-F238E27FC236}">
                <a16:creationId xmlns:a16="http://schemas.microsoft.com/office/drawing/2014/main" id="{7936DCF2-38D6-AEE5-E636-90FDC7C9CD45}"/>
              </a:ext>
            </a:extLst>
          </p:cNvPr>
          <p:cNvSpPr>
            <a:spLocks/>
          </p:cNvSpPr>
          <p:nvPr/>
        </p:nvSpPr>
        <p:spPr>
          <a:xfrm>
            <a:off x="6491075" y="3651176"/>
            <a:ext cx="5099017"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fontAlgn="base">
              <a:spcAft>
                <a:spcPct val="0"/>
              </a:spcAf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Instead of rolling back to old snapshots, Commvault</a:t>
            </a:r>
            <a:r>
              <a:rPr lang="en-US" sz="1400">
                <a:solidFill>
                  <a:srgbClr val="FFFFFF"/>
                </a:solidFill>
                <a:latin typeface="Arial" panose="020B0604020202020204"/>
              </a:rPr>
              <a:t> is designed to  reconstruct</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 the latest verified dataset – </a:t>
            </a:r>
            <a:r>
              <a:rPr lang="en-US" sz="1400">
                <a:solidFill>
                  <a:srgbClr val="FFFFFF"/>
                </a:solidFill>
                <a:latin typeface="Arial" panose="020B0604020202020204"/>
              </a:rPr>
              <a:t>to help deliver clean </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and</a:t>
            </a:r>
            <a:r>
              <a:rPr lang="en-US" sz="1400">
                <a:solidFill>
                  <a:srgbClr val="FFFFFF"/>
                </a:solidFill>
                <a:latin typeface="Arial" panose="020B0604020202020204"/>
              </a:rPr>
              <a:t> </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current</a:t>
            </a:r>
            <a:r>
              <a:rPr lang="en-US" sz="1400">
                <a:solidFill>
                  <a:srgbClr val="FFFFFF"/>
                </a:solidFill>
                <a:latin typeface="Arial" panose="020B0604020202020204"/>
              </a:rPr>
              <a:t> </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data</a:t>
            </a:r>
            <a:r>
              <a:rPr lang="en-US" sz="1400">
                <a:solidFill>
                  <a:srgbClr val="FFFFFF"/>
                </a:solidFill>
                <a:latin typeface="Arial" panose="020B0604020202020204"/>
              </a:rPr>
              <a:t> </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with</a:t>
            </a:r>
            <a:r>
              <a:rPr lang="en-US" sz="1400">
                <a:solidFill>
                  <a:srgbClr val="FFFFFF"/>
                </a:solidFill>
                <a:latin typeface="Arial" panose="020B0604020202020204"/>
              </a:rPr>
              <a:t> minimal manual</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 </a:t>
            </a:r>
            <a:r>
              <a:rPr lang="en-US" sz="1400">
                <a:solidFill>
                  <a:srgbClr val="FFFFFF"/>
                </a:solidFill>
                <a:latin typeface="Arial" panose="020B0604020202020204"/>
              </a:rPr>
              <a:t>intervention</a:t>
            </a:r>
            <a:endParaRPr lang="en-US" sz="1400" b="0" i="0" u="none" strike="noStrike" kern="1200" cap="none" spc="0" normalizeH="0" baseline="0" noProof="0">
              <a:ln>
                <a:noFill/>
              </a:ln>
              <a:solidFill>
                <a:srgbClr val="FFFFFF"/>
              </a:solidFill>
              <a:effectLst/>
              <a:uLnTx/>
              <a:uFillTx/>
              <a:latin typeface="Arial" panose="020B0604020202020204"/>
              <a:cs typeface="Arial"/>
            </a:endParaRPr>
          </a:p>
        </p:txBody>
      </p:sp>
      <p:cxnSp>
        <p:nvCxnSpPr>
          <p:cNvPr id="86" name="Straight Connector 85">
            <a:extLst>
              <a:ext uri="{FF2B5EF4-FFF2-40B4-BE49-F238E27FC236}">
                <a16:creationId xmlns:a16="http://schemas.microsoft.com/office/drawing/2014/main" id="{4A1892D4-D7E3-480F-21B0-C26D04EC6023}"/>
              </a:ext>
            </a:extLst>
          </p:cNvPr>
          <p:cNvCxnSpPr>
            <a:cxnSpLocks/>
          </p:cNvCxnSpPr>
          <p:nvPr/>
        </p:nvCxnSpPr>
        <p:spPr>
          <a:xfrm>
            <a:off x="6334237" y="2825106"/>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69F74E51-8AAA-3BF2-F8C7-84D39E82FE93}"/>
              </a:ext>
            </a:extLst>
          </p:cNvPr>
          <p:cNvCxnSpPr>
            <a:cxnSpLocks/>
          </p:cNvCxnSpPr>
          <p:nvPr/>
        </p:nvCxnSpPr>
        <p:spPr>
          <a:xfrm>
            <a:off x="6334237" y="3285270"/>
            <a:ext cx="0" cy="958950"/>
          </a:xfrm>
          <a:prstGeom prst="line">
            <a:avLst/>
          </a:prstGeom>
        </p:spPr>
        <p:style>
          <a:lnRef idx="1">
            <a:schemeClr val="accent1"/>
          </a:lnRef>
          <a:fillRef idx="0">
            <a:schemeClr val="accent1"/>
          </a:fillRef>
          <a:effectRef idx="0">
            <a:schemeClr val="accent1"/>
          </a:effectRef>
          <a:fontRef idx="minor">
            <a:schemeClr val="tx1"/>
          </a:fontRef>
        </p:style>
      </p:cxnSp>
      <p:sp>
        <p:nvSpPr>
          <p:cNvPr id="99" name="Google Shape;4891;p434">
            <a:extLst>
              <a:ext uri="{FF2B5EF4-FFF2-40B4-BE49-F238E27FC236}">
                <a16:creationId xmlns:a16="http://schemas.microsoft.com/office/drawing/2014/main" id="{A0144462-3C4A-D3A4-FF1E-34E28914D7E5}"/>
              </a:ext>
            </a:extLst>
          </p:cNvPr>
          <p:cNvSpPr txBox="1">
            <a:spLocks/>
          </p:cNvSpPr>
          <p:nvPr/>
        </p:nvSpPr>
        <p:spPr>
          <a:xfrm>
            <a:off x="6495443" y="4937090"/>
            <a:ext cx="5510235"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ct val="0"/>
              </a:spcAft>
              <a:buClr>
                <a:srgbClr val="000000"/>
              </a:buClr>
              <a:buSzPts val="1100"/>
              <a:defRPr/>
            </a:pPr>
            <a:r>
              <a:rPr lang="en-US" sz="1400" b="1">
                <a:solidFill>
                  <a:srgbClr val="834895">
                    <a:lumMod val="60000"/>
                    <a:lumOff val="40000"/>
                  </a:srgbClr>
                </a:solidFill>
                <a:latin typeface="Arial" panose="020B0604020202020204"/>
              </a:rPr>
              <a:t>Intelligent</a:t>
            </a:r>
            <a:r>
              <a:rPr kumimoji="0" lang="en-US" sz="1400" b="1" i="0" u="none" strike="noStrike" kern="1200" cap="none" spc="0" normalizeH="0" baseline="0" noProof="0">
                <a:ln>
                  <a:noFill/>
                </a:ln>
                <a:solidFill>
                  <a:srgbClr val="834895">
                    <a:lumMod val="60000"/>
                    <a:lumOff val="40000"/>
                  </a:srgbClr>
                </a:solidFill>
                <a:effectLst/>
                <a:uLnTx/>
                <a:uFillTx/>
                <a:latin typeface="Arial" panose="020B0604020202020204"/>
                <a:ea typeface="+mn-ea"/>
                <a:cs typeface="+mn-cs"/>
              </a:rPr>
              <a:t> Automation = Continuous Resilience</a:t>
            </a:r>
            <a:endParaRPr lang="en-US">
              <a:ea typeface="+mn-ea"/>
              <a:cs typeface="+mn-cs"/>
            </a:endParaRPr>
          </a:p>
        </p:txBody>
      </p:sp>
      <p:sp>
        <p:nvSpPr>
          <p:cNvPr id="100" name="Rectangle 99">
            <a:extLst>
              <a:ext uri="{FF2B5EF4-FFF2-40B4-BE49-F238E27FC236}">
                <a16:creationId xmlns:a16="http://schemas.microsoft.com/office/drawing/2014/main" id="{B99C8A48-0DDA-E198-2F77-D9A8492570BA}"/>
              </a:ext>
            </a:extLst>
          </p:cNvPr>
          <p:cNvSpPr>
            <a:spLocks/>
          </p:cNvSpPr>
          <p:nvPr/>
        </p:nvSpPr>
        <p:spPr>
          <a:xfrm>
            <a:off x="6495444" y="5206513"/>
            <a:ext cx="5010756"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Commvault orchestrates recovery end-to-end, isolating bad data, restoring clean data, and ensuring business continuity even during active attacks</a:t>
            </a:r>
          </a:p>
        </p:txBody>
      </p:sp>
      <p:cxnSp>
        <p:nvCxnSpPr>
          <p:cNvPr id="103" name="Straight Connector 102">
            <a:extLst>
              <a:ext uri="{FF2B5EF4-FFF2-40B4-BE49-F238E27FC236}">
                <a16:creationId xmlns:a16="http://schemas.microsoft.com/office/drawing/2014/main" id="{46EC3DA1-8C41-00CD-2B58-4AF79F81B601}"/>
              </a:ext>
            </a:extLst>
          </p:cNvPr>
          <p:cNvCxnSpPr>
            <a:cxnSpLocks/>
          </p:cNvCxnSpPr>
          <p:nvPr/>
        </p:nvCxnSpPr>
        <p:spPr>
          <a:xfrm>
            <a:off x="6338605" y="4851527"/>
            <a:ext cx="0" cy="1001317"/>
          </a:xfrm>
          <a:prstGeom prst="line">
            <a:avLst/>
          </a:prstGeom>
        </p:spPr>
        <p:style>
          <a:lnRef idx="1">
            <a:schemeClr val="accent1"/>
          </a:lnRef>
          <a:fillRef idx="0">
            <a:schemeClr val="accent1"/>
          </a:fillRef>
          <a:effectRef idx="0">
            <a:schemeClr val="accent1"/>
          </a:effectRef>
          <a:fontRef idx="minor">
            <a:schemeClr val="tx1"/>
          </a:fontRef>
        </p:style>
      </p:cxnSp>
      <p:grpSp>
        <p:nvGrpSpPr>
          <p:cNvPr id="104" name="Group 103">
            <a:extLst>
              <a:ext uri="{FF2B5EF4-FFF2-40B4-BE49-F238E27FC236}">
                <a16:creationId xmlns:a16="http://schemas.microsoft.com/office/drawing/2014/main" id="{D630538A-62AD-B39A-5598-54DFD02C01F4}"/>
              </a:ext>
            </a:extLst>
          </p:cNvPr>
          <p:cNvGrpSpPr/>
          <p:nvPr/>
        </p:nvGrpSpPr>
        <p:grpSpPr>
          <a:xfrm>
            <a:off x="6495443" y="4544353"/>
            <a:ext cx="278252" cy="307174"/>
            <a:chOff x="12227563" y="2443162"/>
            <a:chExt cx="534946" cy="590550"/>
          </a:xfrm>
          <a:solidFill>
            <a:schemeClr val="bg1"/>
          </a:solidFill>
        </p:grpSpPr>
        <p:sp>
          <p:nvSpPr>
            <p:cNvPr id="106" name="Freeform: Shape 105">
              <a:extLst>
                <a:ext uri="{FF2B5EF4-FFF2-40B4-BE49-F238E27FC236}">
                  <a16:creationId xmlns:a16="http://schemas.microsoft.com/office/drawing/2014/main" id="{BC0A936E-F4AE-840C-D417-DA6876336F80}"/>
                </a:ext>
              </a:extLst>
            </p:cNvPr>
            <p:cNvSpPr/>
            <p:nvPr/>
          </p:nvSpPr>
          <p:spPr>
            <a:xfrm>
              <a:off x="12227563" y="2443162"/>
              <a:ext cx="534946" cy="590550"/>
            </a:xfrm>
            <a:custGeom>
              <a:avLst/>
              <a:gdLst>
                <a:gd name="connsiteX0" fmla="*/ 481498 w 534946"/>
                <a:gd name="connsiteY0" fmla="*/ 590550 h 590550"/>
                <a:gd name="connsiteX1" fmla="*/ 471973 w 534946"/>
                <a:gd name="connsiteY1" fmla="*/ 581025 h 590550"/>
                <a:gd name="connsiteX2" fmla="*/ 471973 w 534946"/>
                <a:gd name="connsiteY2" fmla="*/ 512159 h 590550"/>
                <a:gd name="connsiteX3" fmla="*/ 494261 w 534946"/>
                <a:gd name="connsiteY3" fmla="*/ 368046 h 590550"/>
                <a:gd name="connsiteX4" fmla="*/ 515883 w 534946"/>
                <a:gd name="connsiteY4" fmla="*/ 229362 h 590550"/>
                <a:gd name="connsiteX5" fmla="*/ 305666 w 534946"/>
                <a:gd name="connsiteY5" fmla="*/ 19050 h 590550"/>
                <a:gd name="connsiteX6" fmla="*/ 95354 w 534946"/>
                <a:gd name="connsiteY6" fmla="*/ 229362 h 590550"/>
                <a:gd name="connsiteX7" fmla="*/ 94306 w 534946"/>
                <a:gd name="connsiteY7" fmla="*/ 233553 h 590550"/>
                <a:gd name="connsiteX8" fmla="*/ 20202 w 534946"/>
                <a:gd name="connsiteY8" fmla="*/ 381857 h 590550"/>
                <a:gd name="connsiteX9" fmla="*/ 20678 w 534946"/>
                <a:gd name="connsiteY9" fmla="*/ 391382 h 590550"/>
                <a:gd name="connsiteX10" fmla="*/ 28774 w 534946"/>
                <a:gd name="connsiteY10" fmla="*/ 395954 h 590550"/>
                <a:gd name="connsiteX11" fmla="*/ 85924 w 534946"/>
                <a:gd name="connsiteY11" fmla="*/ 395954 h 590550"/>
                <a:gd name="connsiteX12" fmla="*/ 95449 w 534946"/>
                <a:gd name="connsiteY12" fmla="*/ 405479 h 590550"/>
                <a:gd name="connsiteX13" fmla="*/ 95449 w 534946"/>
                <a:gd name="connsiteY13" fmla="*/ 449390 h 590550"/>
                <a:gd name="connsiteX14" fmla="*/ 129835 w 534946"/>
                <a:gd name="connsiteY14" fmla="*/ 527780 h 590550"/>
                <a:gd name="connsiteX15" fmla="*/ 217750 w 534946"/>
                <a:gd name="connsiteY15" fmla="*/ 527780 h 590550"/>
                <a:gd name="connsiteX16" fmla="*/ 227275 w 534946"/>
                <a:gd name="connsiteY16" fmla="*/ 537305 h 590550"/>
                <a:gd name="connsiteX17" fmla="*/ 227275 w 534946"/>
                <a:gd name="connsiteY17" fmla="*/ 581025 h 590550"/>
                <a:gd name="connsiteX18" fmla="*/ 217750 w 534946"/>
                <a:gd name="connsiteY18" fmla="*/ 590550 h 590550"/>
                <a:gd name="connsiteX19" fmla="*/ 208225 w 534946"/>
                <a:gd name="connsiteY19" fmla="*/ 581025 h 590550"/>
                <a:gd name="connsiteX20" fmla="*/ 208225 w 534946"/>
                <a:gd name="connsiteY20" fmla="*/ 546545 h 590550"/>
                <a:gd name="connsiteX21" fmla="*/ 129739 w 534946"/>
                <a:gd name="connsiteY21" fmla="*/ 546545 h 590550"/>
                <a:gd name="connsiteX22" fmla="*/ 76304 w 534946"/>
                <a:gd name="connsiteY22" fmla="*/ 449104 h 590550"/>
                <a:gd name="connsiteX23" fmla="*/ 76304 w 534946"/>
                <a:gd name="connsiteY23" fmla="*/ 414338 h 590550"/>
                <a:gd name="connsiteX24" fmla="*/ 28679 w 534946"/>
                <a:gd name="connsiteY24" fmla="*/ 414338 h 590550"/>
                <a:gd name="connsiteX25" fmla="*/ 0 w 534946"/>
                <a:gd name="connsiteY25" fmla="*/ 385866 h 590550"/>
                <a:gd name="connsiteX26" fmla="*/ 3057 w 534946"/>
                <a:gd name="connsiteY26" fmla="*/ 372904 h 590550"/>
                <a:gd name="connsiteX27" fmla="*/ 76209 w 534946"/>
                <a:gd name="connsiteY27" fmla="*/ 226695 h 590550"/>
                <a:gd name="connsiteX28" fmla="*/ 305666 w 534946"/>
                <a:gd name="connsiteY28" fmla="*/ 0 h 590550"/>
                <a:gd name="connsiteX29" fmla="*/ 534933 w 534946"/>
                <a:gd name="connsiteY29" fmla="*/ 229362 h 590550"/>
                <a:gd name="connsiteX30" fmla="*/ 512549 w 534946"/>
                <a:gd name="connsiteY30" fmla="*/ 373380 h 590550"/>
                <a:gd name="connsiteX31" fmla="*/ 491023 w 534946"/>
                <a:gd name="connsiteY31" fmla="*/ 512159 h 590550"/>
                <a:gd name="connsiteX32" fmla="*/ 491023 w 534946"/>
                <a:gd name="connsiteY32" fmla="*/ 581025 h 590550"/>
                <a:gd name="connsiteX33" fmla="*/ 481498 w 534946"/>
                <a:gd name="connsiteY33" fmla="*/ 5905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34946" h="590550">
                  <a:moveTo>
                    <a:pt x="481498" y="590550"/>
                  </a:moveTo>
                  <a:cubicBezTo>
                    <a:pt x="476237" y="590550"/>
                    <a:pt x="471973" y="586286"/>
                    <a:pt x="471973" y="581025"/>
                  </a:cubicBezTo>
                  <a:lnTo>
                    <a:pt x="471973" y="512159"/>
                  </a:lnTo>
                  <a:cubicBezTo>
                    <a:pt x="471621" y="463237"/>
                    <a:pt x="479147" y="414577"/>
                    <a:pt x="494261" y="368046"/>
                  </a:cubicBezTo>
                  <a:cubicBezTo>
                    <a:pt x="509003" y="323311"/>
                    <a:pt x="516307" y="276461"/>
                    <a:pt x="515883" y="229362"/>
                  </a:cubicBezTo>
                  <a:cubicBezTo>
                    <a:pt x="515883" y="107442"/>
                    <a:pt x="427491" y="19050"/>
                    <a:pt x="305666" y="19050"/>
                  </a:cubicBezTo>
                  <a:cubicBezTo>
                    <a:pt x="189557" y="19155"/>
                    <a:pt x="95459" y="113253"/>
                    <a:pt x="95354" y="229362"/>
                  </a:cubicBezTo>
                  <a:cubicBezTo>
                    <a:pt x="95330" y="230821"/>
                    <a:pt x="94972" y="232255"/>
                    <a:pt x="94306" y="233553"/>
                  </a:cubicBezTo>
                  <a:lnTo>
                    <a:pt x="20202" y="381857"/>
                  </a:lnTo>
                  <a:cubicBezTo>
                    <a:pt x="18645" y="384889"/>
                    <a:pt x="18826" y="388521"/>
                    <a:pt x="20678" y="391382"/>
                  </a:cubicBezTo>
                  <a:cubicBezTo>
                    <a:pt x="22399" y="394209"/>
                    <a:pt x="25464" y="395941"/>
                    <a:pt x="28774" y="395954"/>
                  </a:cubicBezTo>
                  <a:lnTo>
                    <a:pt x="85924" y="395954"/>
                  </a:lnTo>
                  <a:cubicBezTo>
                    <a:pt x="91185" y="395954"/>
                    <a:pt x="95449" y="400219"/>
                    <a:pt x="95449" y="405479"/>
                  </a:cubicBezTo>
                  <a:lnTo>
                    <a:pt x="95449" y="449390"/>
                  </a:lnTo>
                  <a:cubicBezTo>
                    <a:pt x="95449" y="450247"/>
                    <a:pt x="96497" y="527780"/>
                    <a:pt x="129835" y="527780"/>
                  </a:cubicBezTo>
                  <a:lnTo>
                    <a:pt x="217750" y="527780"/>
                  </a:lnTo>
                  <a:cubicBezTo>
                    <a:pt x="223011" y="527780"/>
                    <a:pt x="227275" y="532045"/>
                    <a:pt x="227275" y="537305"/>
                  </a:cubicBezTo>
                  <a:lnTo>
                    <a:pt x="227275" y="581025"/>
                  </a:lnTo>
                  <a:cubicBezTo>
                    <a:pt x="227275" y="586286"/>
                    <a:pt x="223011" y="590550"/>
                    <a:pt x="217750" y="590550"/>
                  </a:cubicBezTo>
                  <a:cubicBezTo>
                    <a:pt x="212490" y="590550"/>
                    <a:pt x="208225" y="586286"/>
                    <a:pt x="208225" y="581025"/>
                  </a:cubicBezTo>
                  <a:lnTo>
                    <a:pt x="208225" y="546545"/>
                  </a:lnTo>
                  <a:lnTo>
                    <a:pt x="129739" y="546545"/>
                  </a:lnTo>
                  <a:cubicBezTo>
                    <a:pt x="76876" y="546545"/>
                    <a:pt x="76304" y="453104"/>
                    <a:pt x="76304" y="449104"/>
                  </a:cubicBezTo>
                  <a:lnTo>
                    <a:pt x="76304" y="414338"/>
                  </a:lnTo>
                  <a:lnTo>
                    <a:pt x="28679" y="414338"/>
                  </a:lnTo>
                  <a:cubicBezTo>
                    <a:pt x="12898" y="414395"/>
                    <a:pt x="57" y="401648"/>
                    <a:pt x="0" y="385866"/>
                  </a:cubicBezTo>
                  <a:cubicBezTo>
                    <a:pt x="-16" y="381366"/>
                    <a:pt x="1031" y="376923"/>
                    <a:pt x="3057" y="372904"/>
                  </a:cubicBezTo>
                  <a:lnTo>
                    <a:pt x="76209" y="226695"/>
                  </a:lnTo>
                  <a:cubicBezTo>
                    <a:pt x="77824" y="101093"/>
                    <a:pt x="180053" y="93"/>
                    <a:pt x="305666" y="0"/>
                  </a:cubicBezTo>
                  <a:cubicBezTo>
                    <a:pt x="438540" y="0"/>
                    <a:pt x="534933" y="96488"/>
                    <a:pt x="534933" y="229362"/>
                  </a:cubicBezTo>
                  <a:cubicBezTo>
                    <a:pt x="535310" y="278262"/>
                    <a:pt x="527751" y="326901"/>
                    <a:pt x="512549" y="373380"/>
                  </a:cubicBezTo>
                  <a:cubicBezTo>
                    <a:pt x="497901" y="418168"/>
                    <a:pt x="490631" y="465039"/>
                    <a:pt x="491023" y="512159"/>
                  </a:cubicBezTo>
                  <a:lnTo>
                    <a:pt x="491023" y="581025"/>
                  </a:lnTo>
                  <a:cubicBezTo>
                    <a:pt x="491023" y="586286"/>
                    <a:pt x="486758" y="590550"/>
                    <a:pt x="481498" y="5905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 name="Freeform: Shape 106">
              <a:extLst>
                <a:ext uri="{FF2B5EF4-FFF2-40B4-BE49-F238E27FC236}">
                  <a16:creationId xmlns:a16="http://schemas.microsoft.com/office/drawing/2014/main" id="{195C12C5-676B-AFC6-20B9-EEC55DD14761}"/>
                </a:ext>
              </a:extLst>
            </p:cNvPr>
            <p:cNvSpPr/>
            <p:nvPr/>
          </p:nvSpPr>
          <p:spPr>
            <a:xfrm>
              <a:off x="12479603" y="2531363"/>
              <a:ext cx="107061" cy="107061"/>
            </a:xfrm>
            <a:custGeom>
              <a:avLst/>
              <a:gdLst>
                <a:gd name="connsiteX0" fmla="*/ 53626 w 107061"/>
                <a:gd name="connsiteY0" fmla="*/ 107061 h 107061"/>
                <a:gd name="connsiteX1" fmla="*/ 0 w 107061"/>
                <a:gd name="connsiteY1" fmla="*/ 53626 h 107061"/>
                <a:gd name="connsiteX2" fmla="*/ 53435 w 107061"/>
                <a:gd name="connsiteY2" fmla="*/ 0 h 107061"/>
                <a:gd name="connsiteX3" fmla="*/ 107061 w 107061"/>
                <a:gd name="connsiteY3" fmla="*/ 53435 h 107061"/>
                <a:gd name="connsiteX4" fmla="*/ 107061 w 107061"/>
                <a:gd name="connsiteY4" fmla="*/ 53626 h 107061"/>
                <a:gd name="connsiteX5" fmla="*/ 53626 w 107061"/>
                <a:gd name="connsiteY5" fmla="*/ 107061 h 107061"/>
                <a:gd name="connsiteX6" fmla="*/ 53626 w 107061"/>
                <a:gd name="connsiteY6" fmla="*/ 19145 h 107061"/>
                <a:gd name="connsiteX7" fmla="*/ 19050 w 107061"/>
                <a:gd name="connsiteY7" fmla="*/ 53531 h 107061"/>
                <a:gd name="connsiteX8" fmla="*/ 53435 w 107061"/>
                <a:gd name="connsiteY8" fmla="*/ 88106 h 107061"/>
                <a:gd name="connsiteX9" fmla="*/ 88011 w 107061"/>
                <a:gd name="connsiteY9" fmla="*/ 53721 h 107061"/>
                <a:gd name="connsiteX10" fmla="*/ 88011 w 107061"/>
                <a:gd name="connsiteY10" fmla="*/ 53626 h 107061"/>
                <a:gd name="connsiteX11" fmla="*/ 53913 w 107061"/>
                <a:gd name="connsiteY11" fmla="*/ 18766 h 107061"/>
                <a:gd name="connsiteX12" fmla="*/ 53626 w 107061"/>
                <a:gd name="connsiteY12" fmla="*/ 18764 h 107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061" h="107061">
                  <a:moveTo>
                    <a:pt x="53626" y="107061"/>
                  </a:moveTo>
                  <a:cubicBezTo>
                    <a:pt x="24062" y="107113"/>
                    <a:pt x="52" y="83190"/>
                    <a:pt x="0" y="53626"/>
                  </a:cubicBezTo>
                  <a:cubicBezTo>
                    <a:pt x="-52" y="24062"/>
                    <a:pt x="23872" y="52"/>
                    <a:pt x="53435" y="0"/>
                  </a:cubicBezTo>
                  <a:cubicBezTo>
                    <a:pt x="83000" y="-52"/>
                    <a:pt x="107009" y="23872"/>
                    <a:pt x="107061" y="53435"/>
                  </a:cubicBezTo>
                  <a:cubicBezTo>
                    <a:pt x="107061" y="53499"/>
                    <a:pt x="107061" y="53562"/>
                    <a:pt x="107061" y="53626"/>
                  </a:cubicBezTo>
                  <a:cubicBezTo>
                    <a:pt x="107009" y="83115"/>
                    <a:pt x="83115" y="107009"/>
                    <a:pt x="53626" y="107061"/>
                  </a:cubicBezTo>
                  <a:close/>
                  <a:moveTo>
                    <a:pt x="53626" y="19145"/>
                  </a:moveTo>
                  <a:cubicBezTo>
                    <a:pt x="34582" y="19093"/>
                    <a:pt x="19102" y="34487"/>
                    <a:pt x="19050" y="53531"/>
                  </a:cubicBezTo>
                  <a:cubicBezTo>
                    <a:pt x="18998" y="72573"/>
                    <a:pt x="34392" y="88053"/>
                    <a:pt x="53435" y="88106"/>
                  </a:cubicBezTo>
                  <a:cubicBezTo>
                    <a:pt x="72479" y="88159"/>
                    <a:pt x="87959" y="72764"/>
                    <a:pt x="88011" y="53721"/>
                  </a:cubicBezTo>
                  <a:cubicBezTo>
                    <a:pt x="88011" y="53690"/>
                    <a:pt x="88011" y="53657"/>
                    <a:pt x="88011" y="53626"/>
                  </a:cubicBezTo>
                  <a:cubicBezTo>
                    <a:pt x="88222" y="34584"/>
                    <a:pt x="72956" y="18977"/>
                    <a:pt x="53913" y="18766"/>
                  </a:cubicBezTo>
                  <a:cubicBezTo>
                    <a:pt x="53818" y="18765"/>
                    <a:pt x="53722" y="18764"/>
                    <a:pt x="53626" y="1876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 name="Freeform: Shape 107">
              <a:extLst>
                <a:ext uri="{FF2B5EF4-FFF2-40B4-BE49-F238E27FC236}">
                  <a16:creationId xmlns:a16="http://schemas.microsoft.com/office/drawing/2014/main" id="{3E7B6BF2-1A9F-6379-584B-75916C6DD369}"/>
                </a:ext>
              </a:extLst>
            </p:cNvPr>
            <p:cNvSpPr/>
            <p:nvPr/>
          </p:nvSpPr>
          <p:spPr>
            <a:xfrm>
              <a:off x="12391687" y="2662904"/>
              <a:ext cx="107061" cy="107061"/>
            </a:xfrm>
            <a:custGeom>
              <a:avLst/>
              <a:gdLst>
                <a:gd name="connsiteX0" fmla="*/ 53531 w 107061"/>
                <a:gd name="connsiteY0" fmla="*/ 107061 h 107061"/>
                <a:gd name="connsiteX1" fmla="*/ 0 w 107061"/>
                <a:gd name="connsiteY1" fmla="*/ 53530 h 107061"/>
                <a:gd name="connsiteX2" fmla="*/ 53531 w 107061"/>
                <a:gd name="connsiteY2" fmla="*/ 0 h 107061"/>
                <a:gd name="connsiteX3" fmla="*/ 107061 w 107061"/>
                <a:gd name="connsiteY3" fmla="*/ 53530 h 107061"/>
                <a:gd name="connsiteX4" fmla="*/ 53531 w 107061"/>
                <a:gd name="connsiteY4" fmla="*/ 107061 h 107061"/>
                <a:gd name="connsiteX5" fmla="*/ 53531 w 107061"/>
                <a:gd name="connsiteY5" fmla="*/ 19145 h 107061"/>
                <a:gd name="connsiteX6" fmla="*/ 19050 w 107061"/>
                <a:gd name="connsiteY6" fmla="*/ 53626 h 107061"/>
                <a:gd name="connsiteX7" fmla="*/ 53531 w 107061"/>
                <a:gd name="connsiteY7" fmla="*/ 88106 h 107061"/>
                <a:gd name="connsiteX8" fmla="*/ 88011 w 107061"/>
                <a:gd name="connsiteY8" fmla="*/ 53626 h 107061"/>
                <a:gd name="connsiteX9" fmla="*/ 88011 w 107061"/>
                <a:gd name="connsiteY9" fmla="*/ 53530 h 107061"/>
                <a:gd name="connsiteX10" fmla="*/ 53626 w 107061"/>
                <a:gd name="connsiteY10" fmla="*/ 19145 h 107061"/>
                <a:gd name="connsiteX11" fmla="*/ 53531 w 107061"/>
                <a:gd name="connsiteY11" fmla="*/ 19145 h 107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061" h="107061">
                  <a:moveTo>
                    <a:pt x="53531" y="107061"/>
                  </a:moveTo>
                  <a:cubicBezTo>
                    <a:pt x="23967" y="107061"/>
                    <a:pt x="0" y="83094"/>
                    <a:pt x="0" y="53530"/>
                  </a:cubicBezTo>
                  <a:cubicBezTo>
                    <a:pt x="0" y="23967"/>
                    <a:pt x="23967" y="0"/>
                    <a:pt x="53531" y="0"/>
                  </a:cubicBezTo>
                  <a:cubicBezTo>
                    <a:pt x="83094" y="0"/>
                    <a:pt x="107061" y="23967"/>
                    <a:pt x="107061" y="53530"/>
                  </a:cubicBezTo>
                  <a:cubicBezTo>
                    <a:pt x="107061" y="83094"/>
                    <a:pt x="83094" y="107061"/>
                    <a:pt x="53531" y="107061"/>
                  </a:cubicBezTo>
                  <a:close/>
                  <a:moveTo>
                    <a:pt x="53531" y="19145"/>
                  </a:moveTo>
                  <a:cubicBezTo>
                    <a:pt x="34487" y="19145"/>
                    <a:pt x="19050" y="34582"/>
                    <a:pt x="19050" y="53626"/>
                  </a:cubicBezTo>
                  <a:cubicBezTo>
                    <a:pt x="19050" y="72669"/>
                    <a:pt x="34488" y="88106"/>
                    <a:pt x="53531" y="88106"/>
                  </a:cubicBezTo>
                  <a:cubicBezTo>
                    <a:pt x="72574" y="88106"/>
                    <a:pt x="88011" y="72669"/>
                    <a:pt x="88011" y="53626"/>
                  </a:cubicBezTo>
                  <a:cubicBezTo>
                    <a:pt x="88011" y="53594"/>
                    <a:pt x="88011" y="53562"/>
                    <a:pt x="88011" y="53530"/>
                  </a:cubicBezTo>
                  <a:cubicBezTo>
                    <a:pt x="88011" y="34541"/>
                    <a:pt x="72617" y="19145"/>
                    <a:pt x="53626" y="19145"/>
                  </a:cubicBezTo>
                  <a:cubicBezTo>
                    <a:pt x="53594" y="19145"/>
                    <a:pt x="53562" y="19145"/>
                    <a:pt x="53531" y="1914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 name="Freeform: Shape 108">
              <a:extLst>
                <a:ext uri="{FF2B5EF4-FFF2-40B4-BE49-F238E27FC236}">
                  <a16:creationId xmlns:a16="http://schemas.microsoft.com/office/drawing/2014/main" id="{11961DEB-EDBD-69C0-5DF8-FC21D3EC7F38}"/>
                </a:ext>
              </a:extLst>
            </p:cNvPr>
            <p:cNvSpPr/>
            <p:nvPr/>
          </p:nvSpPr>
          <p:spPr>
            <a:xfrm>
              <a:off x="12567519" y="2706814"/>
              <a:ext cx="107061" cy="107061"/>
            </a:xfrm>
            <a:custGeom>
              <a:avLst/>
              <a:gdLst>
                <a:gd name="connsiteX0" fmla="*/ 53626 w 107061"/>
                <a:gd name="connsiteY0" fmla="*/ 107061 h 107061"/>
                <a:gd name="connsiteX1" fmla="*/ 0 w 107061"/>
                <a:gd name="connsiteY1" fmla="*/ 53626 h 107061"/>
                <a:gd name="connsiteX2" fmla="*/ 53435 w 107061"/>
                <a:gd name="connsiteY2" fmla="*/ 0 h 107061"/>
                <a:gd name="connsiteX3" fmla="*/ 107061 w 107061"/>
                <a:gd name="connsiteY3" fmla="*/ 53435 h 107061"/>
                <a:gd name="connsiteX4" fmla="*/ 107061 w 107061"/>
                <a:gd name="connsiteY4" fmla="*/ 53626 h 107061"/>
                <a:gd name="connsiteX5" fmla="*/ 53626 w 107061"/>
                <a:gd name="connsiteY5" fmla="*/ 107061 h 107061"/>
                <a:gd name="connsiteX6" fmla="*/ 53626 w 107061"/>
                <a:gd name="connsiteY6" fmla="*/ 19145 h 107061"/>
                <a:gd name="connsiteX7" fmla="*/ 19050 w 107061"/>
                <a:gd name="connsiteY7" fmla="*/ 53531 h 107061"/>
                <a:gd name="connsiteX8" fmla="*/ 53435 w 107061"/>
                <a:gd name="connsiteY8" fmla="*/ 88106 h 107061"/>
                <a:gd name="connsiteX9" fmla="*/ 88011 w 107061"/>
                <a:gd name="connsiteY9" fmla="*/ 53721 h 107061"/>
                <a:gd name="connsiteX10" fmla="*/ 88011 w 107061"/>
                <a:gd name="connsiteY10" fmla="*/ 53626 h 107061"/>
                <a:gd name="connsiteX11" fmla="*/ 53626 w 107061"/>
                <a:gd name="connsiteY11" fmla="*/ 19145 h 107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061" h="107061">
                  <a:moveTo>
                    <a:pt x="53626" y="107061"/>
                  </a:moveTo>
                  <a:cubicBezTo>
                    <a:pt x="24062" y="107113"/>
                    <a:pt x="52" y="83190"/>
                    <a:pt x="0" y="53626"/>
                  </a:cubicBezTo>
                  <a:cubicBezTo>
                    <a:pt x="-52" y="24062"/>
                    <a:pt x="23872" y="52"/>
                    <a:pt x="53435" y="0"/>
                  </a:cubicBezTo>
                  <a:cubicBezTo>
                    <a:pt x="83000" y="-52"/>
                    <a:pt x="107009" y="23872"/>
                    <a:pt x="107061" y="53435"/>
                  </a:cubicBezTo>
                  <a:cubicBezTo>
                    <a:pt x="107061" y="53499"/>
                    <a:pt x="107061" y="53562"/>
                    <a:pt x="107061" y="53626"/>
                  </a:cubicBezTo>
                  <a:cubicBezTo>
                    <a:pt x="107009" y="83115"/>
                    <a:pt x="83115" y="107009"/>
                    <a:pt x="53626" y="107061"/>
                  </a:cubicBezTo>
                  <a:close/>
                  <a:moveTo>
                    <a:pt x="53626" y="19145"/>
                  </a:moveTo>
                  <a:cubicBezTo>
                    <a:pt x="34582" y="19093"/>
                    <a:pt x="19102" y="34487"/>
                    <a:pt x="19050" y="53531"/>
                  </a:cubicBezTo>
                  <a:cubicBezTo>
                    <a:pt x="18998" y="72573"/>
                    <a:pt x="34392" y="88053"/>
                    <a:pt x="53435" y="88106"/>
                  </a:cubicBezTo>
                  <a:cubicBezTo>
                    <a:pt x="72479" y="88159"/>
                    <a:pt x="87959" y="72763"/>
                    <a:pt x="88011" y="53721"/>
                  </a:cubicBezTo>
                  <a:cubicBezTo>
                    <a:pt x="88011" y="53690"/>
                    <a:pt x="88011" y="53657"/>
                    <a:pt x="88011" y="53626"/>
                  </a:cubicBezTo>
                  <a:cubicBezTo>
                    <a:pt x="88011" y="34620"/>
                    <a:pt x="72632" y="19198"/>
                    <a:pt x="53626" y="1914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 name="Freeform: Shape 109">
              <a:extLst>
                <a:ext uri="{FF2B5EF4-FFF2-40B4-BE49-F238E27FC236}">
                  <a16:creationId xmlns:a16="http://schemas.microsoft.com/office/drawing/2014/main" id="{592117B9-DB9A-8E11-F0E3-B1491E896044}"/>
                </a:ext>
              </a:extLst>
            </p:cNvPr>
            <p:cNvSpPr/>
            <p:nvPr/>
          </p:nvSpPr>
          <p:spPr>
            <a:xfrm>
              <a:off x="12523704" y="2619375"/>
              <a:ext cx="19050" cy="414337"/>
            </a:xfrm>
            <a:custGeom>
              <a:avLst/>
              <a:gdLst>
                <a:gd name="connsiteX0" fmla="*/ 9525 w 19050"/>
                <a:gd name="connsiteY0" fmla="*/ 414338 h 414337"/>
                <a:gd name="connsiteX1" fmla="*/ 0 w 19050"/>
                <a:gd name="connsiteY1" fmla="*/ 404813 h 414337"/>
                <a:gd name="connsiteX2" fmla="*/ 0 w 19050"/>
                <a:gd name="connsiteY2" fmla="*/ 9525 h 414337"/>
                <a:gd name="connsiteX3" fmla="*/ 9525 w 19050"/>
                <a:gd name="connsiteY3" fmla="*/ 0 h 414337"/>
                <a:gd name="connsiteX4" fmla="*/ 19050 w 19050"/>
                <a:gd name="connsiteY4" fmla="*/ 9525 h 414337"/>
                <a:gd name="connsiteX5" fmla="*/ 19050 w 19050"/>
                <a:gd name="connsiteY5" fmla="*/ 404813 h 414337"/>
                <a:gd name="connsiteX6" fmla="*/ 9525 w 19050"/>
                <a:gd name="connsiteY6" fmla="*/ 414338 h 414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414337">
                  <a:moveTo>
                    <a:pt x="9525" y="414338"/>
                  </a:moveTo>
                  <a:cubicBezTo>
                    <a:pt x="4264" y="414338"/>
                    <a:pt x="0" y="410073"/>
                    <a:pt x="0" y="404813"/>
                  </a:cubicBezTo>
                  <a:lnTo>
                    <a:pt x="0" y="9525"/>
                  </a:lnTo>
                  <a:cubicBezTo>
                    <a:pt x="0" y="4264"/>
                    <a:pt x="4264" y="0"/>
                    <a:pt x="9525" y="0"/>
                  </a:cubicBezTo>
                  <a:cubicBezTo>
                    <a:pt x="14786" y="0"/>
                    <a:pt x="19050" y="4264"/>
                    <a:pt x="19050" y="9525"/>
                  </a:cubicBezTo>
                  <a:lnTo>
                    <a:pt x="19050" y="404813"/>
                  </a:lnTo>
                  <a:cubicBezTo>
                    <a:pt x="19050" y="410073"/>
                    <a:pt x="14786" y="414338"/>
                    <a:pt x="9525" y="4143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 name="Freeform: Shape 110">
              <a:extLst>
                <a:ext uri="{FF2B5EF4-FFF2-40B4-BE49-F238E27FC236}">
                  <a16:creationId xmlns:a16="http://schemas.microsoft.com/office/drawing/2014/main" id="{00FEC6BE-B4EE-F497-CAD5-D40BAA25E048}"/>
                </a:ext>
              </a:extLst>
            </p:cNvPr>
            <p:cNvSpPr/>
            <p:nvPr/>
          </p:nvSpPr>
          <p:spPr>
            <a:xfrm>
              <a:off x="12523704" y="2794825"/>
              <a:ext cx="106965" cy="106965"/>
            </a:xfrm>
            <a:custGeom>
              <a:avLst/>
              <a:gdLst>
                <a:gd name="connsiteX0" fmla="*/ 97441 w 106965"/>
                <a:gd name="connsiteY0" fmla="*/ 106966 h 106965"/>
                <a:gd name="connsiteX1" fmla="*/ 9525 w 106965"/>
                <a:gd name="connsiteY1" fmla="*/ 106966 h 106965"/>
                <a:gd name="connsiteX2" fmla="*/ 0 w 106965"/>
                <a:gd name="connsiteY2" fmla="*/ 97441 h 106965"/>
                <a:gd name="connsiteX3" fmla="*/ 9525 w 106965"/>
                <a:gd name="connsiteY3" fmla="*/ 87916 h 106965"/>
                <a:gd name="connsiteX4" fmla="*/ 87916 w 106965"/>
                <a:gd name="connsiteY4" fmla="*/ 87916 h 106965"/>
                <a:gd name="connsiteX5" fmla="*/ 87916 w 106965"/>
                <a:gd name="connsiteY5" fmla="*/ 9525 h 106965"/>
                <a:gd name="connsiteX6" fmla="*/ 97441 w 106965"/>
                <a:gd name="connsiteY6" fmla="*/ 0 h 106965"/>
                <a:gd name="connsiteX7" fmla="*/ 106966 w 106965"/>
                <a:gd name="connsiteY7" fmla="*/ 9525 h 106965"/>
                <a:gd name="connsiteX8" fmla="*/ 106966 w 106965"/>
                <a:gd name="connsiteY8" fmla="*/ 97441 h 106965"/>
                <a:gd name="connsiteX9" fmla="*/ 97441 w 106965"/>
                <a:gd name="connsiteY9" fmla="*/ 106966 h 106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965" h="106965">
                  <a:moveTo>
                    <a:pt x="97441" y="106966"/>
                  </a:moveTo>
                  <a:lnTo>
                    <a:pt x="9525" y="106966"/>
                  </a:lnTo>
                  <a:cubicBezTo>
                    <a:pt x="4264" y="106966"/>
                    <a:pt x="0" y="102701"/>
                    <a:pt x="0" y="97441"/>
                  </a:cubicBezTo>
                  <a:cubicBezTo>
                    <a:pt x="0" y="92180"/>
                    <a:pt x="4264" y="87916"/>
                    <a:pt x="9525" y="87916"/>
                  </a:cubicBezTo>
                  <a:lnTo>
                    <a:pt x="87916" y="87916"/>
                  </a:lnTo>
                  <a:lnTo>
                    <a:pt x="87916" y="9525"/>
                  </a:lnTo>
                  <a:cubicBezTo>
                    <a:pt x="87916" y="4264"/>
                    <a:pt x="92180" y="0"/>
                    <a:pt x="97441" y="0"/>
                  </a:cubicBezTo>
                  <a:cubicBezTo>
                    <a:pt x="102701" y="0"/>
                    <a:pt x="106966" y="4264"/>
                    <a:pt x="106966" y="9525"/>
                  </a:cubicBezTo>
                  <a:lnTo>
                    <a:pt x="106966" y="97441"/>
                  </a:lnTo>
                  <a:cubicBezTo>
                    <a:pt x="106966" y="102701"/>
                    <a:pt x="102701" y="106966"/>
                    <a:pt x="97441" y="10696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 name="Freeform: Shape 111">
              <a:extLst>
                <a:ext uri="{FF2B5EF4-FFF2-40B4-BE49-F238E27FC236}">
                  <a16:creationId xmlns:a16="http://schemas.microsoft.com/office/drawing/2014/main" id="{9B3D51E1-A8C7-8B55-342A-EF02860AA8D0}"/>
                </a:ext>
              </a:extLst>
            </p:cNvPr>
            <p:cNvSpPr/>
            <p:nvPr/>
          </p:nvSpPr>
          <p:spPr>
            <a:xfrm>
              <a:off x="12435693" y="2750915"/>
              <a:ext cx="107060" cy="62960"/>
            </a:xfrm>
            <a:custGeom>
              <a:avLst/>
              <a:gdLst>
                <a:gd name="connsiteX0" fmla="*/ 97536 w 107060"/>
                <a:gd name="connsiteY0" fmla="*/ 62960 h 62960"/>
                <a:gd name="connsiteX1" fmla="*/ 9525 w 107060"/>
                <a:gd name="connsiteY1" fmla="*/ 62960 h 62960"/>
                <a:gd name="connsiteX2" fmla="*/ 0 w 107060"/>
                <a:gd name="connsiteY2" fmla="*/ 53435 h 62960"/>
                <a:gd name="connsiteX3" fmla="*/ 0 w 107060"/>
                <a:gd name="connsiteY3" fmla="*/ 9525 h 62960"/>
                <a:gd name="connsiteX4" fmla="*/ 9525 w 107060"/>
                <a:gd name="connsiteY4" fmla="*/ 0 h 62960"/>
                <a:gd name="connsiteX5" fmla="*/ 19050 w 107060"/>
                <a:gd name="connsiteY5" fmla="*/ 9525 h 62960"/>
                <a:gd name="connsiteX6" fmla="*/ 19050 w 107060"/>
                <a:gd name="connsiteY6" fmla="*/ 43910 h 62960"/>
                <a:gd name="connsiteX7" fmla="*/ 97536 w 107060"/>
                <a:gd name="connsiteY7" fmla="*/ 43910 h 62960"/>
                <a:gd name="connsiteX8" fmla="*/ 107061 w 107060"/>
                <a:gd name="connsiteY8" fmla="*/ 53435 h 62960"/>
                <a:gd name="connsiteX9" fmla="*/ 97536 w 107060"/>
                <a:gd name="connsiteY9" fmla="*/ 62960 h 6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060" h="62960">
                  <a:moveTo>
                    <a:pt x="97536" y="62960"/>
                  </a:moveTo>
                  <a:lnTo>
                    <a:pt x="9525" y="62960"/>
                  </a:lnTo>
                  <a:cubicBezTo>
                    <a:pt x="4264" y="62960"/>
                    <a:pt x="0" y="58696"/>
                    <a:pt x="0" y="53435"/>
                  </a:cubicBezTo>
                  <a:lnTo>
                    <a:pt x="0" y="9525"/>
                  </a:lnTo>
                  <a:cubicBezTo>
                    <a:pt x="0" y="4264"/>
                    <a:pt x="4264" y="0"/>
                    <a:pt x="9525" y="0"/>
                  </a:cubicBezTo>
                  <a:cubicBezTo>
                    <a:pt x="14786" y="0"/>
                    <a:pt x="19050" y="4264"/>
                    <a:pt x="19050" y="9525"/>
                  </a:cubicBezTo>
                  <a:lnTo>
                    <a:pt x="19050" y="43910"/>
                  </a:lnTo>
                  <a:lnTo>
                    <a:pt x="97536" y="43910"/>
                  </a:lnTo>
                  <a:cubicBezTo>
                    <a:pt x="102797" y="43910"/>
                    <a:pt x="107061" y="48175"/>
                    <a:pt x="107061" y="53435"/>
                  </a:cubicBezTo>
                  <a:cubicBezTo>
                    <a:pt x="107061" y="58696"/>
                    <a:pt x="102797" y="62960"/>
                    <a:pt x="97536" y="6296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13" name="Group 112">
            <a:extLst>
              <a:ext uri="{FF2B5EF4-FFF2-40B4-BE49-F238E27FC236}">
                <a16:creationId xmlns:a16="http://schemas.microsoft.com/office/drawing/2014/main" id="{DCE731B8-5B2C-FCBD-8288-8E1C2BD4476D}"/>
              </a:ext>
            </a:extLst>
          </p:cNvPr>
          <p:cNvGrpSpPr/>
          <p:nvPr/>
        </p:nvGrpSpPr>
        <p:grpSpPr>
          <a:xfrm>
            <a:off x="6491076" y="1443688"/>
            <a:ext cx="351884" cy="351886"/>
            <a:chOff x="-874070" y="22921"/>
            <a:chExt cx="855759" cy="855765"/>
          </a:xfrm>
          <a:solidFill>
            <a:schemeClr val="bg1"/>
          </a:solidFill>
        </p:grpSpPr>
        <p:sp>
          <p:nvSpPr>
            <p:cNvPr id="114" name="Freeform: Shape 113">
              <a:extLst>
                <a:ext uri="{FF2B5EF4-FFF2-40B4-BE49-F238E27FC236}">
                  <a16:creationId xmlns:a16="http://schemas.microsoft.com/office/drawing/2014/main" id="{247C2167-9016-5882-DE75-330D3AFD6F53}"/>
                </a:ext>
              </a:extLst>
            </p:cNvPr>
            <p:cNvSpPr/>
            <p:nvPr/>
          </p:nvSpPr>
          <p:spPr>
            <a:xfrm>
              <a:off x="-874070" y="22921"/>
              <a:ext cx="855759" cy="855765"/>
            </a:xfrm>
            <a:custGeom>
              <a:avLst/>
              <a:gdLst>
                <a:gd name="connsiteX0" fmla="*/ 855750 w 855759"/>
                <a:gd name="connsiteY0" fmla="*/ 398116 h 855765"/>
                <a:gd name="connsiteX1" fmla="*/ 690405 w 855759"/>
                <a:gd name="connsiteY1" fmla="*/ 238239 h 855765"/>
                <a:gd name="connsiteX2" fmla="*/ 427877 w 855759"/>
                <a:gd name="connsiteY2" fmla="*/ 0 h 855765"/>
                <a:gd name="connsiteX3" fmla="*/ 165349 w 855759"/>
                <a:gd name="connsiteY3" fmla="*/ 238239 h 855765"/>
                <a:gd name="connsiteX4" fmla="*/ 159991 w 855759"/>
                <a:gd name="connsiteY4" fmla="*/ 238128 h 855765"/>
                <a:gd name="connsiteX5" fmla="*/ 0 w 855759"/>
                <a:gd name="connsiteY5" fmla="*/ 398119 h 855765"/>
                <a:gd name="connsiteX6" fmla="*/ 134245 w 855759"/>
                <a:gd name="connsiteY6" fmla="*/ 555844 h 855765"/>
                <a:gd name="connsiteX7" fmla="*/ 133948 w 855759"/>
                <a:gd name="connsiteY7" fmla="*/ 561834 h 855765"/>
                <a:gd name="connsiteX8" fmla="*/ 427880 w 855759"/>
                <a:gd name="connsiteY8" fmla="*/ 855766 h 855765"/>
                <a:gd name="connsiteX9" fmla="*/ 721812 w 855759"/>
                <a:gd name="connsiteY9" fmla="*/ 561834 h 855765"/>
                <a:gd name="connsiteX10" fmla="*/ 721514 w 855759"/>
                <a:gd name="connsiteY10" fmla="*/ 555806 h 855765"/>
                <a:gd name="connsiteX11" fmla="*/ 855759 w 855759"/>
                <a:gd name="connsiteY11" fmla="*/ 398120 h 855765"/>
                <a:gd name="connsiteX12" fmla="*/ 427868 w 855759"/>
                <a:gd name="connsiteY12" fmla="*/ 833438 h 855765"/>
                <a:gd name="connsiteX13" fmla="*/ 156253 w 855759"/>
                <a:gd name="connsiteY13" fmla="*/ 561823 h 855765"/>
                <a:gd name="connsiteX14" fmla="*/ 427868 w 855759"/>
                <a:gd name="connsiteY14" fmla="*/ 290208 h 855765"/>
                <a:gd name="connsiteX15" fmla="*/ 699483 w 855759"/>
                <a:gd name="connsiteY15" fmla="*/ 561823 h 855765"/>
                <a:gd name="connsiteX16" fmla="*/ 427868 w 855759"/>
                <a:gd name="connsiteY16" fmla="*/ 833438 h 855765"/>
                <a:gd name="connsiteX17" fmla="*/ 720352 w 855759"/>
                <a:gd name="connsiteY17" fmla="*/ 533476 h 855765"/>
                <a:gd name="connsiteX18" fmla="*/ 427868 w 855759"/>
                <a:gd name="connsiteY18" fmla="*/ 267891 h 855765"/>
                <a:gd name="connsiteX19" fmla="*/ 135384 w 855759"/>
                <a:gd name="connsiteY19" fmla="*/ 533476 h 855765"/>
                <a:gd name="connsiteX20" fmla="*/ 22312 w 855759"/>
                <a:gd name="connsiteY20" fmla="*/ 398116 h 855765"/>
                <a:gd name="connsiteX21" fmla="*/ 159977 w 855759"/>
                <a:gd name="connsiteY21" fmla="*/ 260452 h 855765"/>
                <a:gd name="connsiteX22" fmla="*/ 174339 w 855759"/>
                <a:gd name="connsiteY22" fmla="*/ 261270 h 855765"/>
                <a:gd name="connsiteX23" fmla="*/ 182822 w 855759"/>
                <a:gd name="connsiteY23" fmla="*/ 258703 h 855765"/>
                <a:gd name="connsiteX24" fmla="*/ 186766 w 855759"/>
                <a:gd name="connsiteY24" fmla="*/ 250778 h 855765"/>
                <a:gd name="connsiteX25" fmla="*/ 427863 w 855759"/>
                <a:gd name="connsiteY25" fmla="*/ 22330 h 855765"/>
                <a:gd name="connsiteX26" fmla="*/ 668960 w 855759"/>
                <a:gd name="connsiteY26" fmla="*/ 250778 h 855765"/>
                <a:gd name="connsiteX27" fmla="*/ 672904 w 855759"/>
                <a:gd name="connsiteY27" fmla="*/ 258703 h 855765"/>
                <a:gd name="connsiteX28" fmla="*/ 681387 w 855759"/>
                <a:gd name="connsiteY28" fmla="*/ 261270 h 855765"/>
                <a:gd name="connsiteX29" fmla="*/ 695749 w 855759"/>
                <a:gd name="connsiteY29" fmla="*/ 260452 h 855765"/>
                <a:gd name="connsiteX30" fmla="*/ 833414 w 855759"/>
                <a:gd name="connsiteY30" fmla="*/ 398116 h 855765"/>
                <a:gd name="connsiteX31" fmla="*/ 720342 w 855759"/>
                <a:gd name="connsiteY31" fmla="*/ 533476 h 85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5759" h="855765">
                  <a:moveTo>
                    <a:pt x="855750" y="398116"/>
                  </a:moveTo>
                  <a:cubicBezTo>
                    <a:pt x="855750" y="308113"/>
                    <a:pt x="780518" y="234706"/>
                    <a:pt x="690405" y="238239"/>
                  </a:cubicBezTo>
                  <a:cubicBezTo>
                    <a:pt x="677309" y="103775"/>
                    <a:pt x="564085" y="0"/>
                    <a:pt x="427877" y="0"/>
                  </a:cubicBezTo>
                  <a:cubicBezTo>
                    <a:pt x="291622" y="0"/>
                    <a:pt x="178437" y="103737"/>
                    <a:pt x="165349" y="238239"/>
                  </a:cubicBezTo>
                  <a:cubicBezTo>
                    <a:pt x="163563" y="238165"/>
                    <a:pt x="161777" y="238128"/>
                    <a:pt x="159991" y="238128"/>
                  </a:cubicBezTo>
                  <a:cubicBezTo>
                    <a:pt x="71774" y="238128"/>
                    <a:pt x="0" y="309900"/>
                    <a:pt x="0" y="398119"/>
                  </a:cubicBezTo>
                  <a:cubicBezTo>
                    <a:pt x="0" y="477444"/>
                    <a:pt x="57039" y="543413"/>
                    <a:pt x="134245" y="555844"/>
                  </a:cubicBezTo>
                  <a:cubicBezTo>
                    <a:pt x="134208" y="557853"/>
                    <a:pt x="133948" y="559825"/>
                    <a:pt x="133948" y="561834"/>
                  </a:cubicBezTo>
                  <a:cubicBezTo>
                    <a:pt x="133948" y="723911"/>
                    <a:pt x="265812" y="855766"/>
                    <a:pt x="427880" y="855766"/>
                  </a:cubicBezTo>
                  <a:cubicBezTo>
                    <a:pt x="589948" y="855766"/>
                    <a:pt x="721812" y="723902"/>
                    <a:pt x="721812" y="561834"/>
                  </a:cubicBezTo>
                  <a:cubicBezTo>
                    <a:pt x="721812" y="559788"/>
                    <a:pt x="721551" y="557853"/>
                    <a:pt x="721514" y="555806"/>
                  </a:cubicBezTo>
                  <a:cubicBezTo>
                    <a:pt x="798719" y="543379"/>
                    <a:pt x="855759" y="477448"/>
                    <a:pt x="855759" y="398120"/>
                  </a:cubicBezTo>
                  <a:close/>
                  <a:moveTo>
                    <a:pt x="427868" y="833438"/>
                  </a:moveTo>
                  <a:cubicBezTo>
                    <a:pt x="278106" y="833438"/>
                    <a:pt x="156253" y="711584"/>
                    <a:pt x="156253" y="561823"/>
                  </a:cubicBezTo>
                  <a:cubicBezTo>
                    <a:pt x="156253" y="412061"/>
                    <a:pt x="278106" y="290208"/>
                    <a:pt x="427868" y="290208"/>
                  </a:cubicBezTo>
                  <a:cubicBezTo>
                    <a:pt x="577629" y="290208"/>
                    <a:pt x="699483" y="412061"/>
                    <a:pt x="699483" y="561823"/>
                  </a:cubicBezTo>
                  <a:cubicBezTo>
                    <a:pt x="699483" y="711584"/>
                    <a:pt x="577629" y="833438"/>
                    <a:pt x="427868" y="833438"/>
                  </a:cubicBezTo>
                  <a:close/>
                  <a:moveTo>
                    <a:pt x="720352" y="533476"/>
                  </a:moveTo>
                  <a:cubicBezTo>
                    <a:pt x="706027" y="384648"/>
                    <a:pt x="580344" y="267891"/>
                    <a:pt x="427868" y="267891"/>
                  </a:cubicBezTo>
                  <a:cubicBezTo>
                    <a:pt x="275353" y="267891"/>
                    <a:pt x="149671" y="384648"/>
                    <a:pt x="135384" y="533476"/>
                  </a:cubicBezTo>
                  <a:cubicBezTo>
                    <a:pt x="70196" y="521793"/>
                    <a:pt x="22312" y="465536"/>
                    <a:pt x="22312" y="398116"/>
                  </a:cubicBezTo>
                  <a:cubicBezTo>
                    <a:pt x="22312" y="322214"/>
                    <a:pt x="84076" y="260452"/>
                    <a:pt x="159977" y="260452"/>
                  </a:cubicBezTo>
                  <a:cubicBezTo>
                    <a:pt x="164777" y="260452"/>
                    <a:pt x="169539" y="260712"/>
                    <a:pt x="174339" y="261270"/>
                  </a:cubicBezTo>
                  <a:cubicBezTo>
                    <a:pt x="177427" y="261531"/>
                    <a:pt x="180441" y="260675"/>
                    <a:pt x="182822" y="258703"/>
                  </a:cubicBezTo>
                  <a:cubicBezTo>
                    <a:pt x="185166" y="256694"/>
                    <a:pt x="186617" y="253866"/>
                    <a:pt x="186766" y="250778"/>
                  </a:cubicBezTo>
                  <a:cubicBezTo>
                    <a:pt x="193761" y="122676"/>
                    <a:pt x="299685" y="22330"/>
                    <a:pt x="427863" y="22330"/>
                  </a:cubicBezTo>
                  <a:cubicBezTo>
                    <a:pt x="556041" y="22330"/>
                    <a:pt x="661968" y="122676"/>
                    <a:pt x="668960" y="250778"/>
                  </a:cubicBezTo>
                  <a:cubicBezTo>
                    <a:pt x="669109" y="253829"/>
                    <a:pt x="670560" y="256694"/>
                    <a:pt x="672904" y="258703"/>
                  </a:cubicBezTo>
                  <a:cubicBezTo>
                    <a:pt x="675248" y="260675"/>
                    <a:pt x="678299" y="261568"/>
                    <a:pt x="681387" y="261270"/>
                  </a:cubicBezTo>
                  <a:cubicBezTo>
                    <a:pt x="686187" y="260712"/>
                    <a:pt x="690949" y="260452"/>
                    <a:pt x="695749" y="260452"/>
                  </a:cubicBezTo>
                  <a:cubicBezTo>
                    <a:pt x="771652" y="260452"/>
                    <a:pt x="833414" y="322216"/>
                    <a:pt x="833414" y="398116"/>
                  </a:cubicBezTo>
                  <a:cubicBezTo>
                    <a:pt x="833414" y="465535"/>
                    <a:pt x="785529" y="521789"/>
                    <a:pt x="720342" y="53347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5" name="Freeform: Shape 114">
              <a:extLst>
                <a:ext uri="{FF2B5EF4-FFF2-40B4-BE49-F238E27FC236}">
                  <a16:creationId xmlns:a16="http://schemas.microsoft.com/office/drawing/2014/main" id="{2238D958-07DF-33F4-4AC2-29320B96B137}"/>
                </a:ext>
              </a:extLst>
            </p:cNvPr>
            <p:cNvSpPr/>
            <p:nvPr/>
          </p:nvSpPr>
          <p:spPr>
            <a:xfrm>
              <a:off x="-591343" y="384355"/>
              <a:ext cx="247233" cy="211627"/>
            </a:xfrm>
            <a:custGeom>
              <a:avLst/>
              <a:gdLst>
                <a:gd name="connsiteX0" fmla="*/ 145141 w 247233"/>
                <a:gd name="connsiteY0" fmla="*/ 77612 h 211627"/>
                <a:gd name="connsiteX1" fmla="*/ 217174 w 247233"/>
                <a:gd name="connsiteY1" fmla="*/ 101089 h 211627"/>
                <a:gd name="connsiteX2" fmla="*/ 141979 w 247233"/>
                <a:gd name="connsiteY2" fmla="*/ 124566 h 211627"/>
                <a:gd name="connsiteX3" fmla="*/ 134649 w 247233"/>
                <a:gd name="connsiteY3" fmla="*/ 138556 h 211627"/>
                <a:gd name="connsiteX4" fmla="*/ 145290 w 247233"/>
                <a:gd name="connsiteY4" fmla="*/ 146407 h 211627"/>
                <a:gd name="connsiteX5" fmla="*/ 148602 w 247233"/>
                <a:gd name="connsiteY5" fmla="*/ 145886 h 211627"/>
                <a:gd name="connsiteX6" fmla="*/ 228969 w 247233"/>
                <a:gd name="connsiteY6" fmla="*/ 120809 h 211627"/>
                <a:gd name="connsiteX7" fmla="*/ 246047 w 247233"/>
                <a:gd name="connsiteY7" fmla="*/ 88178 h 211627"/>
                <a:gd name="connsiteX8" fmla="*/ 220970 w 247233"/>
                <a:gd name="connsiteY8" fmla="*/ 7848 h 211627"/>
                <a:gd name="connsiteX9" fmla="*/ 206979 w 247233"/>
                <a:gd name="connsiteY9" fmla="*/ 518 h 211627"/>
                <a:gd name="connsiteX10" fmla="*/ 199650 w 247233"/>
                <a:gd name="connsiteY10" fmla="*/ 14509 h 211627"/>
                <a:gd name="connsiteX11" fmla="*/ 218663 w 247233"/>
                <a:gd name="connsiteY11" fmla="*/ 75453 h 211627"/>
                <a:gd name="connsiteX12" fmla="*/ 145104 w 247233"/>
                <a:gd name="connsiteY12" fmla="*/ 55361 h 211627"/>
                <a:gd name="connsiteX13" fmla="*/ 0 w 247233"/>
                <a:gd name="connsiteY13" fmla="*/ 200465 h 211627"/>
                <a:gd name="connsiteX14" fmla="*/ 11162 w 247233"/>
                <a:gd name="connsiteY14" fmla="*/ 211627 h 211627"/>
                <a:gd name="connsiteX15" fmla="*/ 22325 w 247233"/>
                <a:gd name="connsiteY15" fmla="*/ 200465 h 211627"/>
                <a:gd name="connsiteX16" fmla="*/ 145111 w 247233"/>
                <a:gd name="connsiteY16" fmla="*/ 77678 h 211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7233" h="211627">
                  <a:moveTo>
                    <a:pt x="145141" y="77612"/>
                  </a:moveTo>
                  <a:cubicBezTo>
                    <a:pt x="171075" y="77612"/>
                    <a:pt x="196264" y="85909"/>
                    <a:pt x="217174" y="101089"/>
                  </a:cubicBezTo>
                  <a:lnTo>
                    <a:pt x="141979" y="124566"/>
                  </a:lnTo>
                  <a:cubicBezTo>
                    <a:pt x="136100" y="126389"/>
                    <a:pt x="132826" y="132677"/>
                    <a:pt x="134649" y="138556"/>
                  </a:cubicBezTo>
                  <a:cubicBezTo>
                    <a:pt x="136137" y="143356"/>
                    <a:pt x="140528" y="146407"/>
                    <a:pt x="145290" y="146407"/>
                  </a:cubicBezTo>
                  <a:cubicBezTo>
                    <a:pt x="146369" y="146407"/>
                    <a:pt x="147523" y="146258"/>
                    <a:pt x="148602" y="145886"/>
                  </a:cubicBezTo>
                  <a:lnTo>
                    <a:pt x="228969" y="120809"/>
                  </a:lnTo>
                  <a:cubicBezTo>
                    <a:pt x="242661" y="116530"/>
                    <a:pt x="250326" y="101870"/>
                    <a:pt x="246047" y="88178"/>
                  </a:cubicBezTo>
                  <a:lnTo>
                    <a:pt x="220970" y="7848"/>
                  </a:lnTo>
                  <a:cubicBezTo>
                    <a:pt x="219147" y="1969"/>
                    <a:pt x="212896" y="-1342"/>
                    <a:pt x="206979" y="518"/>
                  </a:cubicBezTo>
                  <a:cubicBezTo>
                    <a:pt x="201101" y="2341"/>
                    <a:pt x="197827" y="8629"/>
                    <a:pt x="199650" y="14509"/>
                  </a:cubicBezTo>
                  <a:lnTo>
                    <a:pt x="218663" y="75453"/>
                  </a:lnTo>
                  <a:cubicBezTo>
                    <a:pt x="196487" y="62394"/>
                    <a:pt x="171112" y="55361"/>
                    <a:pt x="145104" y="55361"/>
                  </a:cubicBezTo>
                  <a:cubicBezTo>
                    <a:pt x="65109" y="55361"/>
                    <a:pt x="0" y="120473"/>
                    <a:pt x="0" y="200465"/>
                  </a:cubicBezTo>
                  <a:cubicBezTo>
                    <a:pt x="0" y="206641"/>
                    <a:pt x="4986" y="211627"/>
                    <a:pt x="11162" y="211627"/>
                  </a:cubicBezTo>
                  <a:cubicBezTo>
                    <a:pt x="17339" y="211627"/>
                    <a:pt x="22325" y="206642"/>
                    <a:pt x="22325" y="200465"/>
                  </a:cubicBezTo>
                  <a:cubicBezTo>
                    <a:pt x="22325" y="132748"/>
                    <a:pt x="77391" y="77678"/>
                    <a:pt x="145111" y="7767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6" name="Freeform: Shape 115">
              <a:extLst>
                <a:ext uri="{FF2B5EF4-FFF2-40B4-BE49-F238E27FC236}">
                  <a16:creationId xmlns:a16="http://schemas.microsoft.com/office/drawing/2014/main" id="{3122F94B-A148-2967-6C5F-7C8300AEC252}"/>
                </a:ext>
              </a:extLst>
            </p:cNvPr>
            <p:cNvSpPr/>
            <p:nvPr/>
          </p:nvSpPr>
          <p:spPr>
            <a:xfrm>
              <a:off x="-548341" y="573524"/>
              <a:ext cx="247195" cy="211630"/>
            </a:xfrm>
            <a:custGeom>
              <a:avLst/>
              <a:gdLst>
                <a:gd name="connsiteX0" fmla="*/ 236079 w 247195"/>
                <a:gd name="connsiteY0" fmla="*/ 67 h 211630"/>
                <a:gd name="connsiteX1" fmla="*/ 224917 w 247195"/>
                <a:gd name="connsiteY1" fmla="*/ 11229 h 211630"/>
                <a:gd name="connsiteX2" fmla="*/ 102130 w 247195"/>
                <a:gd name="connsiteY2" fmla="*/ 134016 h 211630"/>
                <a:gd name="connsiteX3" fmla="*/ 30097 w 247195"/>
                <a:gd name="connsiteY3" fmla="*/ 110539 h 211630"/>
                <a:gd name="connsiteX4" fmla="*/ 105292 w 247195"/>
                <a:gd name="connsiteY4" fmla="*/ 87061 h 211630"/>
                <a:gd name="connsiteX5" fmla="*/ 112622 w 247195"/>
                <a:gd name="connsiteY5" fmla="*/ 73071 h 211630"/>
                <a:gd name="connsiteX6" fmla="*/ 98632 w 247195"/>
                <a:gd name="connsiteY6" fmla="*/ 65741 h 211630"/>
                <a:gd name="connsiteX7" fmla="*/ 18264 w 247195"/>
                <a:gd name="connsiteY7" fmla="*/ 90819 h 211630"/>
                <a:gd name="connsiteX8" fmla="*/ 1186 w 247195"/>
                <a:gd name="connsiteY8" fmla="*/ 123449 h 211630"/>
                <a:gd name="connsiteX9" fmla="*/ 26264 w 247195"/>
                <a:gd name="connsiteY9" fmla="*/ 203779 h 211630"/>
                <a:gd name="connsiteX10" fmla="*/ 36905 w 247195"/>
                <a:gd name="connsiteY10" fmla="*/ 211630 h 211630"/>
                <a:gd name="connsiteX11" fmla="*/ 40216 w 247195"/>
                <a:gd name="connsiteY11" fmla="*/ 211109 h 211630"/>
                <a:gd name="connsiteX12" fmla="*/ 47546 w 247195"/>
                <a:gd name="connsiteY12" fmla="*/ 197119 h 211630"/>
                <a:gd name="connsiteX13" fmla="*/ 28533 w 247195"/>
                <a:gd name="connsiteY13" fmla="*/ 136174 h 211630"/>
                <a:gd name="connsiteX14" fmla="*/ 102092 w 247195"/>
                <a:gd name="connsiteY14" fmla="*/ 156266 h 211630"/>
                <a:gd name="connsiteX15" fmla="*/ 247196 w 247195"/>
                <a:gd name="connsiteY15" fmla="*/ 11162 h 211630"/>
                <a:gd name="connsiteX16" fmla="*/ 236033 w 247195"/>
                <a:gd name="connsiteY16" fmla="*/ 0 h 21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7195" h="211630">
                  <a:moveTo>
                    <a:pt x="236079" y="67"/>
                  </a:moveTo>
                  <a:cubicBezTo>
                    <a:pt x="229903" y="67"/>
                    <a:pt x="224917" y="5052"/>
                    <a:pt x="224917" y="11229"/>
                  </a:cubicBezTo>
                  <a:cubicBezTo>
                    <a:pt x="224917" y="78946"/>
                    <a:pt x="169851" y="134016"/>
                    <a:pt x="102130" y="134016"/>
                  </a:cubicBezTo>
                  <a:cubicBezTo>
                    <a:pt x="76196" y="134016"/>
                    <a:pt x="51007" y="125719"/>
                    <a:pt x="30097" y="110539"/>
                  </a:cubicBezTo>
                  <a:lnTo>
                    <a:pt x="105292" y="87061"/>
                  </a:lnTo>
                  <a:cubicBezTo>
                    <a:pt x="111171" y="85238"/>
                    <a:pt x="114445" y="78950"/>
                    <a:pt x="112622" y="73071"/>
                  </a:cubicBezTo>
                  <a:cubicBezTo>
                    <a:pt x="110799" y="67192"/>
                    <a:pt x="104585" y="63881"/>
                    <a:pt x="98632" y="65741"/>
                  </a:cubicBezTo>
                  <a:lnTo>
                    <a:pt x="18264" y="90819"/>
                  </a:lnTo>
                  <a:cubicBezTo>
                    <a:pt x="4572" y="95097"/>
                    <a:pt x="-3093" y="109757"/>
                    <a:pt x="1186" y="123449"/>
                  </a:cubicBezTo>
                  <a:lnTo>
                    <a:pt x="26264" y="203779"/>
                  </a:lnTo>
                  <a:cubicBezTo>
                    <a:pt x="27752" y="208579"/>
                    <a:pt x="32142" y="211630"/>
                    <a:pt x="36905" y="211630"/>
                  </a:cubicBezTo>
                  <a:cubicBezTo>
                    <a:pt x="37984" y="211630"/>
                    <a:pt x="39137" y="211481"/>
                    <a:pt x="40216" y="211109"/>
                  </a:cubicBezTo>
                  <a:cubicBezTo>
                    <a:pt x="46095" y="209286"/>
                    <a:pt x="49369" y="202998"/>
                    <a:pt x="47546" y="197119"/>
                  </a:cubicBezTo>
                  <a:lnTo>
                    <a:pt x="28533" y="136174"/>
                  </a:lnTo>
                  <a:cubicBezTo>
                    <a:pt x="50708" y="149234"/>
                    <a:pt x="76084" y="156266"/>
                    <a:pt x="102092" y="156266"/>
                  </a:cubicBezTo>
                  <a:cubicBezTo>
                    <a:pt x="182087" y="156266"/>
                    <a:pt x="247196" y="91154"/>
                    <a:pt x="247196" y="11162"/>
                  </a:cubicBezTo>
                  <a:cubicBezTo>
                    <a:pt x="247196" y="4986"/>
                    <a:pt x="242210" y="0"/>
                    <a:pt x="236033"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17" name="Freeform: Shape 116">
            <a:extLst>
              <a:ext uri="{FF2B5EF4-FFF2-40B4-BE49-F238E27FC236}">
                <a16:creationId xmlns:a16="http://schemas.microsoft.com/office/drawing/2014/main" id="{848BD14B-84E1-BA2F-9F15-C455C065D3B8}"/>
              </a:ext>
            </a:extLst>
          </p:cNvPr>
          <p:cNvSpPr/>
          <p:nvPr/>
        </p:nvSpPr>
        <p:spPr>
          <a:xfrm>
            <a:off x="6491075" y="2901044"/>
            <a:ext cx="340172" cy="307174"/>
          </a:xfrm>
          <a:custGeom>
            <a:avLst/>
            <a:gdLst>
              <a:gd name="connsiteX0" fmla="*/ 57150 w 856599"/>
              <a:gd name="connsiteY0" fmla="*/ 239078 h 773509"/>
              <a:gd name="connsiteX1" fmla="*/ 57579 w 856599"/>
              <a:gd name="connsiteY1" fmla="*/ 288236 h 773509"/>
              <a:gd name="connsiteX2" fmla="*/ 99489 w 856599"/>
              <a:gd name="connsiteY2" fmla="*/ 321135 h 773509"/>
              <a:gd name="connsiteX3" fmla="*/ 325593 w 856599"/>
              <a:gd name="connsiteY3" fmla="*/ 319630 h 773509"/>
              <a:gd name="connsiteX4" fmla="*/ 367322 w 856599"/>
              <a:gd name="connsiteY4" fmla="*/ 286198 h 773509"/>
              <a:gd name="connsiteX5" fmla="*/ 366884 w 856599"/>
              <a:gd name="connsiteY5" fmla="*/ 236896 h 773509"/>
              <a:gd name="connsiteX6" fmla="*/ 57121 w 856599"/>
              <a:gd name="connsiteY6" fmla="*/ 239078 h 773509"/>
              <a:gd name="connsiteX7" fmla="*/ 56426 w 856599"/>
              <a:gd name="connsiteY7" fmla="*/ 156591 h 773509"/>
              <a:gd name="connsiteX8" fmla="*/ 331137 w 856599"/>
              <a:gd name="connsiteY8" fmla="*/ 173098 h 773509"/>
              <a:gd name="connsiteX9" fmla="*/ 366198 w 856599"/>
              <a:gd name="connsiteY9" fmla="*/ 154467 h 773509"/>
              <a:gd name="connsiteX10" fmla="*/ 366627 w 856599"/>
              <a:gd name="connsiteY10" fmla="*/ 203768 h 773509"/>
              <a:gd name="connsiteX11" fmla="*/ 325012 w 856599"/>
              <a:gd name="connsiteY11" fmla="*/ 237173 h 773509"/>
              <a:gd name="connsiteX12" fmla="*/ 98831 w 856599"/>
              <a:gd name="connsiteY12" fmla="*/ 238668 h 773509"/>
              <a:gd name="connsiteX13" fmla="*/ 56855 w 856599"/>
              <a:gd name="connsiteY13" fmla="*/ 205826 h 773509"/>
              <a:gd name="connsiteX14" fmla="*/ 56426 w 856599"/>
              <a:gd name="connsiteY14" fmla="*/ 156591 h 773509"/>
              <a:gd name="connsiteX15" fmla="*/ 333194 w 856599"/>
              <a:gd name="connsiteY15" fmla="*/ 210760 h 773509"/>
              <a:gd name="connsiteX16" fmla="*/ 335566 w 856599"/>
              <a:gd name="connsiteY16" fmla="*/ 210760 h 773509"/>
              <a:gd name="connsiteX17" fmla="*/ 345599 w 856599"/>
              <a:gd name="connsiteY17" fmla="*/ 201255 h 773509"/>
              <a:gd name="connsiteX18" fmla="*/ 336095 w 856599"/>
              <a:gd name="connsiteY18" fmla="*/ 191222 h 773509"/>
              <a:gd name="connsiteX19" fmla="*/ 335490 w 856599"/>
              <a:gd name="connsiteY19" fmla="*/ 191224 h 773509"/>
              <a:gd name="connsiteX20" fmla="*/ 333118 w 856599"/>
              <a:gd name="connsiteY20" fmla="*/ 191224 h 773509"/>
              <a:gd name="connsiteX21" fmla="*/ 323383 w 856599"/>
              <a:gd name="connsiteY21" fmla="*/ 201035 h 773509"/>
              <a:gd name="connsiteX22" fmla="*/ 333194 w 856599"/>
              <a:gd name="connsiteY22" fmla="*/ 210769 h 773509"/>
              <a:gd name="connsiteX23" fmla="*/ 271234 w 856599"/>
              <a:gd name="connsiteY23" fmla="*/ 226000 h 773509"/>
              <a:gd name="connsiteX24" fmla="*/ 273615 w 856599"/>
              <a:gd name="connsiteY24" fmla="*/ 226000 h 773509"/>
              <a:gd name="connsiteX25" fmla="*/ 283037 w 856599"/>
              <a:gd name="connsiteY25" fmla="*/ 215888 h 773509"/>
              <a:gd name="connsiteX26" fmla="*/ 273529 w 856599"/>
              <a:gd name="connsiteY26" fmla="*/ 206464 h 773509"/>
              <a:gd name="connsiteX27" fmla="*/ 271158 w 856599"/>
              <a:gd name="connsiteY27" fmla="*/ 206464 h 773509"/>
              <a:gd name="connsiteX28" fmla="*/ 261124 w 856599"/>
              <a:gd name="connsiteY28" fmla="*/ 215968 h 773509"/>
              <a:gd name="connsiteX29" fmla="*/ 270629 w 856599"/>
              <a:gd name="connsiteY29" fmla="*/ 226002 h 773509"/>
              <a:gd name="connsiteX30" fmla="*/ 271234 w 856599"/>
              <a:gd name="connsiteY30" fmla="*/ 226000 h 773509"/>
              <a:gd name="connsiteX31" fmla="*/ 302228 w 856599"/>
              <a:gd name="connsiteY31" fmla="*/ 220856 h 773509"/>
              <a:gd name="connsiteX32" fmla="*/ 304610 w 856599"/>
              <a:gd name="connsiteY32" fmla="*/ 220856 h 773509"/>
              <a:gd name="connsiteX33" fmla="*/ 314035 w 856599"/>
              <a:gd name="connsiteY33" fmla="*/ 210749 h 773509"/>
              <a:gd name="connsiteX34" fmla="*/ 304533 w 856599"/>
              <a:gd name="connsiteY34" fmla="*/ 201320 h 773509"/>
              <a:gd name="connsiteX35" fmla="*/ 302152 w 856599"/>
              <a:gd name="connsiteY35" fmla="*/ 201320 h 773509"/>
              <a:gd name="connsiteX36" fmla="*/ 292726 w 856599"/>
              <a:gd name="connsiteY36" fmla="*/ 211428 h 773509"/>
              <a:gd name="connsiteX37" fmla="*/ 302228 w 856599"/>
              <a:gd name="connsiteY37" fmla="*/ 220856 h 773509"/>
              <a:gd name="connsiteX38" fmla="*/ 333718 w 856599"/>
              <a:gd name="connsiteY38" fmla="*/ 291017 h 773509"/>
              <a:gd name="connsiteX39" fmla="*/ 324213 w 856599"/>
              <a:gd name="connsiteY39" fmla="*/ 280984 h 773509"/>
              <a:gd name="connsiteX40" fmla="*/ 333642 w 856599"/>
              <a:gd name="connsiteY40" fmla="*/ 271482 h 773509"/>
              <a:gd name="connsiteX41" fmla="*/ 336023 w 856599"/>
              <a:gd name="connsiteY41" fmla="*/ 271482 h 773509"/>
              <a:gd name="connsiteX42" fmla="*/ 345527 w 856599"/>
              <a:gd name="connsiteY42" fmla="*/ 281515 h 773509"/>
              <a:gd name="connsiteX43" fmla="*/ 336099 w 856599"/>
              <a:gd name="connsiteY43" fmla="*/ 291017 h 773509"/>
              <a:gd name="connsiteX44" fmla="*/ 333718 w 856599"/>
              <a:gd name="connsiteY44" fmla="*/ 291017 h 773509"/>
              <a:gd name="connsiteX45" fmla="*/ 271805 w 856599"/>
              <a:gd name="connsiteY45" fmla="*/ 306257 h 773509"/>
              <a:gd name="connsiteX46" fmla="*/ 262295 w 856599"/>
              <a:gd name="connsiteY46" fmla="*/ 296229 h 773509"/>
              <a:gd name="connsiteX47" fmla="*/ 271720 w 856599"/>
              <a:gd name="connsiteY47" fmla="*/ 286722 h 773509"/>
              <a:gd name="connsiteX48" fmla="*/ 274101 w 856599"/>
              <a:gd name="connsiteY48" fmla="*/ 286722 h 773509"/>
              <a:gd name="connsiteX49" fmla="*/ 284208 w 856599"/>
              <a:gd name="connsiteY49" fmla="*/ 296148 h 773509"/>
              <a:gd name="connsiteX50" fmla="*/ 274782 w 856599"/>
              <a:gd name="connsiteY50" fmla="*/ 306255 h 773509"/>
              <a:gd name="connsiteX51" fmla="*/ 274177 w 856599"/>
              <a:gd name="connsiteY51" fmla="*/ 306257 h 773509"/>
              <a:gd name="connsiteX52" fmla="*/ 302800 w 856599"/>
              <a:gd name="connsiteY52" fmla="*/ 301114 h 773509"/>
              <a:gd name="connsiteX53" fmla="*/ 292692 w 856599"/>
              <a:gd name="connsiteY53" fmla="*/ 291688 h 773509"/>
              <a:gd name="connsiteX54" fmla="*/ 302118 w 856599"/>
              <a:gd name="connsiteY54" fmla="*/ 281580 h 773509"/>
              <a:gd name="connsiteX55" fmla="*/ 302724 w 856599"/>
              <a:gd name="connsiteY55" fmla="*/ 281578 h 773509"/>
              <a:gd name="connsiteX56" fmla="*/ 305095 w 856599"/>
              <a:gd name="connsiteY56" fmla="*/ 281578 h 773509"/>
              <a:gd name="connsiteX57" fmla="*/ 315203 w 856599"/>
              <a:gd name="connsiteY57" fmla="*/ 291004 h 773509"/>
              <a:gd name="connsiteX58" fmla="*/ 305777 w 856599"/>
              <a:gd name="connsiteY58" fmla="*/ 301112 h 773509"/>
              <a:gd name="connsiteX59" fmla="*/ 305172 w 856599"/>
              <a:gd name="connsiteY59" fmla="*/ 301114 h 773509"/>
              <a:gd name="connsiteX60" fmla="*/ 302800 w 856599"/>
              <a:gd name="connsiteY60" fmla="*/ 301114 h 773509"/>
              <a:gd name="connsiteX61" fmla="*/ 334337 w 856599"/>
              <a:gd name="connsiteY61" fmla="*/ 378676 h 773509"/>
              <a:gd name="connsiteX62" fmla="*/ 324230 w 856599"/>
              <a:gd name="connsiteY62" fmla="*/ 369250 h 773509"/>
              <a:gd name="connsiteX63" fmla="*/ 333656 w 856599"/>
              <a:gd name="connsiteY63" fmla="*/ 359143 h 773509"/>
              <a:gd name="connsiteX64" fmla="*/ 334261 w 856599"/>
              <a:gd name="connsiteY64" fmla="*/ 359140 h 773509"/>
              <a:gd name="connsiteX65" fmla="*/ 336633 w 856599"/>
              <a:gd name="connsiteY65" fmla="*/ 359140 h 773509"/>
              <a:gd name="connsiteX66" fmla="*/ 346443 w 856599"/>
              <a:gd name="connsiteY66" fmla="*/ 368875 h 773509"/>
              <a:gd name="connsiteX67" fmla="*/ 336709 w 856599"/>
              <a:gd name="connsiteY67" fmla="*/ 378685 h 773509"/>
              <a:gd name="connsiteX68" fmla="*/ 272377 w 856599"/>
              <a:gd name="connsiteY68" fmla="*/ 393916 h 773509"/>
              <a:gd name="connsiteX69" fmla="*/ 262528 w 856599"/>
              <a:gd name="connsiteY69" fmla="*/ 384181 h 773509"/>
              <a:gd name="connsiteX70" fmla="*/ 272263 w 856599"/>
              <a:gd name="connsiteY70" fmla="*/ 374333 h 773509"/>
              <a:gd name="connsiteX71" fmla="*/ 274634 w 856599"/>
              <a:gd name="connsiteY71" fmla="*/ 374333 h 773509"/>
              <a:gd name="connsiteX72" fmla="*/ 284746 w 856599"/>
              <a:gd name="connsiteY72" fmla="*/ 383754 h 773509"/>
              <a:gd name="connsiteX73" fmla="*/ 275324 w 856599"/>
              <a:gd name="connsiteY73" fmla="*/ 393866 h 773509"/>
              <a:gd name="connsiteX74" fmla="*/ 274720 w 856599"/>
              <a:gd name="connsiteY74" fmla="*/ 393868 h 773509"/>
              <a:gd name="connsiteX75" fmla="*/ 272339 w 856599"/>
              <a:gd name="connsiteY75" fmla="*/ 393868 h 773509"/>
              <a:gd name="connsiteX76" fmla="*/ 303371 w 856599"/>
              <a:gd name="connsiteY76" fmla="*/ 388763 h 773509"/>
              <a:gd name="connsiteX77" fmla="*/ 293867 w 856599"/>
              <a:gd name="connsiteY77" fmla="*/ 378729 h 773509"/>
              <a:gd name="connsiteX78" fmla="*/ 303295 w 856599"/>
              <a:gd name="connsiteY78" fmla="*/ 369227 h 773509"/>
              <a:gd name="connsiteX79" fmla="*/ 305676 w 856599"/>
              <a:gd name="connsiteY79" fmla="*/ 369227 h 773509"/>
              <a:gd name="connsiteX80" fmla="*/ 315181 w 856599"/>
              <a:gd name="connsiteY80" fmla="*/ 379261 h 773509"/>
              <a:gd name="connsiteX81" fmla="*/ 305752 w 856599"/>
              <a:gd name="connsiteY81" fmla="*/ 388763 h 773509"/>
              <a:gd name="connsiteX82" fmla="*/ 658358 w 856599"/>
              <a:gd name="connsiteY82" fmla="*/ 161401 h 773509"/>
              <a:gd name="connsiteX83" fmla="*/ 658358 w 856599"/>
              <a:gd name="connsiteY83" fmla="*/ 106813 h 773509"/>
              <a:gd name="connsiteX84" fmla="*/ 381962 w 856599"/>
              <a:gd name="connsiteY84" fmla="*/ 106813 h 773509"/>
              <a:gd name="connsiteX85" fmla="*/ 385439 w 856599"/>
              <a:gd name="connsiteY85" fmla="*/ 121168 h 773509"/>
              <a:gd name="connsiteX86" fmla="*/ 385791 w 856599"/>
              <a:gd name="connsiteY86" fmla="*/ 161401 h 773509"/>
              <a:gd name="connsiteX87" fmla="*/ 358083 w 856599"/>
              <a:gd name="connsiteY87" fmla="*/ 106794 h 773509"/>
              <a:gd name="connsiteX88" fmla="*/ 349510 w 856599"/>
              <a:gd name="connsiteY88" fmla="*/ 100327 h 773509"/>
              <a:gd name="connsiteX89" fmla="*/ 323936 w 856599"/>
              <a:gd name="connsiteY89" fmla="*/ 88459 h 773509"/>
              <a:gd name="connsiteX90" fmla="*/ 97746 w 856599"/>
              <a:gd name="connsiteY90" fmla="*/ 89954 h 773509"/>
              <a:gd name="connsiteX91" fmla="*/ 98155 w 856599"/>
              <a:gd name="connsiteY91" fmla="*/ 156191 h 773509"/>
              <a:gd name="connsiteX92" fmla="*/ 324345 w 856599"/>
              <a:gd name="connsiteY92" fmla="*/ 154696 h 773509"/>
              <a:gd name="connsiteX93" fmla="*/ 358111 w 856599"/>
              <a:gd name="connsiteY93" fmla="*/ 106794 h 773509"/>
              <a:gd name="connsiteX94" fmla="*/ 100098 w 856599"/>
              <a:gd name="connsiteY94" fmla="*/ 403670 h 773509"/>
              <a:gd name="connsiteX95" fmla="*/ 58303 w 856599"/>
              <a:gd name="connsiteY95" fmla="*/ 370885 h 773509"/>
              <a:gd name="connsiteX96" fmla="*/ 57874 w 856599"/>
              <a:gd name="connsiteY96" fmla="*/ 321516 h 773509"/>
              <a:gd name="connsiteX97" fmla="*/ 332365 w 856599"/>
              <a:gd name="connsiteY97" fmla="*/ 338014 h 773509"/>
              <a:gd name="connsiteX98" fmla="*/ 367608 w 856599"/>
              <a:gd name="connsiteY98" fmla="*/ 319297 h 773509"/>
              <a:gd name="connsiteX99" fmla="*/ 368046 w 856599"/>
              <a:gd name="connsiteY99" fmla="*/ 368722 h 773509"/>
              <a:gd name="connsiteX100" fmla="*/ 326298 w 856599"/>
              <a:gd name="connsiteY100" fmla="*/ 402060 h 773509"/>
              <a:gd name="connsiteX101" fmla="*/ 100070 w 856599"/>
              <a:gd name="connsiteY101" fmla="*/ 403641 h 773509"/>
              <a:gd name="connsiteX102" fmla="*/ 19660 w 856599"/>
              <a:gd name="connsiteY102" fmla="*/ 601818 h 773509"/>
              <a:gd name="connsiteX103" fmla="*/ 19660 w 856599"/>
              <a:gd name="connsiteY103" fmla="*/ 19564 h 773509"/>
              <a:gd name="connsiteX104" fmla="*/ 194262 w 856599"/>
              <a:gd name="connsiteY104" fmla="*/ 19564 h 773509"/>
              <a:gd name="connsiteX105" fmla="*/ 239468 w 856599"/>
              <a:gd name="connsiteY105" fmla="*/ 53397 h 773509"/>
              <a:gd name="connsiteX106" fmla="*/ 90878 w 856599"/>
              <a:gd name="connsiteY106" fmla="*/ 71571 h 773509"/>
              <a:gd name="connsiteX107" fmla="*/ 36586 w 856599"/>
              <a:gd name="connsiteY107" fmla="*/ 123482 h 773509"/>
              <a:gd name="connsiteX108" fmla="*/ 38767 w 856599"/>
              <a:gd name="connsiteY108" fmla="*/ 370999 h 773509"/>
              <a:gd name="connsiteX109" fmla="*/ 58455 w 856599"/>
              <a:gd name="connsiteY109" fmla="*/ 404070 h 773509"/>
              <a:gd name="connsiteX110" fmla="*/ 58455 w 856599"/>
              <a:gd name="connsiteY110" fmla="*/ 601818 h 773509"/>
              <a:gd name="connsiteX111" fmla="*/ 38618 w 856599"/>
              <a:gd name="connsiteY111" fmla="*/ 620795 h 773509"/>
              <a:gd name="connsiteX112" fmla="*/ 19641 w 856599"/>
              <a:gd name="connsiteY112" fmla="*/ 601818 h 773509"/>
              <a:gd name="connsiteX113" fmla="*/ 736406 w 856599"/>
              <a:gd name="connsiteY113" fmla="*/ 340938 h 773509"/>
              <a:gd name="connsiteX114" fmla="*/ 828512 w 856599"/>
              <a:gd name="connsiteY114" fmla="*/ 653316 h 773509"/>
              <a:gd name="connsiteX115" fmla="*/ 516134 w 856599"/>
              <a:gd name="connsiteY115" fmla="*/ 745421 h 773509"/>
              <a:gd name="connsiteX116" fmla="*/ 417719 w 856599"/>
              <a:gd name="connsiteY116" fmla="*/ 640842 h 773509"/>
              <a:gd name="connsiteX117" fmla="*/ 39053 w 856599"/>
              <a:gd name="connsiteY117" fmla="*/ 640842 h 773509"/>
              <a:gd name="connsiteX118" fmla="*/ 0 w 856599"/>
              <a:gd name="connsiteY118" fmla="*/ 601790 h 773509"/>
              <a:gd name="connsiteX119" fmla="*/ 0 w 856599"/>
              <a:gd name="connsiteY119" fmla="*/ 9754 h 773509"/>
              <a:gd name="connsiteX120" fmla="*/ 9830 w 856599"/>
              <a:gd name="connsiteY120" fmla="*/ 0 h 773509"/>
              <a:gd name="connsiteX121" fmla="*/ 197472 w 856599"/>
              <a:gd name="connsiteY121" fmla="*/ 0 h 773509"/>
              <a:gd name="connsiteX122" fmla="*/ 204026 w 856599"/>
              <a:gd name="connsiteY122" fmla="*/ 2505 h 773509"/>
              <a:gd name="connsiteX123" fmla="*/ 275720 w 856599"/>
              <a:gd name="connsiteY123" fmla="*/ 56159 h 773509"/>
              <a:gd name="connsiteX124" fmla="*/ 276920 w 856599"/>
              <a:gd name="connsiteY124" fmla="*/ 57226 h 773509"/>
              <a:gd name="connsiteX125" fmla="*/ 330441 w 856599"/>
              <a:gd name="connsiteY125" fmla="*/ 70047 h 773509"/>
              <a:gd name="connsiteX126" fmla="*/ 364465 w 856599"/>
              <a:gd name="connsiteY126" fmla="*/ 87201 h 773509"/>
              <a:gd name="connsiteX127" fmla="*/ 668169 w 856599"/>
              <a:gd name="connsiteY127" fmla="*/ 87201 h 773509"/>
              <a:gd name="connsiteX128" fmla="*/ 677980 w 856599"/>
              <a:gd name="connsiteY128" fmla="*/ 97012 h 773509"/>
              <a:gd name="connsiteX129" fmla="*/ 677980 w 856599"/>
              <a:gd name="connsiteY129" fmla="*/ 161401 h 773509"/>
              <a:gd name="connsiteX130" fmla="*/ 726558 w 856599"/>
              <a:gd name="connsiteY130" fmla="*/ 161401 h 773509"/>
              <a:gd name="connsiteX131" fmla="*/ 736359 w 856599"/>
              <a:gd name="connsiteY131" fmla="*/ 171202 h 773509"/>
              <a:gd name="connsiteX132" fmla="*/ 736359 w 856599"/>
              <a:gd name="connsiteY132" fmla="*/ 340938 h 773509"/>
              <a:gd name="connsiteX133" fmla="*/ 495767 w 856599"/>
              <a:gd name="connsiteY133" fmla="*/ 640842 h 773509"/>
              <a:gd name="connsiteX134" fmla="*/ 723871 w 856599"/>
              <a:gd name="connsiteY134" fmla="*/ 673746 h 773509"/>
              <a:gd name="connsiteX135" fmla="*/ 756775 w 856599"/>
              <a:gd name="connsiteY135" fmla="*/ 445642 h 773509"/>
              <a:gd name="connsiteX136" fmla="*/ 736406 w 856599"/>
              <a:gd name="connsiteY136" fmla="*/ 423129 h 773509"/>
              <a:gd name="connsiteX137" fmla="*/ 736406 w 856599"/>
              <a:gd name="connsiteY137" fmla="*/ 598570 h 773509"/>
              <a:gd name="connsiteX138" fmla="*/ 694144 w 856599"/>
              <a:gd name="connsiteY138" fmla="*/ 640842 h 773509"/>
              <a:gd name="connsiteX139" fmla="*/ 409623 w 856599"/>
              <a:gd name="connsiteY139" fmla="*/ 621230 h 773509"/>
              <a:gd name="connsiteX140" fmla="*/ 72876 w 856599"/>
              <a:gd name="connsiteY140" fmla="*/ 621230 h 773509"/>
              <a:gd name="connsiteX141" fmla="*/ 78076 w 856599"/>
              <a:gd name="connsiteY141" fmla="*/ 601818 h 773509"/>
              <a:gd name="connsiteX142" fmla="*/ 78076 w 856599"/>
              <a:gd name="connsiteY142" fmla="*/ 415785 h 773509"/>
              <a:gd name="connsiteX143" fmla="*/ 93516 w 856599"/>
              <a:gd name="connsiteY143" fmla="*/ 422139 h 773509"/>
              <a:gd name="connsiteX144" fmla="*/ 333070 w 856599"/>
              <a:gd name="connsiteY144" fmla="*/ 420481 h 773509"/>
              <a:gd name="connsiteX145" fmla="*/ 387610 w 856599"/>
              <a:gd name="connsiteY145" fmla="*/ 368627 h 773509"/>
              <a:gd name="connsiteX146" fmla="*/ 385963 w 856599"/>
              <a:gd name="connsiteY146" fmla="*/ 180985 h 773509"/>
              <a:gd name="connsiteX147" fmla="*/ 716794 w 856599"/>
              <a:gd name="connsiteY147" fmla="*/ 180985 h 773509"/>
              <a:gd name="connsiteX148" fmla="*/ 716794 w 856599"/>
              <a:gd name="connsiteY148" fmla="*/ 331470 h 773509"/>
              <a:gd name="connsiteX149" fmla="*/ 470535 w 856599"/>
              <a:gd name="connsiteY149" fmla="*/ 373647 h 773509"/>
              <a:gd name="connsiteX150" fmla="*/ 453247 w 856599"/>
              <a:gd name="connsiteY150" fmla="*/ 356359 h 773509"/>
              <a:gd name="connsiteX151" fmla="*/ 439386 w 856599"/>
              <a:gd name="connsiteY151" fmla="*/ 356355 h 773509"/>
              <a:gd name="connsiteX152" fmla="*/ 436731 w 856599"/>
              <a:gd name="connsiteY152" fmla="*/ 361236 h 773509"/>
              <a:gd name="connsiteX153" fmla="*/ 407013 w 856599"/>
              <a:gd name="connsiteY153" fmla="*/ 472145 h 773509"/>
              <a:gd name="connsiteX154" fmla="*/ 413950 w 856599"/>
              <a:gd name="connsiteY154" fmla="*/ 484129 h 773509"/>
              <a:gd name="connsiteX155" fmla="*/ 419110 w 856599"/>
              <a:gd name="connsiteY155" fmla="*/ 484099 h 773509"/>
              <a:gd name="connsiteX156" fmla="*/ 530371 w 856599"/>
              <a:gd name="connsiteY156" fmla="*/ 454285 h 773509"/>
              <a:gd name="connsiteX157" fmla="*/ 537294 w 856599"/>
              <a:gd name="connsiteY157" fmla="*/ 442277 h 773509"/>
              <a:gd name="connsiteX158" fmla="*/ 534772 w 856599"/>
              <a:gd name="connsiteY158" fmla="*/ 437902 h 773509"/>
              <a:gd name="connsiteX159" fmla="*/ 518198 w 856599"/>
              <a:gd name="connsiteY159" fmla="*/ 421310 h 773509"/>
              <a:gd name="connsiteX160" fmla="*/ 716794 w 856599"/>
              <a:gd name="connsiteY160" fmla="*/ 407670 h 773509"/>
              <a:gd name="connsiteX161" fmla="*/ 716794 w 856599"/>
              <a:gd name="connsiteY161" fmla="*/ 598570 h 773509"/>
              <a:gd name="connsiteX162" fmla="*/ 694144 w 856599"/>
              <a:gd name="connsiteY162" fmla="*/ 621230 h 773509"/>
              <a:gd name="connsiteX163" fmla="*/ 483127 w 856599"/>
              <a:gd name="connsiteY163" fmla="*/ 621230 h 773509"/>
              <a:gd name="connsiteX164" fmla="*/ 463525 w 856599"/>
              <a:gd name="connsiteY164" fmla="*/ 551583 h 773509"/>
              <a:gd name="connsiteX165" fmla="*/ 453316 w 856599"/>
              <a:gd name="connsiteY165" fmla="*/ 542267 h 773509"/>
              <a:gd name="connsiteX166" fmla="*/ 453304 w 856599"/>
              <a:gd name="connsiteY166" fmla="*/ 542268 h 773509"/>
              <a:gd name="connsiteX167" fmla="*/ 405679 w 856599"/>
              <a:gd name="connsiteY167" fmla="*/ 544687 h 773509"/>
              <a:gd name="connsiteX168" fmla="*/ 396373 w 856599"/>
              <a:gd name="connsiteY168" fmla="*/ 554905 h 773509"/>
              <a:gd name="connsiteX169" fmla="*/ 396373 w 856599"/>
              <a:gd name="connsiteY169" fmla="*/ 554917 h 773509"/>
              <a:gd name="connsiteX170" fmla="*/ 409661 w 856599"/>
              <a:gd name="connsiteY170" fmla="*/ 621230 h 773509"/>
              <a:gd name="connsiteX171" fmla="*/ 416585 w 856599"/>
              <a:gd name="connsiteY171" fmla="*/ 563718 h 773509"/>
              <a:gd name="connsiteX172" fmla="*/ 646743 w 856599"/>
              <a:gd name="connsiteY172" fmla="*/ 752955 h 773509"/>
              <a:gd name="connsiteX173" fmla="*/ 835980 w 856599"/>
              <a:gd name="connsiteY173" fmla="*/ 522798 h 773509"/>
              <a:gd name="connsiteX174" fmla="*/ 605822 w 856599"/>
              <a:gd name="connsiteY174" fmla="*/ 333561 h 773509"/>
              <a:gd name="connsiteX175" fmla="*/ 477317 w 856599"/>
              <a:gd name="connsiteY175" fmla="*/ 394259 h 773509"/>
              <a:gd name="connsiteX176" fmla="*/ 463469 w 856599"/>
              <a:gd name="connsiteY176" fmla="*/ 394270 h 773509"/>
              <a:gd name="connsiteX177" fmla="*/ 463458 w 856599"/>
              <a:gd name="connsiteY177" fmla="*/ 394259 h 773509"/>
              <a:gd name="connsiteX178" fmla="*/ 451380 w 856599"/>
              <a:gd name="connsiteY178" fmla="*/ 382191 h 773509"/>
              <a:gd name="connsiteX179" fmla="*/ 430320 w 856599"/>
              <a:gd name="connsiteY179" fmla="*/ 460781 h 773509"/>
              <a:gd name="connsiteX180" fmla="*/ 508911 w 856599"/>
              <a:gd name="connsiteY180" fmla="*/ 439722 h 773509"/>
              <a:gd name="connsiteX181" fmla="*/ 497186 w 856599"/>
              <a:gd name="connsiteY181" fmla="*/ 427996 h 773509"/>
              <a:gd name="connsiteX182" fmla="*/ 497186 w 856599"/>
              <a:gd name="connsiteY182" fmla="*/ 414128 h 773509"/>
              <a:gd name="connsiteX183" fmla="*/ 755454 w 856599"/>
              <a:gd name="connsiteY183" fmla="*/ 414037 h 773509"/>
              <a:gd name="connsiteX184" fmla="*/ 755545 w 856599"/>
              <a:gd name="connsiteY184" fmla="*/ 672304 h 773509"/>
              <a:gd name="connsiteX185" fmla="*/ 497277 w 856599"/>
              <a:gd name="connsiteY185" fmla="*/ 672396 h 773509"/>
              <a:gd name="connsiteX186" fmla="*/ 444741 w 856599"/>
              <a:gd name="connsiteY186" fmla="*/ 562289 h 77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856599" h="773509">
                <a:moveTo>
                  <a:pt x="57150" y="239078"/>
                </a:moveTo>
                <a:lnTo>
                  <a:pt x="57579" y="288236"/>
                </a:lnTo>
                <a:cubicBezTo>
                  <a:pt x="57655" y="300190"/>
                  <a:pt x="73657" y="311887"/>
                  <a:pt x="99489" y="321135"/>
                </a:cubicBezTo>
                <a:cubicBezTo>
                  <a:pt x="161877" y="343443"/>
                  <a:pt x="263509" y="342624"/>
                  <a:pt x="325593" y="319630"/>
                </a:cubicBezTo>
                <a:cubicBezTo>
                  <a:pt x="351425" y="310105"/>
                  <a:pt x="367398" y="298161"/>
                  <a:pt x="367322" y="286198"/>
                </a:cubicBezTo>
                <a:lnTo>
                  <a:pt x="366884" y="236896"/>
                </a:lnTo>
                <a:cubicBezTo>
                  <a:pt x="304657" y="285845"/>
                  <a:pt x="120186" y="287226"/>
                  <a:pt x="57121" y="239078"/>
                </a:cubicBezTo>
                <a:close/>
                <a:moveTo>
                  <a:pt x="56426" y="156591"/>
                </a:moveTo>
                <a:cubicBezTo>
                  <a:pt x="115986" y="202035"/>
                  <a:pt x="260537" y="199292"/>
                  <a:pt x="331137" y="173098"/>
                </a:cubicBezTo>
                <a:cubicBezTo>
                  <a:pt x="343707" y="168715"/>
                  <a:pt x="355531" y="162432"/>
                  <a:pt x="366198" y="154467"/>
                </a:cubicBezTo>
                <a:lnTo>
                  <a:pt x="366627" y="203768"/>
                </a:lnTo>
                <a:cubicBezTo>
                  <a:pt x="366703" y="215722"/>
                  <a:pt x="350787" y="227581"/>
                  <a:pt x="325012" y="237173"/>
                </a:cubicBezTo>
                <a:cubicBezTo>
                  <a:pt x="262880" y="260204"/>
                  <a:pt x="161239" y="260937"/>
                  <a:pt x="98831" y="238668"/>
                </a:cubicBezTo>
                <a:cubicBezTo>
                  <a:pt x="72971" y="229438"/>
                  <a:pt x="56921" y="217713"/>
                  <a:pt x="56855" y="205826"/>
                </a:cubicBezTo>
                <a:lnTo>
                  <a:pt x="56426" y="156591"/>
                </a:lnTo>
                <a:close/>
                <a:moveTo>
                  <a:pt x="333194" y="210760"/>
                </a:moveTo>
                <a:lnTo>
                  <a:pt x="335566" y="210760"/>
                </a:lnTo>
                <a:cubicBezTo>
                  <a:pt x="340961" y="210906"/>
                  <a:pt x="345453" y="206651"/>
                  <a:pt x="345599" y="201255"/>
                </a:cubicBezTo>
                <a:cubicBezTo>
                  <a:pt x="345746" y="195860"/>
                  <a:pt x="341490" y="191368"/>
                  <a:pt x="336095" y="191222"/>
                </a:cubicBezTo>
                <a:cubicBezTo>
                  <a:pt x="335893" y="191216"/>
                  <a:pt x="335691" y="191217"/>
                  <a:pt x="335490" y="191224"/>
                </a:cubicBezTo>
                <a:lnTo>
                  <a:pt x="333118" y="191224"/>
                </a:lnTo>
                <a:cubicBezTo>
                  <a:pt x="327721" y="191245"/>
                  <a:pt x="323362" y="195637"/>
                  <a:pt x="323383" y="201035"/>
                </a:cubicBezTo>
                <a:cubicBezTo>
                  <a:pt x="323404" y="206432"/>
                  <a:pt x="327797" y="210790"/>
                  <a:pt x="333194" y="210769"/>
                </a:cubicBezTo>
                <a:close/>
                <a:moveTo>
                  <a:pt x="271234" y="226000"/>
                </a:moveTo>
                <a:lnTo>
                  <a:pt x="273615" y="226000"/>
                </a:lnTo>
                <a:cubicBezTo>
                  <a:pt x="279009" y="225809"/>
                  <a:pt x="283227" y="221282"/>
                  <a:pt x="283037" y="215888"/>
                </a:cubicBezTo>
                <a:cubicBezTo>
                  <a:pt x="282855" y="210729"/>
                  <a:pt x="278690" y="206601"/>
                  <a:pt x="273529" y="206464"/>
                </a:cubicBezTo>
                <a:lnTo>
                  <a:pt x="271158" y="206464"/>
                </a:lnTo>
                <a:cubicBezTo>
                  <a:pt x="265762" y="206318"/>
                  <a:pt x="261270" y="210573"/>
                  <a:pt x="261124" y="215968"/>
                </a:cubicBezTo>
                <a:cubicBezTo>
                  <a:pt x="260978" y="221364"/>
                  <a:pt x="265233" y="225856"/>
                  <a:pt x="270629" y="226002"/>
                </a:cubicBezTo>
                <a:cubicBezTo>
                  <a:pt x="270830" y="226008"/>
                  <a:pt x="271032" y="226007"/>
                  <a:pt x="271234" y="226000"/>
                </a:cubicBezTo>
                <a:close/>
                <a:moveTo>
                  <a:pt x="302228" y="220856"/>
                </a:moveTo>
                <a:lnTo>
                  <a:pt x="304610" y="220856"/>
                </a:lnTo>
                <a:cubicBezTo>
                  <a:pt x="310004" y="220668"/>
                  <a:pt x="314224" y="216143"/>
                  <a:pt x="314035" y="210749"/>
                </a:cubicBezTo>
                <a:cubicBezTo>
                  <a:pt x="313855" y="205590"/>
                  <a:pt x="309694" y="201460"/>
                  <a:pt x="304533" y="201320"/>
                </a:cubicBezTo>
                <a:lnTo>
                  <a:pt x="302152" y="201320"/>
                </a:lnTo>
                <a:cubicBezTo>
                  <a:pt x="296758" y="201509"/>
                  <a:pt x="292538" y="206034"/>
                  <a:pt x="292726" y="211428"/>
                </a:cubicBezTo>
                <a:cubicBezTo>
                  <a:pt x="292906" y="216587"/>
                  <a:pt x="297068" y="220716"/>
                  <a:pt x="302228" y="220856"/>
                </a:cubicBezTo>
                <a:close/>
                <a:moveTo>
                  <a:pt x="333718" y="291017"/>
                </a:moveTo>
                <a:cubicBezTo>
                  <a:pt x="328323" y="290871"/>
                  <a:pt x="324067" y="286379"/>
                  <a:pt x="324213" y="280984"/>
                </a:cubicBezTo>
                <a:cubicBezTo>
                  <a:pt x="324353" y="275823"/>
                  <a:pt x="328483" y="271662"/>
                  <a:pt x="333642" y="271482"/>
                </a:cubicBezTo>
                <a:lnTo>
                  <a:pt x="336023" y="271482"/>
                </a:lnTo>
                <a:cubicBezTo>
                  <a:pt x="341418" y="271628"/>
                  <a:pt x="345674" y="276120"/>
                  <a:pt x="345527" y="281515"/>
                </a:cubicBezTo>
                <a:cubicBezTo>
                  <a:pt x="345388" y="286676"/>
                  <a:pt x="341258" y="290837"/>
                  <a:pt x="336099" y="291017"/>
                </a:cubicBezTo>
                <a:lnTo>
                  <a:pt x="333718" y="291017"/>
                </a:lnTo>
                <a:close/>
                <a:moveTo>
                  <a:pt x="271805" y="306257"/>
                </a:moveTo>
                <a:cubicBezTo>
                  <a:pt x="266410" y="306114"/>
                  <a:pt x="262152" y="301624"/>
                  <a:pt x="262295" y="296229"/>
                </a:cubicBezTo>
                <a:cubicBezTo>
                  <a:pt x="262432" y="291068"/>
                  <a:pt x="266560" y="286904"/>
                  <a:pt x="271720" y="286722"/>
                </a:cubicBezTo>
                <a:lnTo>
                  <a:pt x="274101" y="286722"/>
                </a:lnTo>
                <a:cubicBezTo>
                  <a:pt x="279495" y="286533"/>
                  <a:pt x="284020" y="290754"/>
                  <a:pt x="284208" y="296148"/>
                </a:cubicBezTo>
                <a:cubicBezTo>
                  <a:pt x="284397" y="301542"/>
                  <a:pt x="280176" y="306067"/>
                  <a:pt x="274782" y="306255"/>
                </a:cubicBezTo>
                <a:cubicBezTo>
                  <a:pt x="274581" y="306262"/>
                  <a:pt x="274379" y="306263"/>
                  <a:pt x="274177" y="306257"/>
                </a:cubicBezTo>
                <a:close/>
                <a:moveTo>
                  <a:pt x="302800" y="301114"/>
                </a:moveTo>
                <a:cubicBezTo>
                  <a:pt x="297406" y="301302"/>
                  <a:pt x="292880" y="297082"/>
                  <a:pt x="292692" y="291688"/>
                </a:cubicBezTo>
                <a:cubicBezTo>
                  <a:pt x="292504" y="286294"/>
                  <a:pt x="296724" y="281769"/>
                  <a:pt x="302118" y="281580"/>
                </a:cubicBezTo>
                <a:cubicBezTo>
                  <a:pt x="302320" y="281573"/>
                  <a:pt x="302522" y="281573"/>
                  <a:pt x="302724" y="281578"/>
                </a:cubicBezTo>
                <a:lnTo>
                  <a:pt x="305095" y="281578"/>
                </a:lnTo>
                <a:cubicBezTo>
                  <a:pt x="310489" y="281390"/>
                  <a:pt x="315015" y="285610"/>
                  <a:pt x="315203" y="291004"/>
                </a:cubicBezTo>
                <a:cubicBezTo>
                  <a:pt x="315391" y="296398"/>
                  <a:pt x="311171" y="300923"/>
                  <a:pt x="305777" y="301112"/>
                </a:cubicBezTo>
                <a:cubicBezTo>
                  <a:pt x="305575" y="301119"/>
                  <a:pt x="305373" y="301119"/>
                  <a:pt x="305172" y="301114"/>
                </a:cubicBezTo>
                <a:lnTo>
                  <a:pt x="302800" y="301114"/>
                </a:lnTo>
                <a:close/>
                <a:moveTo>
                  <a:pt x="334337" y="378676"/>
                </a:moveTo>
                <a:cubicBezTo>
                  <a:pt x="328943" y="378864"/>
                  <a:pt x="324418" y="374644"/>
                  <a:pt x="324230" y="369250"/>
                </a:cubicBezTo>
                <a:cubicBezTo>
                  <a:pt x="324041" y="363856"/>
                  <a:pt x="328262" y="359331"/>
                  <a:pt x="333656" y="359143"/>
                </a:cubicBezTo>
                <a:cubicBezTo>
                  <a:pt x="333857" y="359135"/>
                  <a:pt x="334059" y="359135"/>
                  <a:pt x="334261" y="359140"/>
                </a:cubicBezTo>
                <a:lnTo>
                  <a:pt x="336633" y="359140"/>
                </a:lnTo>
                <a:cubicBezTo>
                  <a:pt x="342030" y="359119"/>
                  <a:pt x="346422" y="363477"/>
                  <a:pt x="346443" y="368875"/>
                </a:cubicBezTo>
                <a:cubicBezTo>
                  <a:pt x="346464" y="374272"/>
                  <a:pt x="342106" y="378664"/>
                  <a:pt x="336709" y="378685"/>
                </a:cubicBezTo>
                <a:close/>
                <a:moveTo>
                  <a:pt x="272377" y="393916"/>
                </a:moveTo>
                <a:cubicBezTo>
                  <a:pt x="266969" y="393948"/>
                  <a:pt x="262560" y="389589"/>
                  <a:pt x="262528" y="384181"/>
                </a:cubicBezTo>
                <a:cubicBezTo>
                  <a:pt x="262496" y="378774"/>
                  <a:pt x="266855" y="374364"/>
                  <a:pt x="272263" y="374333"/>
                </a:cubicBezTo>
                <a:lnTo>
                  <a:pt x="274634" y="374333"/>
                </a:lnTo>
                <a:cubicBezTo>
                  <a:pt x="280028" y="374142"/>
                  <a:pt x="284555" y="378360"/>
                  <a:pt x="284746" y="383754"/>
                </a:cubicBezTo>
                <a:cubicBezTo>
                  <a:pt x="284936" y="389148"/>
                  <a:pt x="280718" y="393675"/>
                  <a:pt x="275324" y="393866"/>
                </a:cubicBezTo>
                <a:cubicBezTo>
                  <a:pt x="275123" y="393873"/>
                  <a:pt x="274921" y="393874"/>
                  <a:pt x="274720" y="393868"/>
                </a:cubicBezTo>
                <a:lnTo>
                  <a:pt x="272339" y="393868"/>
                </a:lnTo>
                <a:close/>
                <a:moveTo>
                  <a:pt x="303371" y="388763"/>
                </a:moveTo>
                <a:cubicBezTo>
                  <a:pt x="297976" y="388617"/>
                  <a:pt x="293721" y="384125"/>
                  <a:pt x="293867" y="378729"/>
                </a:cubicBezTo>
                <a:cubicBezTo>
                  <a:pt x="294007" y="373569"/>
                  <a:pt x="298136" y="369407"/>
                  <a:pt x="303295" y="369227"/>
                </a:cubicBezTo>
                <a:lnTo>
                  <a:pt x="305676" y="369227"/>
                </a:lnTo>
                <a:cubicBezTo>
                  <a:pt x="311072" y="369373"/>
                  <a:pt x="315327" y="373866"/>
                  <a:pt x="315181" y="379261"/>
                </a:cubicBezTo>
                <a:cubicBezTo>
                  <a:pt x="315041" y="384421"/>
                  <a:pt x="310912" y="388583"/>
                  <a:pt x="305752" y="388763"/>
                </a:cubicBezTo>
                <a:close/>
                <a:moveTo>
                  <a:pt x="658358" y="161401"/>
                </a:moveTo>
                <a:lnTo>
                  <a:pt x="658358" y="106813"/>
                </a:lnTo>
                <a:lnTo>
                  <a:pt x="381962" y="106813"/>
                </a:lnTo>
                <a:cubicBezTo>
                  <a:pt x="384193" y="111273"/>
                  <a:pt x="385382" y="116181"/>
                  <a:pt x="385439" y="121168"/>
                </a:cubicBezTo>
                <a:lnTo>
                  <a:pt x="385791" y="161401"/>
                </a:lnTo>
                <a:close/>
                <a:moveTo>
                  <a:pt x="358083" y="106794"/>
                </a:moveTo>
                <a:cubicBezTo>
                  <a:pt x="354194" y="106533"/>
                  <a:pt x="350830" y="103994"/>
                  <a:pt x="349510" y="100327"/>
                </a:cubicBezTo>
                <a:cubicBezTo>
                  <a:pt x="341435" y="95467"/>
                  <a:pt x="332861" y="91489"/>
                  <a:pt x="323936" y="88459"/>
                </a:cubicBezTo>
                <a:cubicBezTo>
                  <a:pt x="261566" y="66246"/>
                  <a:pt x="159820" y="66923"/>
                  <a:pt x="97746" y="89954"/>
                </a:cubicBezTo>
                <a:cubicBezTo>
                  <a:pt x="42262" y="110547"/>
                  <a:pt x="42396" y="136341"/>
                  <a:pt x="98155" y="156191"/>
                </a:cubicBezTo>
                <a:cubicBezTo>
                  <a:pt x="160525" y="178403"/>
                  <a:pt x="262271" y="177727"/>
                  <a:pt x="324345" y="154696"/>
                </a:cubicBezTo>
                <a:cubicBezTo>
                  <a:pt x="354825" y="143389"/>
                  <a:pt x="378876" y="126121"/>
                  <a:pt x="358111" y="106794"/>
                </a:cubicBezTo>
                <a:close/>
                <a:moveTo>
                  <a:pt x="100098" y="403670"/>
                </a:moveTo>
                <a:cubicBezTo>
                  <a:pt x="87906" y="399326"/>
                  <a:pt x="58407" y="387163"/>
                  <a:pt x="58303" y="370885"/>
                </a:cubicBezTo>
                <a:lnTo>
                  <a:pt x="57874" y="321516"/>
                </a:lnTo>
                <a:cubicBezTo>
                  <a:pt x="117443" y="367084"/>
                  <a:pt x="261785" y="364150"/>
                  <a:pt x="332365" y="338014"/>
                </a:cubicBezTo>
                <a:cubicBezTo>
                  <a:pt x="345001" y="333614"/>
                  <a:pt x="356887" y="327301"/>
                  <a:pt x="367608" y="319297"/>
                </a:cubicBezTo>
                <a:lnTo>
                  <a:pt x="368046" y="368722"/>
                </a:lnTo>
                <a:cubicBezTo>
                  <a:pt x="368113" y="380657"/>
                  <a:pt x="352130" y="392535"/>
                  <a:pt x="326298" y="402060"/>
                </a:cubicBezTo>
                <a:cubicBezTo>
                  <a:pt x="264166" y="425044"/>
                  <a:pt x="162468" y="425872"/>
                  <a:pt x="100070" y="403641"/>
                </a:cubicBezTo>
                <a:close/>
                <a:moveTo>
                  <a:pt x="19660" y="601818"/>
                </a:moveTo>
                <a:lnTo>
                  <a:pt x="19660" y="19564"/>
                </a:lnTo>
                <a:lnTo>
                  <a:pt x="194262" y="19564"/>
                </a:lnTo>
                <a:lnTo>
                  <a:pt x="239468" y="53397"/>
                </a:lnTo>
                <a:cubicBezTo>
                  <a:pt x="189226" y="49653"/>
                  <a:pt x="138737" y="55829"/>
                  <a:pt x="90878" y="71571"/>
                </a:cubicBezTo>
                <a:cubicBezTo>
                  <a:pt x="57445" y="83953"/>
                  <a:pt x="36071" y="102632"/>
                  <a:pt x="36586" y="123482"/>
                </a:cubicBezTo>
                <a:lnTo>
                  <a:pt x="38767" y="370999"/>
                </a:lnTo>
                <a:cubicBezTo>
                  <a:pt x="39764" y="384505"/>
                  <a:pt x="47057" y="396755"/>
                  <a:pt x="58455" y="404070"/>
                </a:cubicBezTo>
                <a:lnTo>
                  <a:pt x="58455" y="601818"/>
                </a:lnTo>
                <a:cubicBezTo>
                  <a:pt x="58217" y="612536"/>
                  <a:pt x="49336" y="621033"/>
                  <a:pt x="38618" y="620795"/>
                </a:cubicBezTo>
                <a:cubicBezTo>
                  <a:pt x="28234" y="620565"/>
                  <a:pt x="19871" y="612202"/>
                  <a:pt x="19641" y="601818"/>
                </a:cubicBezTo>
                <a:close/>
                <a:moveTo>
                  <a:pt x="736406" y="340938"/>
                </a:moveTo>
                <a:cubicBezTo>
                  <a:pt x="848101" y="401764"/>
                  <a:pt x="889338" y="541621"/>
                  <a:pt x="828512" y="653316"/>
                </a:cubicBezTo>
                <a:cubicBezTo>
                  <a:pt x="767685" y="765011"/>
                  <a:pt x="627829" y="806247"/>
                  <a:pt x="516134" y="745421"/>
                </a:cubicBezTo>
                <a:cubicBezTo>
                  <a:pt x="473021" y="721942"/>
                  <a:pt x="438538" y="685301"/>
                  <a:pt x="417719" y="640842"/>
                </a:cubicBezTo>
                <a:lnTo>
                  <a:pt x="39053" y="640842"/>
                </a:lnTo>
                <a:cubicBezTo>
                  <a:pt x="17497" y="640811"/>
                  <a:pt x="31" y="623345"/>
                  <a:pt x="0" y="601790"/>
                </a:cubicBezTo>
                <a:lnTo>
                  <a:pt x="0" y="9754"/>
                </a:lnTo>
                <a:cubicBezTo>
                  <a:pt x="26" y="4348"/>
                  <a:pt x="4424" y="-16"/>
                  <a:pt x="9830" y="0"/>
                </a:cubicBezTo>
                <a:lnTo>
                  <a:pt x="197472" y="0"/>
                </a:lnTo>
                <a:cubicBezTo>
                  <a:pt x="199891" y="-4"/>
                  <a:pt x="202226" y="889"/>
                  <a:pt x="204026" y="2505"/>
                </a:cubicBezTo>
                <a:lnTo>
                  <a:pt x="275720" y="56159"/>
                </a:lnTo>
                <a:cubicBezTo>
                  <a:pt x="276144" y="56487"/>
                  <a:pt x="276545" y="56844"/>
                  <a:pt x="276920" y="57226"/>
                </a:cubicBezTo>
                <a:cubicBezTo>
                  <a:pt x="295130" y="59779"/>
                  <a:pt x="313052" y="64072"/>
                  <a:pt x="330441" y="70047"/>
                </a:cubicBezTo>
                <a:cubicBezTo>
                  <a:pt x="342546" y="74104"/>
                  <a:pt x="354005" y="79881"/>
                  <a:pt x="364465" y="87201"/>
                </a:cubicBezTo>
                <a:lnTo>
                  <a:pt x="668169" y="87201"/>
                </a:lnTo>
                <a:cubicBezTo>
                  <a:pt x="673588" y="87201"/>
                  <a:pt x="677980" y="91594"/>
                  <a:pt x="677980" y="97012"/>
                </a:cubicBezTo>
                <a:lnTo>
                  <a:pt x="677980" y="161401"/>
                </a:lnTo>
                <a:lnTo>
                  <a:pt x="726558" y="161401"/>
                </a:lnTo>
                <a:cubicBezTo>
                  <a:pt x="731971" y="161401"/>
                  <a:pt x="736359" y="165789"/>
                  <a:pt x="736359" y="171202"/>
                </a:cubicBezTo>
                <a:lnTo>
                  <a:pt x="736359" y="340938"/>
                </a:lnTo>
                <a:close/>
                <a:moveTo>
                  <a:pt x="495767" y="640842"/>
                </a:moveTo>
                <a:cubicBezTo>
                  <a:pt x="549670" y="712917"/>
                  <a:pt x="651795" y="727649"/>
                  <a:pt x="723871" y="673746"/>
                </a:cubicBezTo>
                <a:cubicBezTo>
                  <a:pt x="795946" y="619843"/>
                  <a:pt x="810678" y="517718"/>
                  <a:pt x="756775" y="445642"/>
                </a:cubicBezTo>
                <a:cubicBezTo>
                  <a:pt x="750701" y="437521"/>
                  <a:pt x="743882" y="429983"/>
                  <a:pt x="736406" y="423129"/>
                </a:cubicBezTo>
                <a:lnTo>
                  <a:pt x="736406" y="598570"/>
                </a:lnTo>
                <a:cubicBezTo>
                  <a:pt x="736375" y="621899"/>
                  <a:pt x="717473" y="640805"/>
                  <a:pt x="694144" y="640842"/>
                </a:cubicBezTo>
                <a:close/>
                <a:moveTo>
                  <a:pt x="409623" y="621230"/>
                </a:moveTo>
                <a:lnTo>
                  <a:pt x="72876" y="621230"/>
                </a:lnTo>
                <a:cubicBezTo>
                  <a:pt x="76288" y="615330"/>
                  <a:pt x="78082" y="608634"/>
                  <a:pt x="78076" y="601818"/>
                </a:cubicBezTo>
                <a:lnTo>
                  <a:pt x="78076" y="415785"/>
                </a:lnTo>
                <a:cubicBezTo>
                  <a:pt x="83114" y="418160"/>
                  <a:pt x="88267" y="420280"/>
                  <a:pt x="93516" y="422139"/>
                </a:cubicBezTo>
                <a:cubicBezTo>
                  <a:pt x="159972" y="445846"/>
                  <a:pt x="266871" y="444999"/>
                  <a:pt x="333070" y="420481"/>
                </a:cubicBezTo>
                <a:cubicBezTo>
                  <a:pt x="366865" y="407984"/>
                  <a:pt x="387753" y="389715"/>
                  <a:pt x="387610" y="368627"/>
                </a:cubicBezTo>
                <a:lnTo>
                  <a:pt x="385963" y="180985"/>
                </a:lnTo>
                <a:lnTo>
                  <a:pt x="716794" y="180985"/>
                </a:lnTo>
                <a:lnTo>
                  <a:pt x="716794" y="331470"/>
                </a:lnTo>
                <a:cubicBezTo>
                  <a:pt x="633551" y="295920"/>
                  <a:pt x="537204" y="312422"/>
                  <a:pt x="470535" y="373647"/>
                </a:cubicBezTo>
                <a:lnTo>
                  <a:pt x="453247" y="356359"/>
                </a:lnTo>
                <a:cubicBezTo>
                  <a:pt x="449421" y="352530"/>
                  <a:pt x="443215" y="352529"/>
                  <a:pt x="439386" y="356355"/>
                </a:cubicBezTo>
                <a:cubicBezTo>
                  <a:pt x="438049" y="357692"/>
                  <a:pt x="437127" y="359387"/>
                  <a:pt x="436731" y="361236"/>
                </a:cubicBezTo>
                <a:lnTo>
                  <a:pt x="407013" y="472145"/>
                </a:lnTo>
                <a:cubicBezTo>
                  <a:pt x="405619" y="477370"/>
                  <a:pt x="408725" y="482736"/>
                  <a:pt x="413950" y="484129"/>
                </a:cubicBezTo>
                <a:cubicBezTo>
                  <a:pt x="415642" y="484581"/>
                  <a:pt x="417423" y="484570"/>
                  <a:pt x="419110" y="484099"/>
                </a:cubicBezTo>
                <a:lnTo>
                  <a:pt x="530371" y="454285"/>
                </a:lnTo>
                <a:cubicBezTo>
                  <a:pt x="535599" y="452881"/>
                  <a:pt x="538698" y="447505"/>
                  <a:pt x="537294" y="442277"/>
                </a:cubicBezTo>
                <a:cubicBezTo>
                  <a:pt x="536849" y="440623"/>
                  <a:pt x="535980" y="439115"/>
                  <a:pt x="534772" y="437902"/>
                </a:cubicBezTo>
                <a:lnTo>
                  <a:pt x="518198" y="421310"/>
                </a:lnTo>
                <a:cubicBezTo>
                  <a:pt x="573611" y="372175"/>
                  <a:pt x="655184" y="366573"/>
                  <a:pt x="716794" y="407670"/>
                </a:cubicBezTo>
                <a:lnTo>
                  <a:pt x="716794" y="598570"/>
                </a:lnTo>
                <a:cubicBezTo>
                  <a:pt x="716763" y="611068"/>
                  <a:pt x="706642" y="621193"/>
                  <a:pt x="694144" y="621230"/>
                </a:cubicBezTo>
                <a:lnTo>
                  <a:pt x="483127" y="621230"/>
                </a:lnTo>
                <a:cubicBezTo>
                  <a:pt x="471448" y="599780"/>
                  <a:pt x="464748" y="575976"/>
                  <a:pt x="463525" y="551583"/>
                </a:cubicBezTo>
                <a:cubicBezTo>
                  <a:pt x="463278" y="546192"/>
                  <a:pt x="458707" y="542021"/>
                  <a:pt x="453316" y="542267"/>
                </a:cubicBezTo>
                <a:cubicBezTo>
                  <a:pt x="453312" y="542268"/>
                  <a:pt x="453308" y="542268"/>
                  <a:pt x="453304" y="542268"/>
                </a:cubicBezTo>
                <a:lnTo>
                  <a:pt x="405679" y="544687"/>
                </a:lnTo>
                <a:cubicBezTo>
                  <a:pt x="400288" y="544939"/>
                  <a:pt x="396121" y="549513"/>
                  <a:pt x="396373" y="554905"/>
                </a:cubicBezTo>
                <a:cubicBezTo>
                  <a:pt x="396373" y="554909"/>
                  <a:pt x="396373" y="554913"/>
                  <a:pt x="396373" y="554917"/>
                </a:cubicBezTo>
                <a:cubicBezTo>
                  <a:pt x="397520" y="577554"/>
                  <a:pt x="401997" y="599899"/>
                  <a:pt x="409661" y="621230"/>
                </a:cubicBezTo>
                <a:close/>
                <a:moveTo>
                  <a:pt x="416585" y="563718"/>
                </a:moveTo>
                <a:cubicBezTo>
                  <a:pt x="427885" y="679531"/>
                  <a:pt x="530930" y="764255"/>
                  <a:pt x="646743" y="752955"/>
                </a:cubicBezTo>
                <a:cubicBezTo>
                  <a:pt x="762555" y="741655"/>
                  <a:pt x="847280" y="638610"/>
                  <a:pt x="835980" y="522798"/>
                </a:cubicBezTo>
                <a:cubicBezTo>
                  <a:pt x="824680" y="406985"/>
                  <a:pt x="721635" y="322261"/>
                  <a:pt x="605822" y="333561"/>
                </a:cubicBezTo>
                <a:cubicBezTo>
                  <a:pt x="557250" y="338300"/>
                  <a:pt x="511830" y="359754"/>
                  <a:pt x="477317" y="394259"/>
                </a:cubicBezTo>
                <a:cubicBezTo>
                  <a:pt x="473496" y="398086"/>
                  <a:pt x="467296" y="398091"/>
                  <a:pt x="463469" y="394270"/>
                </a:cubicBezTo>
                <a:cubicBezTo>
                  <a:pt x="463465" y="394266"/>
                  <a:pt x="463462" y="394263"/>
                  <a:pt x="463458" y="394259"/>
                </a:cubicBezTo>
                <a:lnTo>
                  <a:pt x="451380" y="382191"/>
                </a:lnTo>
                <a:lnTo>
                  <a:pt x="430320" y="460781"/>
                </a:lnTo>
                <a:lnTo>
                  <a:pt x="508911" y="439722"/>
                </a:lnTo>
                <a:lnTo>
                  <a:pt x="497186" y="427996"/>
                </a:lnTo>
                <a:cubicBezTo>
                  <a:pt x="493359" y="424166"/>
                  <a:pt x="493359" y="417959"/>
                  <a:pt x="497186" y="414128"/>
                </a:cubicBezTo>
                <a:cubicBezTo>
                  <a:pt x="568479" y="342784"/>
                  <a:pt x="684110" y="342743"/>
                  <a:pt x="755454" y="414037"/>
                </a:cubicBezTo>
                <a:cubicBezTo>
                  <a:pt x="826797" y="485330"/>
                  <a:pt x="826838" y="600961"/>
                  <a:pt x="755545" y="672304"/>
                </a:cubicBezTo>
                <a:cubicBezTo>
                  <a:pt x="684251" y="743648"/>
                  <a:pt x="568621" y="743689"/>
                  <a:pt x="497277" y="672396"/>
                </a:cubicBezTo>
                <a:cubicBezTo>
                  <a:pt x="467661" y="642801"/>
                  <a:pt x="449114" y="603928"/>
                  <a:pt x="444741" y="562289"/>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8" name="Freeform: Shape 117">
            <a:extLst>
              <a:ext uri="{FF2B5EF4-FFF2-40B4-BE49-F238E27FC236}">
                <a16:creationId xmlns:a16="http://schemas.microsoft.com/office/drawing/2014/main" id="{68FAB7AE-B733-7EDD-F83E-F552FDE2BF7D}"/>
              </a:ext>
            </a:extLst>
          </p:cNvPr>
          <p:cNvSpPr/>
          <p:nvPr/>
        </p:nvSpPr>
        <p:spPr>
          <a:xfrm>
            <a:off x="568066" y="4465825"/>
            <a:ext cx="323132" cy="323132"/>
          </a:xfrm>
          <a:custGeom>
            <a:avLst/>
            <a:gdLst>
              <a:gd name="connsiteX0" fmla="*/ 61764 w 892968"/>
              <a:gd name="connsiteY0" fmla="*/ 626713 h 892968"/>
              <a:gd name="connsiteX1" fmla="*/ 56518 w 892968"/>
              <a:gd name="connsiteY1" fmla="*/ 641112 h 892968"/>
              <a:gd name="connsiteX2" fmla="*/ 42119 w 892968"/>
              <a:gd name="connsiteY2" fmla="*/ 635866 h 892968"/>
              <a:gd name="connsiteX3" fmla="*/ 10678 w 892968"/>
              <a:gd name="connsiteY3" fmla="*/ 543630 h 892968"/>
              <a:gd name="connsiteX4" fmla="*/ 0 w 892968"/>
              <a:gd name="connsiteY4" fmla="*/ 446484 h 892968"/>
              <a:gd name="connsiteX5" fmla="*/ 130778 w 892968"/>
              <a:gd name="connsiteY5" fmla="*/ 130778 h 892968"/>
              <a:gd name="connsiteX6" fmla="*/ 446484 w 892968"/>
              <a:gd name="connsiteY6" fmla="*/ 0 h 892968"/>
              <a:gd name="connsiteX7" fmla="*/ 762190 w 892968"/>
              <a:gd name="connsiteY7" fmla="*/ 130778 h 892968"/>
              <a:gd name="connsiteX8" fmla="*/ 892969 w 892968"/>
              <a:gd name="connsiteY8" fmla="*/ 446484 h 892968"/>
              <a:gd name="connsiteX9" fmla="*/ 762190 w 892968"/>
              <a:gd name="connsiteY9" fmla="*/ 762190 h 892968"/>
              <a:gd name="connsiteX10" fmla="*/ 446484 w 892968"/>
              <a:gd name="connsiteY10" fmla="*/ 892969 h 892968"/>
              <a:gd name="connsiteX11" fmla="*/ 366749 w 892968"/>
              <a:gd name="connsiteY11" fmla="*/ 885825 h 892968"/>
              <a:gd name="connsiteX12" fmla="*/ 289880 w 892968"/>
              <a:gd name="connsiteY12" fmla="*/ 864654 h 892968"/>
              <a:gd name="connsiteX13" fmla="*/ 283518 w 892968"/>
              <a:gd name="connsiteY13" fmla="*/ 850701 h 892968"/>
              <a:gd name="connsiteX14" fmla="*/ 297469 w 892968"/>
              <a:gd name="connsiteY14" fmla="*/ 844340 h 892968"/>
              <a:gd name="connsiteX15" fmla="*/ 370619 w 892968"/>
              <a:gd name="connsiteY15" fmla="*/ 864468 h 892968"/>
              <a:gd name="connsiteX16" fmla="*/ 446559 w 892968"/>
              <a:gd name="connsiteY16" fmla="*/ 871203 h 892968"/>
              <a:gd name="connsiteX17" fmla="*/ 746854 w 892968"/>
              <a:gd name="connsiteY17" fmla="*/ 746816 h 892968"/>
              <a:gd name="connsiteX18" fmla="*/ 871203 w 892968"/>
              <a:gd name="connsiteY18" fmla="*/ 446483 h 892968"/>
              <a:gd name="connsiteX19" fmla="*/ 746816 w 892968"/>
              <a:gd name="connsiteY19" fmla="*/ 146189 h 892968"/>
              <a:gd name="connsiteX20" fmla="*/ 446483 w 892968"/>
              <a:gd name="connsiteY20" fmla="*/ 21773 h 892968"/>
              <a:gd name="connsiteX21" fmla="*/ 146189 w 892968"/>
              <a:gd name="connsiteY21" fmla="*/ 146160 h 892968"/>
              <a:gd name="connsiteX22" fmla="*/ 21773 w 892968"/>
              <a:gd name="connsiteY22" fmla="*/ 446493 h 892968"/>
              <a:gd name="connsiteX23" fmla="*/ 31819 w 892968"/>
              <a:gd name="connsiteY23" fmla="*/ 538989 h 892968"/>
              <a:gd name="connsiteX24" fmla="*/ 61770 w 892968"/>
              <a:gd name="connsiteY24" fmla="*/ 626723 h 892968"/>
              <a:gd name="connsiteX25" fmla="*/ 121965 w 892968"/>
              <a:gd name="connsiteY25" fmla="*/ 747671 h 892968"/>
              <a:gd name="connsiteX26" fmla="*/ 162669 w 892968"/>
              <a:gd name="connsiteY26" fmla="*/ 782051 h 892968"/>
              <a:gd name="connsiteX27" fmla="*/ 177961 w 892968"/>
              <a:gd name="connsiteY27" fmla="*/ 780786 h 892968"/>
              <a:gd name="connsiteX28" fmla="*/ 244301 w 892968"/>
              <a:gd name="connsiteY28" fmla="*/ 698000 h 892968"/>
              <a:gd name="connsiteX29" fmla="*/ 242626 w 892968"/>
              <a:gd name="connsiteY29" fmla="*/ 682745 h 892968"/>
              <a:gd name="connsiteX30" fmla="*/ 227371 w 892968"/>
              <a:gd name="connsiteY30" fmla="*/ 684420 h 892968"/>
              <a:gd name="connsiteX31" fmla="*/ 168137 w 892968"/>
              <a:gd name="connsiteY31" fmla="*/ 758313 h 892968"/>
              <a:gd name="connsiteX32" fmla="*/ 135953 w 892968"/>
              <a:gd name="connsiteY32" fmla="*/ 731151 h 892968"/>
              <a:gd name="connsiteX33" fmla="*/ 120661 w 892968"/>
              <a:gd name="connsiteY33" fmla="*/ 732416 h 892968"/>
              <a:gd name="connsiteX34" fmla="*/ 121963 w 892968"/>
              <a:gd name="connsiteY34" fmla="*/ 747671 h 892968"/>
              <a:gd name="connsiteX35" fmla="*/ 182426 w 892968"/>
              <a:gd name="connsiteY35" fmla="*/ 589128 h 892968"/>
              <a:gd name="connsiteX36" fmla="*/ 81071 w 892968"/>
              <a:gd name="connsiteY36" fmla="*/ 631097 h 892968"/>
              <a:gd name="connsiteX37" fmla="*/ 39102 w 892968"/>
              <a:gd name="connsiteY37" fmla="*/ 732452 h 892968"/>
              <a:gd name="connsiteX38" fmla="*/ 81071 w 892968"/>
              <a:gd name="connsiteY38" fmla="*/ 833808 h 892968"/>
              <a:gd name="connsiteX39" fmla="*/ 182426 w 892968"/>
              <a:gd name="connsiteY39" fmla="*/ 875777 h 892968"/>
              <a:gd name="connsiteX40" fmla="*/ 283782 w 892968"/>
              <a:gd name="connsiteY40" fmla="*/ 833808 h 892968"/>
              <a:gd name="connsiteX41" fmla="*/ 325751 w 892968"/>
              <a:gd name="connsiteY41" fmla="*/ 732452 h 892968"/>
              <a:gd name="connsiteX42" fmla="*/ 283782 w 892968"/>
              <a:gd name="connsiteY42" fmla="*/ 631097 h 892968"/>
              <a:gd name="connsiteX43" fmla="*/ 182426 w 892968"/>
              <a:gd name="connsiteY43" fmla="*/ 589128 h 892968"/>
              <a:gd name="connsiteX44" fmla="*/ 268374 w 892968"/>
              <a:gd name="connsiteY44" fmla="*/ 646501 h 892968"/>
              <a:gd name="connsiteX45" fmla="*/ 182426 w 892968"/>
              <a:gd name="connsiteY45" fmla="*/ 610893 h 892968"/>
              <a:gd name="connsiteX46" fmla="*/ 96479 w 892968"/>
              <a:gd name="connsiteY46" fmla="*/ 646501 h 892968"/>
              <a:gd name="connsiteX47" fmla="*/ 60871 w 892968"/>
              <a:gd name="connsiteY47" fmla="*/ 732448 h 892968"/>
              <a:gd name="connsiteX48" fmla="*/ 96479 w 892968"/>
              <a:gd name="connsiteY48" fmla="*/ 818396 h 892968"/>
              <a:gd name="connsiteX49" fmla="*/ 182426 w 892968"/>
              <a:gd name="connsiteY49" fmla="*/ 854004 h 892968"/>
              <a:gd name="connsiteX50" fmla="*/ 268374 w 892968"/>
              <a:gd name="connsiteY50" fmla="*/ 818396 h 892968"/>
              <a:gd name="connsiteX51" fmla="*/ 303982 w 892968"/>
              <a:gd name="connsiteY51" fmla="*/ 732448 h 892968"/>
              <a:gd name="connsiteX52" fmla="*/ 268374 w 892968"/>
              <a:gd name="connsiteY52" fmla="*/ 646501 h 892968"/>
              <a:gd name="connsiteX53" fmla="*/ 446482 w 892968"/>
              <a:gd name="connsiteY53" fmla="*/ 402756 h 892968"/>
              <a:gd name="connsiteX54" fmla="*/ 442018 w 892968"/>
              <a:gd name="connsiteY54" fmla="*/ 402979 h 892968"/>
              <a:gd name="connsiteX55" fmla="*/ 333223 w 892968"/>
              <a:gd name="connsiteY55" fmla="*/ 178551 h 892968"/>
              <a:gd name="connsiteX56" fmla="*/ 318713 w 892968"/>
              <a:gd name="connsiteY56" fmla="*/ 173491 h 892968"/>
              <a:gd name="connsiteX57" fmla="*/ 313652 w 892968"/>
              <a:gd name="connsiteY57" fmla="*/ 188001 h 892968"/>
              <a:gd name="connsiteX58" fmla="*/ 421552 w 892968"/>
              <a:gd name="connsiteY58" fmla="*/ 410534 h 892968"/>
              <a:gd name="connsiteX59" fmla="*/ 415561 w 892968"/>
              <a:gd name="connsiteY59" fmla="*/ 415557 h 892968"/>
              <a:gd name="connsiteX60" fmla="*/ 402762 w 892968"/>
              <a:gd name="connsiteY60" fmla="*/ 446476 h 892968"/>
              <a:gd name="connsiteX61" fmla="*/ 415561 w 892968"/>
              <a:gd name="connsiteY61" fmla="*/ 477395 h 892968"/>
              <a:gd name="connsiteX62" fmla="*/ 446480 w 892968"/>
              <a:gd name="connsiteY62" fmla="*/ 490194 h 892968"/>
              <a:gd name="connsiteX63" fmla="*/ 476135 w 892968"/>
              <a:gd name="connsiteY63" fmla="*/ 478623 h 892968"/>
              <a:gd name="connsiteX64" fmla="*/ 614133 w 892968"/>
              <a:gd name="connsiteY64" fmla="*/ 568143 h 892968"/>
              <a:gd name="connsiteX65" fmla="*/ 629164 w 892968"/>
              <a:gd name="connsiteY65" fmla="*/ 564944 h 892968"/>
              <a:gd name="connsiteX66" fmla="*/ 625964 w 892968"/>
              <a:gd name="connsiteY66" fmla="*/ 549950 h 892968"/>
              <a:gd name="connsiteX67" fmla="*/ 487966 w 892968"/>
              <a:gd name="connsiteY67" fmla="*/ 460430 h 892968"/>
              <a:gd name="connsiteX68" fmla="*/ 490235 w 892968"/>
              <a:gd name="connsiteY68" fmla="*/ 446478 h 892968"/>
              <a:gd name="connsiteX69" fmla="*/ 477436 w 892968"/>
              <a:gd name="connsiteY69" fmla="*/ 415558 h 892968"/>
              <a:gd name="connsiteX70" fmla="*/ 446479 w 892968"/>
              <a:gd name="connsiteY70" fmla="*/ 402759 h 892968"/>
              <a:gd name="connsiteX71" fmla="*/ 461998 w 892968"/>
              <a:gd name="connsiteY71" fmla="*/ 430958 h 892968"/>
              <a:gd name="connsiteX72" fmla="*/ 446482 w 892968"/>
              <a:gd name="connsiteY72" fmla="*/ 424521 h 892968"/>
              <a:gd name="connsiteX73" fmla="*/ 430967 w 892968"/>
              <a:gd name="connsiteY73" fmla="*/ 430958 h 892968"/>
              <a:gd name="connsiteX74" fmla="*/ 424530 w 892968"/>
              <a:gd name="connsiteY74" fmla="*/ 446474 h 892968"/>
              <a:gd name="connsiteX75" fmla="*/ 430967 w 892968"/>
              <a:gd name="connsiteY75" fmla="*/ 461989 h 892968"/>
              <a:gd name="connsiteX76" fmla="*/ 446482 w 892968"/>
              <a:gd name="connsiteY76" fmla="*/ 468426 h 892968"/>
              <a:gd name="connsiteX77" fmla="*/ 461998 w 892968"/>
              <a:gd name="connsiteY77" fmla="*/ 461989 h 892968"/>
              <a:gd name="connsiteX78" fmla="*/ 468435 w 892968"/>
              <a:gd name="connsiteY78" fmla="*/ 446474 h 892968"/>
              <a:gd name="connsiteX79" fmla="*/ 461998 w 892968"/>
              <a:gd name="connsiteY79" fmla="*/ 430958 h 892968"/>
              <a:gd name="connsiteX80" fmla="*/ 799468 w 892968"/>
              <a:gd name="connsiteY80" fmla="*/ 457375 h 892968"/>
              <a:gd name="connsiteX81" fmla="*/ 696179 w 892968"/>
              <a:gd name="connsiteY81" fmla="*/ 696205 h 892968"/>
              <a:gd name="connsiteX82" fmla="*/ 457349 w 892968"/>
              <a:gd name="connsiteY82" fmla="*/ 799494 h 892968"/>
              <a:gd name="connsiteX83" fmla="*/ 457349 w 892968"/>
              <a:gd name="connsiteY83" fmla="*/ 753245 h 892968"/>
              <a:gd name="connsiteX84" fmla="*/ 446448 w 892968"/>
              <a:gd name="connsiteY84" fmla="*/ 742344 h 892968"/>
              <a:gd name="connsiteX85" fmla="*/ 435547 w 892968"/>
              <a:gd name="connsiteY85" fmla="*/ 753245 h 892968"/>
              <a:gd name="connsiteX86" fmla="*/ 435547 w 892968"/>
              <a:gd name="connsiteY86" fmla="*/ 799531 h 892968"/>
              <a:gd name="connsiteX87" fmla="*/ 392015 w 892968"/>
              <a:gd name="connsiteY87" fmla="*/ 795587 h 892968"/>
              <a:gd name="connsiteX88" fmla="*/ 339143 w 892968"/>
              <a:gd name="connsiteY88" fmla="*/ 783160 h 892968"/>
              <a:gd name="connsiteX89" fmla="*/ 325525 w 892968"/>
              <a:gd name="connsiteY89" fmla="*/ 790229 h 892968"/>
              <a:gd name="connsiteX90" fmla="*/ 332595 w 892968"/>
              <a:gd name="connsiteY90" fmla="*/ 803847 h 892968"/>
              <a:gd name="connsiteX91" fmla="*/ 388703 w 892968"/>
              <a:gd name="connsiteY91" fmla="*/ 817018 h 892968"/>
              <a:gd name="connsiteX92" fmla="*/ 446448 w 892968"/>
              <a:gd name="connsiteY92" fmla="*/ 821483 h 892968"/>
              <a:gd name="connsiteX93" fmla="*/ 711586 w 892968"/>
              <a:gd name="connsiteY93" fmla="*/ 711651 h 892968"/>
              <a:gd name="connsiteX94" fmla="*/ 821457 w 892968"/>
              <a:gd name="connsiteY94" fmla="*/ 446475 h 892968"/>
              <a:gd name="connsiteX95" fmla="*/ 796826 w 892968"/>
              <a:gd name="connsiteY95" fmla="*/ 312534 h 892968"/>
              <a:gd name="connsiteX96" fmla="*/ 725686 w 892968"/>
              <a:gd name="connsiteY96" fmla="*/ 196224 h 892968"/>
              <a:gd name="connsiteX97" fmla="*/ 710393 w 892968"/>
              <a:gd name="connsiteY97" fmla="*/ 195368 h 892968"/>
              <a:gd name="connsiteX98" fmla="*/ 709537 w 892968"/>
              <a:gd name="connsiteY98" fmla="*/ 210698 h 892968"/>
              <a:gd name="connsiteX99" fmla="*/ 776509 w 892968"/>
              <a:gd name="connsiteY99" fmla="*/ 320311 h 892968"/>
              <a:gd name="connsiteX100" fmla="*/ 799541 w 892968"/>
              <a:gd name="connsiteY100" fmla="*/ 435611 h 892968"/>
              <a:gd name="connsiteX101" fmla="*/ 753292 w 892968"/>
              <a:gd name="connsiteY101" fmla="*/ 435611 h 892968"/>
              <a:gd name="connsiteX102" fmla="*/ 742391 w 892968"/>
              <a:gd name="connsiteY102" fmla="*/ 446513 h 892968"/>
              <a:gd name="connsiteX103" fmla="*/ 753292 w 892968"/>
              <a:gd name="connsiteY103" fmla="*/ 457414 h 892968"/>
              <a:gd name="connsiteX104" fmla="*/ 139748 w 892968"/>
              <a:gd name="connsiteY104" fmla="*/ 435571 h 892968"/>
              <a:gd name="connsiteX105" fmla="*/ 93499 w 892968"/>
              <a:gd name="connsiteY105" fmla="*/ 435571 h 892968"/>
              <a:gd name="connsiteX106" fmla="*/ 196788 w 892968"/>
              <a:gd name="connsiteY106" fmla="*/ 196742 h 892968"/>
              <a:gd name="connsiteX107" fmla="*/ 435618 w 892968"/>
              <a:gd name="connsiteY107" fmla="*/ 93452 h 892968"/>
              <a:gd name="connsiteX108" fmla="*/ 435618 w 892968"/>
              <a:gd name="connsiteY108" fmla="*/ 139701 h 892968"/>
              <a:gd name="connsiteX109" fmla="*/ 446519 w 892968"/>
              <a:gd name="connsiteY109" fmla="*/ 150602 h 892968"/>
              <a:gd name="connsiteX110" fmla="*/ 457421 w 892968"/>
              <a:gd name="connsiteY110" fmla="*/ 139701 h 892968"/>
              <a:gd name="connsiteX111" fmla="*/ 457421 w 892968"/>
              <a:gd name="connsiteY111" fmla="*/ 93452 h 892968"/>
              <a:gd name="connsiteX112" fmla="*/ 570749 w 892968"/>
              <a:gd name="connsiteY112" fmla="*/ 115702 h 892968"/>
              <a:gd name="connsiteX113" fmla="*/ 679172 w 892968"/>
              <a:gd name="connsiteY113" fmla="*/ 180628 h 892968"/>
              <a:gd name="connsiteX114" fmla="*/ 694465 w 892968"/>
              <a:gd name="connsiteY114" fmla="*/ 179623 h 892968"/>
              <a:gd name="connsiteX115" fmla="*/ 693460 w 892968"/>
              <a:gd name="connsiteY115" fmla="*/ 164331 h 892968"/>
              <a:gd name="connsiteX116" fmla="*/ 578417 w 892968"/>
              <a:gd name="connsiteY116" fmla="*/ 95386 h 892968"/>
              <a:gd name="connsiteX117" fmla="*/ 446553 w 892968"/>
              <a:gd name="connsiteY117" fmla="*/ 71499 h 892968"/>
              <a:gd name="connsiteX118" fmla="*/ 181415 w 892968"/>
              <a:gd name="connsiteY118" fmla="*/ 181332 h 892968"/>
              <a:gd name="connsiteX119" fmla="*/ 71506 w 892968"/>
              <a:gd name="connsiteY119" fmla="*/ 446470 h 892968"/>
              <a:gd name="connsiteX120" fmla="*/ 78538 w 892968"/>
              <a:gd name="connsiteY120" fmla="*/ 518949 h 892968"/>
              <a:gd name="connsiteX121" fmla="*/ 99374 w 892968"/>
              <a:gd name="connsiteY121" fmla="*/ 588415 h 892968"/>
              <a:gd name="connsiteX122" fmla="*/ 113513 w 892968"/>
              <a:gd name="connsiteY122" fmla="*/ 594368 h 892968"/>
              <a:gd name="connsiteX123" fmla="*/ 119466 w 892968"/>
              <a:gd name="connsiteY123" fmla="*/ 580230 h 892968"/>
              <a:gd name="connsiteX124" fmla="*/ 99895 w 892968"/>
              <a:gd name="connsiteY124" fmla="*/ 514782 h 892968"/>
              <a:gd name="connsiteX125" fmla="*/ 93458 w 892968"/>
              <a:gd name="connsiteY125" fmla="*/ 457372 h 892968"/>
              <a:gd name="connsiteX126" fmla="*/ 139707 w 892968"/>
              <a:gd name="connsiteY126" fmla="*/ 457372 h 892968"/>
              <a:gd name="connsiteX127" fmla="*/ 150608 w 892968"/>
              <a:gd name="connsiteY127" fmla="*/ 446471 h 892968"/>
              <a:gd name="connsiteX128" fmla="*/ 139744 w 892968"/>
              <a:gd name="connsiteY128" fmla="*/ 435570 h 892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892968" h="892968">
                <a:moveTo>
                  <a:pt x="61764" y="626713"/>
                </a:moveTo>
                <a:cubicBezTo>
                  <a:pt x="64294" y="632146"/>
                  <a:pt x="61950" y="638582"/>
                  <a:pt x="56518" y="641112"/>
                </a:cubicBezTo>
                <a:cubicBezTo>
                  <a:pt x="51085" y="643642"/>
                  <a:pt x="44648" y="641298"/>
                  <a:pt x="42119" y="635866"/>
                </a:cubicBezTo>
                <a:cubicBezTo>
                  <a:pt x="28426" y="606733"/>
                  <a:pt x="17822" y="575814"/>
                  <a:pt x="10678" y="543630"/>
                </a:cubicBezTo>
                <a:cubicBezTo>
                  <a:pt x="3684" y="512264"/>
                  <a:pt x="0" y="479745"/>
                  <a:pt x="0" y="446484"/>
                </a:cubicBezTo>
                <a:cubicBezTo>
                  <a:pt x="0" y="323183"/>
                  <a:pt x="49969" y="211560"/>
                  <a:pt x="130778" y="130778"/>
                </a:cubicBezTo>
                <a:cubicBezTo>
                  <a:pt x="211555" y="49964"/>
                  <a:pt x="323174" y="0"/>
                  <a:pt x="446484" y="0"/>
                </a:cubicBezTo>
                <a:cubicBezTo>
                  <a:pt x="569795" y="0"/>
                  <a:pt x="681409" y="49969"/>
                  <a:pt x="762190" y="130778"/>
                </a:cubicBezTo>
                <a:cubicBezTo>
                  <a:pt x="843004" y="211555"/>
                  <a:pt x="892969" y="323174"/>
                  <a:pt x="892969" y="446484"/>
                </a:cubicBezTo>
                <a:cubicBezTo>
                  <a:pt x="892969" y="569795"/>
                  <a:pt x="842999" y="681409"/>
                  <a:pt x="762190" y="762190"/>
                </a:cubicBezTo>
                <a:cubicBezTo>
                  <a:pt x="681414" y="843004"/>
                  <a:pt x="569795" y="892969"/>
                  <a:pt x="446484" y="892969"/>
                </a:cubicBezTo>
                <a:cubicBezTo>
                  <a:pt x="419435" y="892969"/>
                  <a:pt x="392758" y="890513"/>
                  <a:pt x="366749" y="885825"/>
                </a:cubicBezTo>
                <a:cubicBezTo>
                  <a:pt x="340220" y="881025"/>
                  <a:pt x="314511" y="873919"/>
                  <a:pt x="289880" y="864654"/>
                </a:cubicBezTo>
                <a:cubicBezTo>
                  <a:pt x="284262" y="862570"/>
                  <a:pt x="281397" y="856319"/>
                  <a:pt x="283518" y="850701"/>
                </a:cubicBezTo>
                <a:cubicBezTo>
                  <a:pt x="285601" y="845084"/>
                  <a:pt x="291853" y="842218"/>
                  <a:pt x="297469" y="844340"/>
                </a:cubicBezTo>
                <a:cubicBezTo>
                  <a:pt x="320948" y="853157"/>
                  <a:pt x="345393" y="859928"/>
                  <a:pt x="370619" y="864468"/>
                </a:cubicBezTo>
                <a:cubicBezTo>
                  <a:pt x="395101" y="868896"/>
                  <a:pt x="420477" y="871203"/>
                  <a:pt x="446559" y="871203"/>
                </a:cubicBezTo>
                <a:cubicBezTo>
                  <a:pt x="563831" y="871203"/>
                  <a:pt x="670025" y="823652"/>
                  <a:pt x="746854" y="746816"/>
                </a:cubicBezTo>
                <a:cubicBezTo>
                  <a:pt x="823649" y="669946"/>
                  <a:pt x="871203" y="563755"/>
                  <a:pt x="871203" y="446483"/>
                </a:cubicBezTo>
                <a:cubicBezTo>
                  <a:pt x="871203" y="329211"/>
                  <a:pt x="823651" y="223017"/>
                  <a:pt x="746816" y="146189"/>
                </a:cubicBezTo>
                <a:cubicBezTo>
                  <a:pt x="669946" y="69319"/>
                  <a:pt x="563755" y="21773"/>
                  <a:pt x="446483" y="21773"/>
                </a:cubicBezTo>
                <a:cubicBezTo>
                  <a:pt x="329211" y="21773"/>
                  <a:pt x="223017" y="69324"/>
                  <a:pt x="146189" y="146160"/>
                </a:cubicBezTo>
                <a:cubicBezTo>
                  <a:pt x="69318" y="223030"/>
                  <a:pt x="21773" y="329221"/>
                  <a:pt x="21773" y="446493"/>
                </a:cubicBezTo>
                <a:cubicBezTo>
                  <a:pt x="21773" y="478380"/>
                  <a:pt x="25233" y="509336"/>
                  <a:pt x="31819" y="538989"/>
                </a:cubicBezTo>
                <a:cubicBezTo>
                  <a:pt x="38627" y="569610"/>
                  <a:pt x="48747" y="599004"/>
                  <a:pt x="61770" y="626723"/>
                </a:cubicBezTo>
                <a:close/>
                <a:moveTo>
                  <a:pt x="121965" y="747671"/>
                </a:moveTo>
                <a:lnTo>
                  <a:pt x="162669" y="782051"/>
                </a:lnTo>
                <a:cubicBezTo>
                  <a:pt x="167245" y="785921"/>
                  <a:pt x="174091" y="785363"/>
                  <a:pt x="177961" y="780786"/>
                </a:cubicBezTo>
                <a:lnTo>
                  <a:pt x="244301" y="698000"/>
                </a:lnTo>
                <a:cubicBezTo>
                  <a:pt x="248058" y="693312"/>
                  <a:pt x="247315" y="686504"/>
                  <a:pt x="242626" y="682745"/>
                </a:cubicBezTo>
                <a:cubicBezTo>
                  <a:pt x="237938" y="678988"/>
                  <a:pt x="231130" y="679731"/>
                  <a:pt x="227371" y="684420"/>
                </a:cubicBezTo>
                <a:lnTo>
                  <a:pt x="168137" y="758313"/>
                </a:lnTo>
                <a:lnTo>
                  <a:pt x="135953" y="731151"/>
                </a:lnTo>
                <a:cubicBezTo>
                  <a:pt x="131377" y="727281"/>
                  <a:pt x="124531" y="727839"/>
                  <a:pt x="120661" y="732416"/>
                </a:cubicBezTo>
                <a:cubicBezTo>
                  <a:pt x="116829" y="736955"/>
                  <a:pt x="117387" y="743801"/>
                  <a:pt x="121963" y="747671"/>
                </a:cubicBezTo>
                <a:close/>
                <a:moveTo>
                  <a:pt x="182426" y="589128"/>
                </a:moveTo>
                <a:cubicBezTo>
                  <a:pt x="142839" y="589128"/>
                  <a:pt x="107007" y="605164"/>
                  <a:pt x="81071" y="631097"/>
                </a:cubicBezTo>
                <a:cubicBezTo>
                  <a:pt x="55137" y="657030"/>
                  <a:pt x="39102" y="692861"/>
                  <a:pt x="39102" y="732452"/>
                </a:cubicBezTo>
                <a:cubicBezTo>
                  <a:pt x="39102" y="772044"/>
                  <a:pt x="55138" y="807871"/>
                  <a:pt x="81071" y="833808"/>
                </a:cubicBezTo>
                <a:cubicBezTo>
                  <a:pt x="107005" y="859742"/>
                  <a:pt x="142835" y="875777"/>
                  <a:pt x="182426" y="875777"/>
                </a:cubicBezTo>
                <a:cubicBezTo>
                  <a:pt x="222018" y="875777"/>
                  <a:pt x="257845" y="859741"/>
                  <a:pt x="283782" y="833808"/>
                </a:cubicBezTo>
                <a:cubicBezTo>
                  <a:pt x="309716" y="807874"/>
                  <a:pt x="325751" y="772044"/>
                  <a:pt x="325751" y="732452"/>
                </a:cubicBezTo>
                <a:cubicBezTo>
                  <a:pt x="325751" y="692861"/>
                  <a:pt x="309715" y="657033"/>
                  <a:pt x="283782" y="631097"/>
                </a:cubicBezTo>
                <a:cubicBezTo>
                  <a:pt x="257848" y="605163"/>
                  <a:pt x="222018" y="589128"/>
                  <a:pt x="182426" y="589128"/>
                </a:cubicBezTo>
                <a:close/>
                <a:moveTo>
                  <a:pt x="268374" y="646501"/>
                </a:moveTo>
                <a:cubicBezTo>
                  <a:pt x="246385" y="624511"/>
                  <a:pt x="215987" y="610893"/>
                  <a:pt x="182426" y="610893"/>
                </a:cubicBezTo>
                <a:cubicBezTo>
                  <a:pt x="148866" y="610893"/>
                  <a:pt x="118468" y="624511"/>
                  <a:pt x="96479" y="646501"/>
                </a:cubicBezTo>
                <a:cubicBezTo>
                  <a:pt x="74489" y="668490"/>
                  <a:pt x="60871" y="698888"/>
                  <a:pt x="60871" y="732448"/>
                </a:cubicBezTo>
                <a:cubicBezTo>
                  <a:pt x="60871" y="766009"/>
                  <a:pt x="74489" y="796407"/>
                  <a:pt x="96479" y="818396"/>
                </a:cubicBezTo>
                <a:cubicBezTo>
                  <a:pt x="118468" y="840386"/>
                  <a:pt x="148866" y="854004"/>
                  <a:pt x="182426" y="854004"/>
                </a:cubicBezTo>
                <a:cubicBezTo>
                  <a:pt x="215987" y="854004"/>
                  <a:pt x="246385" y="840386"/>
                  <a:pt x="268374" y="818396"/>
                </a:cubicBezTo>
                <a:cubicBezTo>
                  <a:pt x="290364" y="796407"/>
                  <a:pt x="303982" y="766009"/>
                  <a:pt x="303982" y="732448"/>
                </a:cubicBezTo>
                <a:cubicBezTo>
                  <a:pt x="303982" y="698888"/>
                  <a:pt x="290401" y="668490"/>
                  <a:pt x="268374" y="646501"/>
                </a:cubicBezTo>
                <a:close/>
                <a:moveTo>
                  <a:pt x="446482" y="402756"/>
                </a:moveTo>
                <a:cubicBezTo>
                  <a:pt x="444956" y="402756"/>
                  <a:pt x="443469" y="402830"/>
                  <a:pt x="442018" y="402979"/>
                </a:cubicBezTo>
                <a:lnTo>
                  <a:pt x="333223" y="178551"/>
                </a:lnTo>
                <a:cubicBezTo>
                  <a:pt x="330618" y="173156"/>
                  <a:pt x="324107" y="170886"/>
                  <a:pt x="318713" y="173491"/>
                </a:cubicBezTo>
                <a:cubicBezTo>
                  <a:pt x="313317" y="176095"/>
                  <a:pt x="311048" y="182606"/>
                  <a:pt x="313652" y="188001"/>
                </a:cubicBezTo>
                <a:lnTo>
                  <a:pt x="421552" y="410534"/>
                </a:lnTo>
                <a:cubicBezTo>
                  <a:pt x="419393" y="412022"/>
                  <a:pt x="417422" y="413696"/>
                  <a:pt x="415561" y="415557"/>
                </a:cubicBezTo>
                <a:cubicBezTo>
                  <a:pt x="407636" y="423482"/>
                  <a:pt x="402762" y="434421"/>
                  <a:pt x="402762" y="446476"/>
                </a:cubicBezTo>
                <a:cubicBezTo>
                  <a:pt x="402762" y="458530"/>
                  <a:pt x="407636" y="469470"/>
                  <a:pt x="415561" y="477395"/>
                </a:cubicBezTo>
                <a:cubicBezTo>
                  <a:pt x="423486" y="485320"/>
                  <a:pt x="434426" y="490194"/>
                  <a:pt x="446480" y="490194"/>
                </a:cubicBezTo>
                <a:cubicBezTo>
                  <a:pt x="457903" y="490194"/>
                  <a:pt x="468321" y="485804"/>
                  <a:pt x="476135" y="478623"/>
                </a:cubicBezTo>
                <a:lnTo>
                  <a:pt x="614133" y="568143"/>
                </a:lnTo>
                <a:cubicBezTo>
                  <a:pt x="619155" y="571418"/>
                  <a:pt x="625890" y="569966"/>
                  <a:pt x="629164" y="564944"/>
                </a:cubicBezTo>
                <a:cubicBezTo>
                  <a:pt x="632438" y="559920"/>
                  <a:pt x="630987" y="553186"/>
                  <a:pt x="625964" y="549950"/>
                </a:cubicBezTo>
                <a:lnTo>
                  <a:pt x="487966" y="460430"/>
                </a:lnTo>
                <a:cubicBezTo>
                  <a:pt x="489417" y="456039"/>
                  <a:pt x="490235" y="451351"/>
                  <a:pt x="490235" y="446478"/>
                </a:cubicBezTo>
                <a:cubicBezTo>
                  <a:pt x="490235" y="434386"/>
                  <a:pt x="485361" y="423483"/>
                  <a:pt x="477436" y="415558"/>
                </a:cubicBezTo>
                <a:cubicBezTo>
                  <a:pt x="469474" y="407634"/>
                  <a:pt x="458571" y="402759"/>
                  <a:pt x="446479" y="402759"/>
                </a:cubicBezTo>
                <a:close/>
                <a:moveTo>
                  <a:pt x="461998" y="430958"/>
                </a:moveTo>
                <a:cubicBezTo>
                  <a:pt x="458016" y="426977"/>
                  <a:pt x="452547" y="424521"/>
                  <a:pt x="446482" y="424521"/>
                </a:cubicBezTo>
                <a:cubicBezTo>
                  <a:pt x="440418" y="424521"/>
                  <a:pt x="434948" y="426977"/>
                  <a:pt x="430967" y="430958"/>
                </a:cubicBezTo>
                <a:cubicBezTo>
                  <a:pt x="426986" y="434940"/>
                  <a:pt x="424530" y="440409"/>
                  <a:pt x="424530" y="446474"/>
                </a:cubicBezTo>
                <a:cubicBezTo>
                  <a:pt x="424530" y="452538"/>
                  <a:pt x="426986" y="458045"/>
                  <a:pt x="430967" y="461989"/>
                </a:cubicBezTo>
                <a:cubicBezTo>
                  <a:pt x="434948" y="465970"/>
                  <a:pt x="440418" y="468426"/>
                  <a:pt x="446482" y="468426"/>
                </a:cubicBezTo>
                <a:cubicBezTo>
                  <a:pt x="452547" y="468426"/>
                  <a:pt x="458016" y="465970"/>
                  <a:pt x="461998" y="461989"/>
                </a:cubicBezTo>
                <a:cubicBezTo>
                  <a:pt x="465979" y="458008"/>
                  <a:pt x="468435" y="452538"/>
                  <a:pt x="468435" y="446474"/>
                </a:cubicBezTo>
                <a:cubicBezTo>
                  <a:pt x="468435" y="440409"/>
                  <a:pt x="465979" y="434940"/>
                  <a:pt x="461998" y="430958"/>
                </a:cubicBezTo>
                <a:close/>
                <a:moveTo>
                  <a:pt x="799468" y="457375"/>
                </a:moveTo>
                <a:cubicBezTo>
                  <a:pt x="796640" y="550579"/>
                  <a:pt x="757722" y="634702"/>
                  <a:pt x="696179" y="696205"/>
                </a:cubicBezTo>
                <a:cubicBezTo>
                  <a:pt x="634639" y="757745"/>
                  <a:pt x="550552" y="796665"/>
                  <a:pt x="457349" y="799494"/>
                </a:cubicBezTo>
                <a:lnTo>
                  <a:pt x="457349" y="753245"/>
                </a:lnTo>
                <a:cubicBezTo>
                  <a:pt x="457349" y="747218"/>
                  <a:pt x="452475" y="742344"/>
                  <a:pt x="446448" y="742344"/>
                </a:cubicBezTo>
                <a:cubicBezTo>
                  <a:pt x="440421" y="742344"/>
                  <a:pt x="435547" y="747218"/>
                  <a:pt x="435547" y="753245"/>
                </a:cubicBezTo>
                <a:lnTo>
                  <a:pt x="435547" y="799531"/>
                </a:lnTo>
                <a:cubicBezTo>
                  <a:pt x="420664" y="799084"/>
                  <a:pt x="406153" y="797745"/>
                  <a:pt x="392015" y="795587"/>
                </a:cubicBezTo>
                <a:cubicBezTo>
                  <a:pt x="373895" y="792797"/>
                  <a:pt x="356222" y="788630"/>
                  <a:pt x="339143" y="783160"/>
                </a:cubicBezTo>
                <a:cubicBezTo>
                  <a:pt x="333413" y="781337"/>
                  <a:pt x="327348" y="784537"/>
                  <a:pt x="325525" y="790229"/>
                </a:cubicBezTo>
                <a:cubicBezTo>
                  <a:pt x="323702" y="795922"/>
                  <a:pt x="326865" y="802024"/>
                  <a:pt x="332595" y="803847"/>
                </a:cubicBezTo>
                <a:cubicBezTo>
                  <a:pt x="350751" y="809614"/>
                  <a:pt x="369504" y="814079"/>
                  <a:pt x="388703" y="817018"/>
                </a:cubicBezTo>
                <a:cubicBezTo>
                  <a:pt x="407716" y="819958"/>
                  <a:pt x="426988" y="821483"/>
                  <a:pt x="446448" y="821483"/>
                </a:cubicBezTo>
                <a:cubicBezTo>
                  <a:pt x="549994" y="821483"/>
                  <a:pt x="643720" y="779514"/>
                  <a:pt x="711586" y="711651"/>
                </a:cubicBezTo>
                <a:cubicBezTo>
                  <a:pt x="779489" y="643748"/>
                  <a:pt x="821457" y="550021"/>
                  <a:pt x="821457" y="446475"/>
                </a:cubicBezTo>
                <a:cubicBezTo>
                  <a:pt x="821457" y="399296"/>
                  <a:pt x="812750" y="354164"/>
                  <a:pt x="796826" y="312534"/>
                </a:cubicBezTo>
                <a:cubicBezTo>
                  <a:pt x="780343" y="269412"/>
                  <a:pt x="756048" y="230046"/>
                  <a:pt x="725686" y="196224"/>
                </a:cubicBezTo>
                <a:cubicBezTo>
                  <a:pt x="721704" y="191759"/>
                  <a:pt x="714822" y="191388"/>
                  <a:pt x="710393" y="195368"/>
                </a:cubicBezTo>
                <a:cubicBezTo>
                  <a:pt x="705928" y="199349"/>
                  <a:pt x="705557" y="206195"/>
                  <a:pt x="709537" y="210698"/>
                </a:cubicBezTo>
                <a:cubicBezTo>
                  <a:pt x="738076" y="242509"/>
                  <a:pt x="760921" y="279568"/>
                  <a:pt x="776509" y="320311"/>
                </a:cubicBezTo>
                <a:cubicBezTo>
                  <a:pt x="790276" y="356253"/>
                  <a:pt x="798313" y="395098"/>
                  <a:pt x="799541" y="435611"/>
                </a:cubicBezTo>
                <a:lnTo>
                  <a:pt x="753292" y="435611"/>
                </a:lnTo>
                <a:cubicBezTo>
                  <a:pt x="747265" y="435611"/>
                  <a:pt x="742391" y="440486"/>
                  <a:pt x="742391" y="446513"/>
                </a:cubicBezTo>
                <a:cubicBezTo>
                  <a:pt x="742391" y="452540"/>
                  <a:pt x="747266" y="457414"/>
                  <a:pt x="753292" y="457414"/>
                </a:cubicBezTo>
                <a:close/>
                <a:moveTo>
                  <a:pt x="139748" y="435571"/>
                </a:moveTo>
                <a:lnTo>
                  <a:pt x="93499" y="435571"/>
                </a:lnTo>
                <a:cubicBezTo>
                  <a:pt x="96327" y="342367"/>
                  <a:pt x="135245" y="258244"/>
                  <a:pt x="196788" y="196742"/>
                </a:cubicBezTo>
                <a:cubicBezTo>
                  <a:pt x="258328" y="135201"/>
                  <a:pt x="342416" y="96281"/>
                  <a:pt x="435618" y="93452"/>
                </a:cubicBezTo>
                <a:lnTo>
                  <a:pt x="435618" y="139701"/>
                </a:lnTo>
                <a:cubicBezTo>
                  <a:pt x="435618" y="145729"/>
                  <a:pt x="440492" y="150602"/>
                  <a:pt x="446519" y="150602"/>
                </a:cubicBezTo>
                <a:cubicBezTo>
                  <a:pt x="452547" y="150602"/>
                  <a:pt x="457421" y="145729"/>
                  <a:pt x="457421" y="139701"/>
                </a:cubicBezTo>
                <a:lnTo>
                  <a:pt x="457421" y="93452"/>
                </a:lnTo>
                <a:cubicBezTo>
                  <a:pt x="497232" y="94643"/>
                  <a:pt x="535370" y="102419"/>
                  <a:pt x="570749" y="115702"/>
                </a:cubicBezTo>
                <a:cubicBezTo>
                  <a:pt x="610858" y="130770"/>
                  <a:pt x="647507" y="152947"/>
                  <a:pt x="679172" y="180628"/>
                </a:cubicBezTo>
                <a:cubicBezTo>
                  <a:pt x="683675" y="184572"/>
                  <a:pt x="690520" y="184126"/>
                  <a:pt x="694465" y="179623"/>
                </a:cubicBezTo>
                <a:cubicBezTo>
                  <a:pt x="698409" y="175122"/>
                  <a:pt x="697962" y="168238"/>
                  <a:pt x="693460" y="164331"/>
                </a:cubicBezTo>
                <a:cubicBezTo>
                  <a:pt x="659862" y="134900"/>
                  <a:pt x="620980" y="111385"/>
                  <a:pt x="578417" y="95386"/>
                </a:cubicBezTo>
                <a:cubicBezTo>
                  <a:pt x="537340" y="79945"/>
                  <a:pt x="492915" y="71499"/>
                  <a:pt x="446553" y="71499"/>
                </a:cubicBezTo>
                <a:cubicBezTo>
                  <a:pt x="343007" y="71499"/>
                  <a:pt x="249280" y="113468"/>
                  <a:pt x="181415" y="181332"/>
                </a:cubicBezTo>
                <a:cubicBezTo>
                  <a:pt x="113475" y="249198"/>
                  <a:pt x="71506" y="342924"/>
                  <a:pt x="71506" y="446470"/>
                </a:cubicBezTo>
                <a:cubicBezTo>
                  <a:pt x="71506" y="471213"/>
                  <a:pt x="73924" y="495471"/>
                  <a:pt x="78538" y="518949"/>
                </a:cubicBezTo>
                <a:cubicBezTo>
                  <a:pt x="83226" y="542873"/>
                  <a:pt x="90259" y="566128"/>
                  <a:pt x="99374" y="588415"/>
                </a:cubicBezTo>
                <a:cubicBezTo>
                  <a:pt x="101644" y="593960"/>
                  <a:pt x="107969" y="596638"/>
                  <a:pt x="113513" y="594368"/>
                </a:cubicBezTo>
                <a:cubicBezTo>
                  <a:pt x="119057" y="592099"/>
                  <a:pt x="121736" y="585774"/>
                  <a:pt x="119466" y="580230"/>
                </a:cubicBezTo>
                <a:cubicBezTo>
                  <a:pt x="110946" y="559468"/>
                  <a:pt x="104360" y="537553"/>
                  <a:pt x="99895" y="514782"/>
                </a:cubicBezTo>
                <a:cubicBezTo>
                  <a:pt x="96249" y="496142"/>
                  <a:pt x="94053" y="476979"/>
                  <a:pt x="93458" y="457372"/>
                </a:cubicBezTo>
                <a:lnTo>
                  <a:pt x="139707" y="457372"/>
                </a:lnTo>
                <a:cubicBezTo>
                  <a:pt x="145734" y="457372"/>
                  <a:pt x="150608" y="452498"/>
                  <a:pt x="150608" y="446471"/>
                </a:cubicBezTo>
                <a:cubicBezTo>
                  <a:pt x="150645" y="440443"/>
                  <a:pt x="145771" y="435570"/>
                  <a:pt x="139744" y="43557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9" name="Group 118">
            <a:extLst>
              <a:ext uri="{FF2B5EF4-FFF2-40B4-BE49-F238E27FC236}">
                <a16:creationId xmlns:a16="http://schemas.microsoft.com/office/drawing/2014/main" id="{A480F2FC-FD1E-6219-9229-3CC6118D59C7}"/>
              </a:ext>
            </a:extLst>
          </p:cNvPr>
          <p:cNvGrpSpPr/>
          <p:nvPr/>
        </p:nvGrpSpPr>
        <p:grpSpPr>
          <a:xfrm>
            <a:off x="572433" y="3004753"/>
            <a:ext cx="322892" cy="322832"/>
            <a:chOff x="-1481799" y="1315786"/>
            <a:chExt cx="838277" cy="838121"/>
          </a:xfrm>
          <a:solidFill>
            <a:schemeClr val="bg1"/>
          </a:solidFill>
        </p:grpSpPr>
        <p:sp>
          <p:nvSpPr>
            <p:cNvPr id="120" name="Freeform: Shape 119">
              <a:extLst>
                <a:ext uri="{FF2B5EF4-FFF2-40B4-BE49-F238E27FC236}">
                  <a16:creationId xmlns:a16="http://schemas.microsoft.com/office/drawing/2014/main" id="{609BAC18-1C1E-C16E-736D-3C252237D606}"/>
                </a:ext>
              </a:extLst>
            </p:cNvPr>
            <p:cNvSpPr/>
            <p:nvPr/>
          </p:nvSpPr>
          <p:spPr>
            <a:xfrm>
              <a:off x="-1481799" y="1315786"/>
              <a:ext cx="838277" cy="838121"/>
            </a:xfrm>
            <a:custGeom>
              <a:avLst/>
              <a:gdLst>
                <a:gd name="connsiteX0" fmla="*/ 790648 w 838277"/>
                <a:gd name="connsiteY0" fmla="*/ 3 h 838121"/>
                <a:gd name="connsiteX1" fmla="*/ 140566 w 838277"/>
                <a:gd name="connsiteY1" fmla="*/ 3 h 838121"/>
                <a:gd name="connsiteX2" fmla="*/ 93053 w 838277"/>
                <a:gd name="connsiteY2" fmla="*/ 47516 h 838121"/>
                <a:gd name="connsiteX3" fmla="*/ 93053 w 838277"/>
                <a:gd name="connsiteY3" fmla="*/ 188496 h 838121"/>
                <a:gd name="connsiteX4" fmla="*/ 119246 w 838277"/>
                <a:gd name="connsiteY4" fmla="*/ 214690 h 838121"/>
                <a:gd name="connsiteX5" fmla="*/ 125162 w 838277"/>
                <a:gd name="connsiteY5" fmla="*/ 214690 h 838121"/>
                <a:gd name="connsiteX6" fmla="*/ 130409 w 838277"/>
                <a:gd name="connsiteY6" fmla="*/ 234782 h 838121"/>
                <a:gd name="connsiteX7" fmla="*/ 125274 w 838277"/>
                <a:gd name="connsiteY7" fmla="*/ 254874 h 838121"/>
                <a:gd name="connsiteX8" fmla="*/ 121553 w 838277"/>
                <a:gd name="connsiteY8" fmla="*/ 254874 h 838121"/>
                <a:gd name="connsiteX9" fmla="*/ 93164 w 838277"/>
                <a:gd name="connsiteY9" fmla="*/ 283263 h 838121"/>
                <a:gd name="connsiteX10" fmla="*/ 93164 w 838277"/>
                <a:gd name="connsiteY10" fmla="*/ 441092 h 838121"/>
                <a:gd name="connsiteX11" fmla="*/ 109833 w 838277"/>
                <a:gd name="connsiteY11" fmla="*/ 466914 h 838121"/>
                <a:gd name="connsiteX12" fmla="*/ 0 w 838277"/>
                <a:gd name="connsiteY12" fmla="*/ 642564 h 838121"/>
                <a:gd name="connsiteX13" fmla="*/ 195558 w 838277"/>
                <a:gd name="connsiteY13" fmla="*/ 838122 h 838121"/>
                <a:gd name="connsiteX14" fmla="*/ 373113 w 838277"/>
                <a:gd name="connsiteY14" fmla="*/ 724384 h 838121"/>
                <a:gd name="connsiteX15" fmla="*/ 662102 w 838277"/>
                <a:gd name="connsiteY15" fmla="*/ 724384 h 838121"/>
                <a:gd name="connsiteX16" fmla="*/ 708759 w 838277"/>
                <a:gd name="connsiteY16" fmla="*/ 763637 h 838121"/>
                <a:gd name="connsiteX17" fmla="*/ 744181 w 838277"/>
                <a:gd name="connsiteY17" fmla="*/ 763637 h 838121"/>
                <a:gd name="connsiteX18" fmla="*/ 790838 w 838277"/>
                <a:gd name="connsiteY18" fmla="*/ 724384 h 838121"/>
                <a:gd name="connsiteX19" fmla="*/ 791693 w 838277"/>
                <a:gd name="connsiteY19" fmla="*/ 724384 h 838121"/>
                <a:gd name="connsiteX20" fmla="*/ 838276 w 838277"/>
                <a:gd name="connsiteY20" fmla="*/ 675904 h 838121"/>
                <a:gd name="connsiteX21" fmla="*/ 838276 w 838277"/>
                <a:gd name="connsiteY21" fmla="*/ 536267 h 838121"/>
                <a:gd name="connsiteX22" fmla="*/ 812566 w 838277"/>
                <a:gd name="connsiteY22" fmla="*/ 509701 h 838121"/>
                <a:gd name="connsiteX23" fmla="*/ 806168 w 838277"/>
                <a:gd name="connsiteY23" fmla="*/ 509701 h 838121"/>
                <a:gd name="connsiteX24" fmla="*/ 801033 w 838277"/>
                <a:gd name="connsiteY24" fmla="*/ 489609 h 838121"/>
                <a:gd name="connsiteX25" fmla="*/ 806168 w 838277"/>
                <a:gd name="connsiteY25" fmla="*/ 469517 h 838121"/>
                <a:gd name="connsiteX26" fmla="*/ 809888 w 838277"/>
                <a:gd name="connsiteY26" fmla="*/ 469517 h 838121"/>
                <a:gd name="connsiteX27" fmla="*/ 838277 w 838277"/>
                <a:gd name="connsiteY27" fmla="*/ 441128 h 838121"/>
                <a:gd name="connsiteX28" fmla="*/ 838277 w 838277"/>
                <a:gd name="connsiteY28" fmla="*/ 283298 h 838121"/>
                <a:gd name="connsiteX29" fmla="*/ 809888 w 838277"/>
                <a:gd name="connsiteY29" fmla="*/ 254909 h 838121"/>
                <a:gd name="connsiteX30" fmla="*/ 806168 w 838277"/>
                <a:gd name="connsiteY30" fmla="*/ 254909 h 838121"/>
                <a:gd name="connsiteX31" fmla="*/ 801033 w 838277"/>
                <a:gd name="connsiteY31" fmla="*/ 234817 h 838121"/>
                <a:gd name="connsiteX32" fmla="*/ 806279 w 838277"/>
                <a:gd name="connsiteY32" fmla="*/ 214725 h 838121"/>
                <a:gd name="connsiteX33" fmla="*/ 812084 w 838277"/>
                <a:gd name="connsiteY33" fmla="*/ 214725 h 838121"/>
                <a:gd name="connsiteX34" fmla="*/ 838277 w 838277"/>
                <a:gd name="connsiteY34" fmla="*/ 188531 h 838121"/>
                <a:gd name="connsiteX35" fmla="*/ 838277 w 838277"/>
                <a:gd name="connsiteY35" fmla="*/ 47514 h 838121"/>
                <a:gd name="connsiteX36" fmla="*/ 790764 w 838277"/>
                <a:gd name="connsiteY36" fmla="*/ 0 h 838121"/>
                <a:gd name="connsiteX37" fmla="*/ 358565 w 838277"/>
                <a:gd name="connsiteY37" fmla="*/ 711511 h 838121"/>
                <a:gd name="connsiteX38" fmla="*/ 195487 w 838277"/>
                <a:gd name="connsiteY38" fmla="*/ 819524 h 838121"/>
                <a:gd name="connsiteX39" fmla="*/ 18532 w 838277"/>
                <a:gd name="connsiteY39" fmla="*/ 642569 h 838121"/>
                <a:gd name="connsiteX40" fmla="*/ 137404 w 838277"/>
                <a:gd name="connsiteY40" fmla="*/ 475396 h 838121"/>
                <a:gd name="connsiteX41" fmla="*/ 159505 w 838277"/>
                <a:gd name="connsiteY41" fmla="*/ 469294 h 838121"/>
                <a:gd name="connsiteX42" fmla="*/ 195521 w 838277"/>
                <a:gd name="connsiteY42" fmla="*/ 465573 h 838121"/>
                <a:gd name="connsiteX43" fmla="*/ 231537 w 838277"/>
                <a:gd name="connsiteY43" fmla="*/ 469294 h 838121"/>
                <a:gd name="connsiteX44" fmla="*/ 327825 w 838277"/>
                <a:gd name="connsiteY44" fmla="*/ 525216 h 838121"/>
                <a:gd name="connsiteX45" fmla="*/ 372399 w 838277"/>
                <a:gd name="connsiteY45" fmla="*/ 642459 h 838121"/>
                <a:gd name="connsiteX46" fmla="*/ 358484 w 838277"/>
                <a:gd name="connsiteY46" fmla="*/ 711404 h 838121"/>
                <a:gd name="connsiteX47" fmla="*/ 785552 w 838277"/>
                <a:gd name="connsiteY47" fmla="*/ 509771 h 838121"/>
                <a:gd name="connsiteX48" fmla="*/ 338848 w 838277"/>
                <a:gd name="connsiteY48" fmla="*/ 509771 h 838121"/>
                <a:gd name="connsiteX49" fmla="*/ 286349 w 838277"/>
                <a:gd name="connsiteY49" fmla="*/ 469587 h 838121"/>
                <a:gd name="connsiteX50" fmla="*/ 785669 w 838277"/>
                <a:gd name="connsiteY50" fmla="*/ 469587 h 838121"/>
                <a:gd name="connsiteX51" fmla="*/ 782320 w 838277"/>
                <a:gd name="connsiteY51" fmla="*/ 489679 h 838121"/>
                <a:gd name="connsiteX52" fmla="*/ 785669 w 838277"/>
                <a:gd name="connsiteY52" fmla="*/ 509771 h 838121"/>
                <a:gd name="connsiteX53" fmla="*/ 744028 w 838277"/>
                <a:gd name="connsiteY53" fmla="*/ 745029 h 838121"/>
                <a:gd name="connsiteX54" fmla="*/ 708607 w 838277"/>
                <a:gd name="connsiteY54" fmla="*/ 745029 h 838121"/>
                <a:gd name="connsiteX55" fmla="*/ 680999 w 838277"/>
                <a:gd name="connsiteY55" fmla="*/ 724453 h 838121"/>
                <a:gd name="connsiteX56" fmla="*/ 771673 w 838277"/>
                <a:gd name="connsiteY56" fmla="*/ 724453 h 838121"/>
                <a:gd name="connsiteX57" fmla="*/ 744065 w 838277"/>
                <a:gd name="connsiteY57" fmla="*/ 745029 h 838121"/>
                <a:gd name="connsiteX58" fmla="*/ 812415 w 838277"/>
                <a:gd name="connsiteY58" fmla="*/ 528450 h 838121"/>
                <a:gd name="connsiteX59" fmla="*/ 819447 w 838277"/>
                <a:gd name="connsiteY59" fmla="*/ 536338 h 838121"/>
                <a:gd name="connsiteX60" fmla="*/ 819447 w 838277"/>
                <a:gd name="connsiteY60" fmla="*/ 675974 h 838121"/>
                <a:gd name="connsiteX61" fmla="*/ 791542 w 838277"/>
                <a:gd name="connsiteY61" fmla="*/ 705888 h 838121"/>
                <a:gd name="connsiteX62" fmla="*/ 380481 w 838277"/>
                <a:gd name="connsiteY62" fmla="*/ 705888 h 838121"/>
                <a:gd name="connsiteX63" fmla="*/ 391159 w 838277"/>
                <a:gd name="connsiteY63" fmla="*/ 642637 h 838121"/>
                <a:gd name="connsiteX64" fmla="*/ 354213 w 838277"/>
                <a:gd name="connsiteY64" fmla="*/ 528451 h 838121"/>
                <a:gd name="connsiteX65" fmla="*/ 812451 w 838277"/>
                <a:gd name="connsiteY65" fmla="*/ 528451 h 838121"/>
                <a:gd name="connsiteX66" fmla="*/ 809737 w 838277"/>
                <a:gd name="connsiteY66" fmla="*/ 273542 h 838121"/>
                <a:gd name="connsiteX67" fmla="*/ 819558 w 838277"/>
                <a:gd name="connsiteY67" fmla="*/ 283364 h 838121"/>
                <a:gd name="connsiteX68" fmla="*/ 819558 w 838277"/>
                <a:gd name="connsiteY68" fmla="*/ 441193 h 838121"/>
                <a:gd name="connsiteX69" fmla="*/ 809737 w 838277"/>
                <a:gd name="connsiteY69" fmla="*/ 451015 h 838121"/>
                <a:gd name="connsiteX70" fmla="*/ 234065 w 838277"/>
                <a:gd name="connsiteY70" fmla="*/ 451015 h 838121"/>
                <a:gd name="connsiteX71" fmla="*/ 156896 w 838277"/>
                <a:gd name="connsiteY71" fmla="*/ 451015 h 838121"/>
                <a:gd name="connsiteX72" fmla="*/ 121475 w 838277"/>
                <a:gd name="connsiteY72" fmla="*/ 451015 h 838121"/>
                <a:gd name="connsiteX73" fmla="*/ 111652 w 838277"/>
                <a:gd name="connsiteY73" fmla="*/ 441193 h 838121"/>
                <a:gd name="connsiteX74" fmla="*/ 111652 w 838277"/>
                <a:gd name="connsiteY74" fmla="*/ 283364 h 838121"/>
                <a:gd name="connsiteX75" fmla="*/ 121475 w 838277"/>
                <a:gd name="connsiteY75" fmla="*/ 273542 h 838121"/>
                <a:gd name="connsiteX76" fmla="*/ 809771 w 838277"/>
                <a:gd name="connsiteY76" fmla="*/ 273542 h 838121"/>
                <a:gd name="connsiteX77" fmla="*/ 785552 w 838277"/>
                <a:gd name="connsiteY77" fmla="*/ 254864 h 838121"/>
                <a:gd name="connsiteX78" fmla="*/ 145699 w 838277"/>
                <a:gd name="connsiteY78" fmla="*/ 254901 h 838121"/>
                <a:gd name="connsiteX79" fmla="*/ 149048 w 838277"/>
                <a:gd name="connsiteY79" fmla="*/ 234809 h 838121"/>
                <a:gd name="connsiteX80" fmla="*/ 145699 w 838277"/>
                <a:gd name="connsiteY80" fmla="*/ 214717 h 838121"/>
                <a:gd name="connsiteX81" fmla="*/ 785589 w 838277"/>
                <a:gd name="connsiteY81" fmla="*/ 214680 h 838121"/>
                <a:gd name="connsiteX82" fmla="*/ 782241 w 838277"/>
                <a:gd name="connsiteY82" fmla="*/ 234772 h 838121"/>
                <a:gd name="connsiteX83" fmla="*/ 785589 w 838277"/>
                <a:gd name="connsiteY83" fmla="*/ 254864 h 838121"/>
                <a:gd name="connsiteX84" fmla="*/ 819447 w 838277"/>
                <a:gd name="connsiteY84" fmla="*/ 188486 h 838121"/>
                <a:gd name="connsiteX85" fmla="*/ 811931 w 838277"/>
                <a:gd name="connsiteY85" fmla="*/ 196003 h 838121"/>
                <a:gd name="connsiteX86" fmla="*/ 119206 w 838277"/>
                <a:gd name="connsiteY86" fmla="*/ 196003 h 838121"/>
                <a:gd name="connsiteX87" fmla="*/ 111690 w 838277"/>
                <a:gd name="connsiteY87" fmla="*/ 188486 h 838121"/>
                <a:gd name="connsiteX88" fmla="*/ 111690 w 838277"/>
                <a:gd name="connsiteY88" fmla="*/ 47507 h 838121"/>
                <a:gd name="connsiteX89" fmla="*/ 140562 w 838277"/>
                <a:gd name="connsiteY89" fmla="*/ 18635 h 838121"/>
                <a:gd name="connsiteX90" fmla="*/ 790644 w 838277"/>
                <a:gd name="connsiteY90" fmla="*/ 18672 h 838121"/>
                <a:gd name="connsiteX91" fmla="*/ 819516 w 838277"/>
                <a:gd name="connsiteY91" fmla="*/ 47544 h 838121"/>
                <a:gd name="connsiteX92" fmla="*/ 819516 w 838277"/>
                <a:gd name="connsiteY92" fmla="*/ 188524 h 838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838277" h="838121">
                  <a:moveTo>
                    <a:pt x="790648" y="3"/>
                  </a:moveTo>
                  <a:lnTo>
                    <a:pt x="140566" y="3"/>
                  </a:lnTo>
                  <a:cubicBezTo>
                    <a:pt x="114372" y="3"/>
                    <a:pt x="93053" y="21323"/>
                    <a:pt x="93053" y="47516"/>
                  </a:cubicBezTo>
                  <a:lnTo>
                    <a:pt x="93053" y="188496"/>
                  </a:lnTo>
                  <a:cubicBezTo>
                    <a:pt x="93053" y="202895"/>
                    <a:pt x="104773" y="214690"/>
                    <a:pt x="119246" y="214690"/>
                  </a:cubicBezTo>
                  <a:lnTo>
                    <a:pt x="125162" y="214690"/>
                  </a:lnTo>
                  <a:cubicBezTo>
                    <a:pt x="128510" y="220122"/>
                    <a:pt x="130409" y="227154"/>
                    <a:pt x="130409" y="234782"/>
                  </a:cubicBezTo>
                  <a:cubicBezTo>
                    <a:pt x="130409" y="242409"/>
                    <a:pt x="128510" y="249366"/>
                    <a:pt x="125274" y="254874"/>
                  </a:cubicBezTo>
                  <a:lnTo>
                    <a:pt x="121553" y="254874"/>
                  </a:lnTo>
                  <a:cubicBezTo>
                    <a:pt x="105927" y="254874"/>
                    <a:pt x="93164" y="267635"/>
                    <a:pt x="93164" y="283263"/>
                  </a:cubicBezTo>
                  <a:lnTo>
                    <a:pt x="93164" y="441092"/>
                  </a:lnTo>
                  <a:cubicBezTo>
                    <a:pt x="93164" y="452626"/>
                    <a:pt x="100010" y="462412"/>
                    <a:pt x="109833" y="466914"/>
                  </a:cubicBezTo>
                  <a:cubicBezTo>
                    <a:pt x="43344" y="499283"/>
                    <a:pt x="0" y="567221"/>
                    <a:pt x="0" y="642564"/>
                  </a:cubicBezTo>
                  <a:cubicBezTo>
                    <a:pt x="0" y="750387"/>
                    <a:pt x="87734" y="838122"/>
                    <a:pt x="195558" y="838122"/>
                  </a:cubicBezTo>
                  <a:cubicBezTo>
                    <a:pt x="272242" y="838122"/>
                    <a:pt x="341186" y="793622"/>
                    <a:pt x="373113" y="724384"/>
                  </a:cubicBezTo>
                  <a:lnTo>
                    <a:pt x="662102" y="724384"/>
                  </a:lnTo>
                  <a:cubicBezTo>
                    <a:pt x="666009" y="746559"/>
                    <a:pt x="685431" y="763637"/>
                    <a:pt x="708759" y="763637"/>
                  </a:cubicBezTo>
                  <a:lnTo>
                    <a:pt x="744181" y="763637"/>
                  </a:lnTo>
                  <a:cubicBezTo>
                    <a:pt x="767509" y="763637"/>
                    <a:pt x="786857" y="746671"/>
                    <a:pt x="790838" y="724384"/>
                  </a:cubicBezTo>
                  <a:lnTo>
                    <a:pt x="791693" y="724384"/>
                  </a:lnTo>
                  <a:cubicBezTo>
                    <a:pt x="817403" y="724384"/>
                    <a:pt x="838276" y="702655"/>
                    <a:pt x="838276" y="675904"/>
                  </a:cubicBezTo>
                  <a:lnTo>
                    <a:pt x="838276" y="536267"/>
                  </a:lnTo>
                  <a:cubicBezTo>
                    <a:pt x="838276" y="521607"/>
                    <a:pt x="826742" y="509701"/>
                    <a:pt x="812566" y="509701"/>
                  </a:cubicBezTo>
                  <a:lnTo>
                    <a:pt x="806168" y="509701"/>
                  </a:lnTo>
                  <a:cubicBezTo>
                    <a:pt x="802930" y="504194"/>
                    <a:pt x="801033" y="497125"/>
                    <a:pt x="801033" y="489609"/>
                  </a:cubicBezTo>
                  <a:cubicBezTo>
                    <a:pt x="801033" y="482093"/>
                    <a:pt x="802930" y="475024"/>
                    <a:pt x="806168" y="469517"/>
                  </a:cubicBezTo>
                  <a:lnTo>
                    <a:pt x="809888" y="469517"/>
                  </a:lnTo>
                  <a:cubicBezTo>
                    <a:pt x="825515" y="469517"/>
                    <a:pt x="838277" y="456755"/>
                    <a:pt x="838277" y="441128"/>
                  </a:cubicBezTo>
                  <a:lnTo>
                    <a:pt x="838277" y="283298"/>
                  </a:lnTo>
                  <a:cubicBezTo>
                    <a:pt x="838277" y="267672"/>
                    <a:pt x="825516" y="254909"/>
                    <a:pt x="809888" y="254909"/>
                  </a:cubicBezTo>
                  <a:lnTo>
                    <a:pt x="806168" y="254909"/>
                  </a:lnTo>
                  <a:cubicBezTo>
                    <a:pt x="802930" y="249403"/>
                    <a:pt x="801033" y="242333"/>
                    <a:pt x="801033" y="234817"/>
                  </a:cubicBezTo>
                  <a:cubicBezTo>
                    <a:pt x="801033" y="227301"/>
                    <a:pt x="802930" y="220232"/>
                    <a:pt x="806279" y="214725"/>
                  </a:cubicBezTo>
                  <a:lnTo>
                    <a:pt x="812084" y="214725"/>
                  </a:lnTo>
                  <a:cubicBezTo>
                    <a:pt x="826482" y="214725"/>
                    <a:pt x="838277" y="203004"/>
                    <a:pt x="838277" y="188531"/>
                  </a:cubicBezTo>
                  <a:lnTo>
                    <a:pt x="838277" y="47514"/>
                  </a:lnTo>
                  <a:cubicBezTo>
                    <a:pt x="838277" y="21320"/>
                    <a:pt x="816957" y="0"/>
                    <a:pt x="790764" y="0"/>
                  </a:cubicBezTo>
                  <a:close/>
                  <a:moveTo>
                    <a:pt x="358565" y="711511"/>
                  </a:moveTo>
                  <a:cubicBezTo>
                    <a:pt x="330734" y="777144"/>
                    <a:pt x="266738" y="819524"/>
                    <a:pt x="195487" y="819524"/>
                  </a:cubicBezTo>
                  <a:cubicBezTo>
                    <a:pt x="97970" y="819524"/>
                    <a:pt x="18532" y="740199"/>
                    <a:pt x="18532" y="642569"/>
                  </a:cubicBezTo>
                  <a:cubicBezTo>
                    <a:pt x="18532" y="567224"/>
                    <a:pt x="66268" y="500065"/>
                    <a:pt x="137404" y="475396"/>
                  </a:cubicBezTo>
                  <a:cubicBezTo>
                    <a:pt x="144548" y="472829"/>
                    <a:pt x="151877" y="470819"/>
                    <a:pt x="159505" y="469294"/>
                  </a:cubicBezTo>
                  <a:cubicBezTo>
                    <a:pt x="171039" y="466801"/>
                    <a:pt x="183132" y="465573"/>
                    <a:pt x="195521" y="465573"/>
                  </a:cubicBezTo>
                  <a:cubicBezTo>
                    <a:pt x="207910" y="465573"/>
                    <a:pt x="220003" y="466801"/>
                    <a:pt x="231537" y="469294"/>
                  </a:cubicBezTo>
                  <a:cubicBezTo>
                    <a:pt x="268595" y="476922"/>
                    <a:pt x="302788" y="496715"/>
                    <a:pt x="327825" y="525216"/>
                  </a:cubicBezTo>
                  <a:cubicBezTo>
                    <a:pt x="356586" y="557512"/>
                    <a:pt x="372399" y="599221"/>
                    <a:pt x="372399" y="642459"/>
                  </a:cubicBezTo>
                  <a:cubicBezTo>
                    <a:pt x="372399" y="666383"/>
                    <a:pt x="367748" y="689600"/>
                    <a:pt x="358484" y="711404"/>
                  </a:cubicBezTo>
                  <a:close/>
                  <a:moveTo>
                    <a:pt x="785552" y="509771"/>
                  </a:moveTo>
                  <a:lnTo>
                    <a:pt x="338848" y="509771"/>
                  </a:lnTo>
                  <a:cubicBezTo>
                    <a:pt x="323817" y="493400"/>
                    <a:pt x="305883" y="479857"/>
                    <a:pt x="286349" y="469587"/>
                  </a:cubicBezTo>
                  <a:lnTo>
                    <a:pt x="785669" y="469587"/>
                  </a:lnTo>
                  <a:cubicBezTo>
                    <a:pt x="783586" y="475763"/>
                    <a:pt x="782320" y="482536"/>
                    <a:pt x="782320" y="489679"/>
                  </a:cubicBezTo>
                  <a:cubicBezTo>
                    <a:pt x="782320" y="496823"/>
                    <a:pt x="783473" y="503594"/>
                    <a:pt x="785669" y="509771"/>
                  </a:cubicBezTo>
                  <a:close/>
                  <a:moveTo>
                    <a:pt x="744028" y="745029"/>
                  </a:moveTo>
                  <a:lnTo>
                    <a:pt x="708607" y="745029"/>
                  </a:lnTo>
                  <a:cubicBezTo>
                    <a:pt x="695547" y="745029"/>
                    <a:pt x="684497" y="736360"/>
                    <a:pt x="680999" y="724453"/>
                  </a:cubicBezTo>
                  <a:lnTo>
                    <a:pt x="771673" y="724453"/>
                  </a:lnTo>
                  <a:cubicBezTo>
                    <a:pt x="768064" y="736360"/>
                    <a:pt x="757088" y="745029"/>
                    <a:pt x="744065" y="745029"/>
                  </a:cubicBezTo>
                  <a:close/>
                  <a:moveTo>
                    <a:pt x="812415" y="528450"/>
                  </a:moveTo>
                  <a:cubicBezTo>
                    <a:pt x="816322" y="528450"/>
                    <a:pt x="819447" y="531985"/>
                    <a:pt x="819447" y="536338"/>
                  </a:cubicBezTo>
                  <a:lnTo>
                    <a:pt x="819447" y="675974"/>
                  </a:lnTo>
                  <a:cubicBezTo>
                    <a:pt x="819447" y="692457"/>
                    <a:pt x="806871" y="705888"/>
                    <a:pt x="791542" y="705888"/>
                  </a:cubicBezTo>
                  <a:lnTo>
                    <a:pt x="380481" y="705888"/>
                  </a:lnTo>
                  <a:cubicBezTo>
                    <a:pt x="387439" y="685610"/>
                    <a:pt x="391159" y="664439"/>
                    <a:pt x="391159" y="642637"/>
                  </a:cubicBezTo>
                  <a:cubicBezTo>
                    <a:pt x="391159" y="601411"/>
                    <a:pt x="378100" y="561563"/>
                    <a:pt x="354213" y="528451"/>
                  </a:cubicBezTo>
                  <a:lnTo>
                    <a:pt x="812451" y="528451"/>
                  </a:lnTo>
                  <a:close/>
                  <a:moveTo>
                    <a:pt x="809737" y="273542"/>
                  </a:moveTo>
                  <a:cubicBezTo>
                    <a:pt x="815169" y="273542"/>
                    <a:pt x="819558" y="277932"/>
                    <a:pt x="819558" y="283364"/>
                  </a:cubicBezTo>
                  <a:lnTo>
                    <a:pt x="819558" y="441193"/>
                  </a:lnTo>
                  <a:cubicBezTo>
                    <a:pt x="819558" y="446625"/>
                    <a:pt x="815168" y="451015"/>
                    <a:pt x="809737" y="451015"/>
                  </a:cubicBezTo>
                  <a:lnTo>
                    <a:pt x="234065" y="451015"/>
                  </a:lnTo>
                  <a:cubicBezTo>
                    <a:pt x="209210" y="445880"/>
                    <a:pt x="181490" y="445955"/>
                    <a:pt x="156896" y="451015"/>
                  </a:cubicBezTo>
                  <a:lnTo>
                    <a:pt x="121475" y="451015"/>
                  </a:lnTo>
                  <a:cubicBezTo>
                    <a:pt x="116042" y="451015"/>
                    <a:pt x="111652" y="446625"/>
                    <a:pt x="111652" y="441193"/>
                  </a:cubicBezTo>
                  <a:lnTo>
                    <a:pt x="111652" y="283364"/>
                  </a:lnTo>
                  <a:cubicBezTo>
                    <a:pt x="111652" y="277932"/>
                    <a:pt x="116043" y="273542"/>
                    <a:pt x="121475" y="273542"/>
                  </a:cubicBezTo>
                  <a:lnTo>
                    <a:pt x="809771" y="273542"/>
                  </a:lnTo>
                  <a:close/>
                  <a:moveTo>
                    <a:pt x="785552" y="254864"/>
                  </a:moveTo>
                  <a:lnTo>
                    <a:pt x="145699" y="254901"/>
                  </a:lnTo>
                  <a:cubicBezTo>
                    <a:pt x="147783" y="248725"/>
                    <a:pt x="149048" y="241953"/>
                    <a:pt x="149048" y="234809"/>
                  </a:cubicBezTo>
                  <a:cubicBezTo>
                    <a:pt x="149048" y="227666"/>
                    <a:pt x="147895" y="220894"/>
                    <a:pt x="145699" y="214717"/>
                  </a:cubicBezTo>
                  <a:lnTo>
                    <a:pt x="785589" y="214680"/>
                  </a:lnTo>
                  <a:cubicBezTo>
                    <a:pt x="783394" y="220856"/>
                    <a:pt x="782241" y="227628"/>
                    <a:pt x="782241" y="234772"/>
                  </a:cubicBezTo>
                  <a:cubicBezTo>
                    <a:pt x="782241" y="241916"/>
                    <a:pt x="783394" y="248687"/>
                    <a:pt x="785589" y="254864"/>
                  </a:cubicBezTo>
                  <a:close/>
                  <a:moveTo>
                    <a:pt x="819447" y="188486"/>
                  </a:moveTo>
                  <a:cubicBezTo>
                    <a:pt x="819447" y="192691"/>
                    <a:pt x="816024" y="196003"/>
                    <a:pt x="811931" y="196003"/>
                  </a:cubicBezTo>
                  <a:lnTo>
                    <a:pt x="119206" y="196003"/>
                  </a:lnTo>
                  <a:cubicBezTo>
                    <a:pt x="115002" y="196003"/>
                    <a:pt x="111690" y="192579"/>
                    <a:pt x="111690" y="188486"/>
                  </a:cubicBezTo>
                  <a:lnTo>
                    <a:pt x="111690" y="47507"/>
                  </a:lnTo>
                  <a:cubicBezTo>
                    <a:pt x="111690" y="31582"/>
                    <a:pt x="124639" y="18635"/>
                    <a:pt x="140562" y="18635"/>
                  </a:cubicBezTo>
                  <a:lnTo>
                    <a:pt x="790644" y="18672"/>
                  </a:lnTo>
                  <a:cubicBezTo>
                    <a:pt x="806569" y="18672"/>
                    <a:pt x="819516" y="31620"/>
                    <a:pt x="819516" y="47544"/>
                  </a:cubicBezTo>
                  <a:lnTo>
                    <a:pt x="819516" y="18852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1" name="Freeform: Shape 120">
              <a:extLst>
                <a:ext uri="{FF2B5EF4-FFF2-40B4-BE49-F238E27FC236}">
                  <a16:creationId xmlns:a16="http://schemas.microsoft.com/office/drawing/2014/main" id="{BE49040C-A00B-967F-ECC1-5315222EBF20}"/>
                </a:ext>
              </a:extLst>
            </p:cNvPr>
            <p:cNvSpPr/>
            <p:nvPr/>
          </p:nvSpPr>
          <p:spPr>
            <a:xfrm>
              <a:off x="-1053519" y="1384359"/>
              <a:ext cx="344650" cy="77577"/>
            </a:xfrm>
            <a:custGeom>
              <a:avLst/>
              <a:gdLst>
                <a:gd name="connsiteX0" fmla="*/ 326421 w 344650"/>
                <a:gd name="connsiteY0" fmla="*/ 0 h 77577"/>
                <a:gd name="connsiteX1" fmla="*/ 18306 w 344650"/>
                <a:gd name="connsiteY1" fmla="*/ 0 h 77577"/>
                <a:gd name="connsiteX2" fmla="*/ 0 w 344650"/>
                <a:gd name="connsiteY2" fmla="*/ 18306 h 77577"/>
                <a:gd name="connsiteX3" fmla="*/ 0 w 344650"/>
                <a:gd name="connsiteY3" fmla="*/ 59271 h 77577"/>
                <a:gd name="connsiteX4" fmla="*/ 18306 w 344650"/>
                <a:gd name="connsiteY4" fmla="*/ 77577 h 77577"/>
                <a:gd name="connsiteX5" fmla="*/ 326345 w 344650"/>
                <a:gd name="connsiteY5" fmla="*/ 77577 h 77577"/>
                <a:gd name="connsiteX6" fmla="*/ 344651 w 344650"/>
                <a:gd name="connsiteY6" fmla="*/ 59271 h 77577"/>
                <a:gd name="connsiteX7" fmla="*/ 344651 w 344650"/>
                <a:gd name="connsiteY7" fmla="*/ 18306 h 77577"/>
                <a:gd name="connsiteX8" fmla="*/ 326345 w 344650"/>
                <a:gd name="connsiteY8" fmla="*/ 0 h 77577"/>
                <a:gd name="connsiteX9" fmla="*/ 326048 w 344650"/>
                <a:gd name="connsiteY9" fmla="*/ 58862 h 77577"/>
                <a:gd name="connsiteX10" fmla="*/ 18677 w 344650"/>
                <a:gd name="connsiteY10" fmla="*/ 59234 h 77577"/>
                <a:gd name="connsiteX11" fmla="*/ 18305 w 344650"/>
                <a:gd name="connsiteY11" fmla="*/ 18641 h 77577"/>
                <a:gd name="connsiteX12" fmla="*/ 326048 w 344650"/>
                <a:gd name="connsiteY12" fmla="*/ 18269 h 77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4650" h="77577">
                  <a:moveTo>
                    <a:pt x="326421" y="0"/>
                  </a:moveTo>
                  <a:lnTo>
                    <a:pt x="18306" y="0"/>
                  </a:lnTo>
                  <a:cubicBezTo>
                    <a:pt x="8223" y="0"/>
                    <a:pt x="0" y="8186"/>
                    <a:pt x="0" y="18306"/>
                  </a:cubicBezTo>
                  <a:lnTo>
                    <a:pt x="0" y="59271"/>
                  </a:lnTo>
                  <a:cubicBezTo>
                    <a:pt x="0" y="69354"/>
                    <a:pt x="8186" y="77577"/>
                    <a:pt x="18306" y="77577"/>
                  </a:cubicBezTo>
                  <a:lnTo>
                    <a:pt x="326345" y="77577"/>
                  </a:lnTo>
                  <a:cubicBezTo>
                    <a:pt x="336428" y="77577"/>
                    <a:pt x="344651" y="69392"/>
                    <a:pt x="344651" y="59271"/>
                  </a:cubicBezTo>
                  <a:lnTo>
                    <a:pt x="344651" y="18306"/>
                  </a:lnTo>
                  <a:cubicBezTo>
                    <a:pt x="344651" y="8223"/>
                    <a:pt x="336465" y="0"/>
                    <a:pt x="326345" y="0"/>
                  </a:cubicBezTo>
                  <a:close/>
                  <a:moveTo>
                    <a:pt x="326048" y="58862"/>
                  </a:moveTo>
                  <a:lnTo>
                    <a:pt x="18677" y="59234"/>
                  </a:lnTo>
                  <a:lnTo>
                    <a:pt x="18305" y="18641"/>
                  </a:lnTo>
                  <a:lnTo>
                    <a:pt x="326048" y="1826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2" name="Freeform: Shape 121">
              <a:extLst>
                <a:ext uri="{FF2B5EF4-FFF2-40B4-BE49-F238E27FC236}">
                  <a16:creationId xmlns:a16="http://schemas.microsoft.com/office/drawing/2014/main" id="{9EA43FC8-7E7C-DCC7-77A0-D8A23455C7C0}"/>
                </a:ext>
              </a:extLst>
            </p:cNvPr>
            <p:cNvSpPr/>
            <p:nvPr/>
          </p:nvSpPr>
          <p:spPr>
            <a:xfrm>
              <a:off x="-1323559" y="1384359"/>
              <a:ext cx="83938" cy="77539"/>
            </a:xfrm>
            <a:custGeom>
              <a:avLst/>
              <a:gdLst>
                <a:gd name="connsiteX0" fmla="*/ 65261 w 83938"/>
                <a:gd name="connsiteY0" fmla="*/ 0 h 77539"/>
                <a:gd name="connsiteX1" fmla="*/ 18678 w 83938"/>
                <a:gd name="connsiteY1" fmla="*/ 0 h 77539"/>
                <a:gd name="connsiteX2" fmla="*/ 0 w 83938"/>
                <a:gd name="connsiteY2" fmla="*/ 18678 h 77539"/>
                <a:gd name="connsiteX3" fmla="*/ 0 w 83938"/>
                <a:gd name="connsiteY3" fmla="*/ 58862 h 77539"/>
                <a:gd name="connsiteX4" fmla="*/ 18678 w 83938"/>
                <a:gd name="connsiteY4" fmla="*/ 77539 h 77539"/>
                <a:gd name="connsiteX5" fmla="*/ 65261 w 83938"/>
                <a:gd name="connsiteY5" fmla="*/ 77539 h 77539"/>
                <a:gd name="connsiteX6" fmla="*/ 83938 w 83938"/>
                <a:gd name="connsiteY6" fmla="*/ 58862 h 77539"/>
                <a:gd name="connsiteX7" fmla="*/ 83938 w 83938"/>
                <a:gd name="connsiteY7" fmla="*/ 18678 h 77539"/>
                <a:gd name="connsiteX8" fmla="*/ 65261 w 83938"/>
                <a:gd name="connsiteY8" fmla="*/ 0 h 77539"/>
                <a:gd name="connsiteX9" fmla="*/ 18678 w 83938"/>
                <a:gd name="connsiteY9" fmla="*/ 58862 h 77539"/>
                <a:gd name="connsiteX10" fmla="*/ 18678 w 83938"/>
                <a:gd name="connsiteY10" fmla="*/ 18678 h 77539"/>
                <a:gd name="connsiteX11" fmla="*/ 65261 w 83938"/>
                <a:gd name="connsiteY11" fmla="*/ 18678 h 77539"/>
                <a:gd name="connsiteX12" fmla="*/ 65261 w 83938"/>
                <a:gd name="connsiteY12" fmla="*/ 58862 h 77539"/>
                <a:gd name="connsiteX13" fmla="*/ 18678 w 83938"/>
                <a:gd name="connsiteY13" fmla="*/ 58862 h 7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938" h="77539">
                  <a:moveTo>
                    <a:pt x="65261" y="0"/>
                  </a:moveTo>
                  <a:lnTo>
                    <a:pt x="18678" y="0"/>
                  </a:lnTo>
                  <a:cubicBezTo>
                    <a:pt x="8409" y="0"/>
                    <a:pt x="0" y="8372"/>
                    <a:pt x="0" y="18678"/>
                  </a:cubicBezTo>
                  <a:lnTo>
                    <a:pt x="0" y="58862"/>
                  </a:lnTo>
                  <a:cubicBezTo>
                    <a:pt x="0" y="69131"/>
                    <a:pt x="8372" y="77539"/>
                    <a:pt x="18678" y="77539"/>
                  </a:cubicBezTo>
                  <a:lnTo>
                    <a:pt x="65261" y="77539"/>
                  </a:lnTo>
                  <a:cubicBezTo>
                    <a:pt x="75529" y="77539"/>
                    <a:pt x="83938" y="69168"/>
                    <a:pt x="83938" y="58862"/>
                  </a:cubicBezTo>
                  <a:lnTo>
                    <a:pt x="83938" y="18678"/>
                  </a:lnTo>
                  <a:cubicBezTo>
                    <a:pt x="83938" y="8409"/>
                    <a:pt x="75567" y="0"/>
                    <a:pt x="65261" y="0"/>
                  </a:cubicBezTo>
                  <a:close/>
                  <a:moveTo>
                    <a:pt x="18678" y="58862"/>
                  </a:moveTo>
                  <a:lnTo>
                    <a:pt x="18678" y="18678"/>
                  </a:lnTo>
                  <a:lnTo>
                    <a:pt x="65261" y="18678"/>
                  </a:lnTo>
                  <a:lnTo>
                    <a:pt x="65261" y="58862"/>
                  </a:lnTo>
                  <a:lnTo>
                    <a:pt x="18678" y="588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3" name="Freeform: Shape 122">
              <a:extLst>
                <a:ext uri="{FF2B5EF4-FFF2-40B4-BE49-F238E27FC236}">
                  <a16:creationId xmlns:a16="http://schemas.microsoft.com/office/drawing/2014/main" id="{D2C13853-8237-8C96-C3BA-7DF986178C43}"/>
                </a:ext>
              </a:extLst>
            </p:cNvPr>
            <p:cNvSpPr/>
            <p:nvPr/>
          </p:nvSpPr>
          <p:spPr>
            <a:xfrm>
              <a:off x="-1193152" y="1384359"/>
              <a:ext cx="83938" cy="77539"/>
            </a:xfrm>
            <a:custGeom>
              <a:avLst/>
              <a:gdLst>
                <a:gd name="connsiteX0" fmla="*/ 65261 w 83938"/>
                <a:gd name="connsiteY0" fmla="*/ 0 h 77539"/>
                <a:gd name="connsiteX1" fmla="*/ 18678 w 83938"/>
                <a:gd name="connsiteY1" fmla="*/ 0 h 77539"/>
                <a:gd name="connsiteX2" fmla="*/ 0 w 83938"/>
                <a:gd name="connsiteY2" fmla="*/ 18678 h 77539"/>
                <a:gd name="connsiteX3" fmla="*/ 0 w 83938"/>
                <a:gd name="connsiteY3" fmla="*/ 58862 h 77539"/>
                <a:gd name="connsiteX4" fmla="*/ 18678 w 83938"/>
                <a:gd name="connsiteY4" fmla="*/ 77539 h 77539"/>
                <a:gd name="connsiteX5" fmla="*/ 65261 w 83938"/>
                <a:gd name="connsiteY5" fmla="*/ 77539 h 77539"/>
                <a:gd name="connsiteX6" fmla="*/ 83938 w 83938"/>
                <a:gd name="connsiteY6" fmla="*/ 58862 h 77539"/>
                <a:gd name="connsiteX7" fmla="*/ 83938 w 83938"/>
                <a:gd name="connsiteY7" fmla="*/ 18678 h 77539"/>
                <a:gd name="connsiteX8" fmla="*/ 65261 w 83938"/>
                <a:gd name="connsiteY8" fmla="*/ 0 h 77539"/>
                <a:gd name="connsiteX9" fmla="*/ 18678 w 83938"/>
                <a:gd name="connsiteY9" fmla="*/ 58862 h 77539"/>
                <a:gd name="connsiteX10" fmla="*/ 18678 w 83938"/>
                <a:gd name="connsiteY10" fmla="*/ 18678 h 77539"/>
                <a:gd name="connsiteX11" fmla="*/ 65261 w 83938"/>
                <a:gd name="connsiteY11" fmla="*/ 18678 h 77539"/>
                <a:gd name="connsiteX12" fmla="*/ 65261 w 83938"/>
                <a:gd name="connsiteY12" fmla="*/ 58862 h 77539"/>
                <a:gd name="connsiteX13" fmla="*/ 18678 w 83938"/>
                <a:gd name="connsiteY13" fmla="*/ 58862 h 7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938" h="77539">
                  <a:moveTo>
                    <a:pt x="65261" y="0"/>
                  </a:moveTo>
                  <a:lnTo>
                    <a:pt x="18678" y="0"/>
                  </a:lnTo>
                  <a:cubicBezTo>
                    <a:pt x="8409" y="0"/>
                    <a:pt x="0" y="8372"/>
                    <a:pt x="0" y="18678"/>
                  </a:cubicBezTo>
                  <a:lnTo>
                    <a:pt x="0" y="58862"/>
                  </a:lnTo>
                  <a:cubicBezTo>
                    <a:pt x="0" y="69131"/>
                    <a:pt x="8372" y="77539"/>
                    <a:pt x="18678" y="77539"/>
                  </a:cubicBezTo>
                  <a:lnTo>
                    <a:pt x="65261" y="77539"/>
                  </a:lnTo>
                  <a:cubicBezTo>
                    <a:pt x="75529" y="77539"/>
                    <a:pt x="83938" y="69168"/>
                    <a:pt x="83938" y="58862"/>
                  </a:cubicBezTo>
                  <a:lnTo>
                    <a:pt x="83938" y="18678"/>
                  </a:lnTo>
                  <a:cubicBezTo>
                    <a:pt x="83938" y="8409"/>
                    <a:pt x="75567" y="0"/>
                    <a:pt x="65261" y="0"/>
                  </a:cubicBezTo>
                  <a:close/>
                  <a:moveTo>
                    <a:pt x="18678" y="58862"/>
                  </a:moveTo>
                  <a:lnTo>
                    <a:pt x="18678" y="18678"/>
                  </a:lnTo>
                  <a:lnTo>
                    <a:pt x="65261" y="18678"/>
                  </a:lnTo>
                  <a:lnTo>
                    <a:pt x="65261" y="58862"/>
                  </a:lnTo>
                  <a:lnTo>
                    <a:pt x="18678" y="588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4" name="Freeform: Shape 123">
              <a:extLst>
                <a:ext uri="{FF2B5EF4-FFF2-40B4-BE49-F238E27FC236}">
                  <a16:creationId xmlns:a16="http://schemas.microsoft.com/office/drawing/2014/main" id="{7CF97D4D-A801-49B9-68D2-8E343B90B58C}"/>
                </a:ext>
              </a:extLst>
            </p:cNvPr>
            <p:cNvSpPr/>
            <p:nvPr/>
          </p:nvSpPr>
          <p:spPr>
            <a:xfrm>
              <a:off x="-1053510" y="1894093"/>
              <a:ext cx="344650" cy="77614"/>
            </a:xfrm>
            <a:custGeom>
              <a:avLst/>
              <a:gdLst>
                <a:gd name="connsiteX0" fmla="*/ 18306 w 344650"/>
                <a:gd name="connsiteY0" fmla="*/ 77577 h 77614"/>
                <a:gd name="connsiteX1" fmla="*/ 326345 w 344650"/>
                <a:gd name="connsiteY1" fmla="*/ 77577 h 77614"/>
                <a:gd name="connsiteX2" fmla="*/ 344651 w 344650"/>
                <a:gd name="connsiteY2" fmla="*/ 59271 h 77614"/>
                <a:gd name="connsiteX3" fmla="*/ 344651 w 344650"/>
                <a:gd name="connsiteY3" fmla="*/ 18306 h 77614"/>
                <a:gd name="connsiteX4" fmla="*/ 326345 w 344650"/>
                <a:gd name="connsiteY4" fmla="*/ 0 h 77614"/>
                <a:gd name="connsiteX5" fmla="*/ 18306 w 344650"/>
                <a:gd name="connsiteY5" fmla="*/ 37 h 77614"/>
                <a:gd name="connsiteX6" fmla="*/ 0 w 344650"/>
                <a:gd name="connsiteY6" fmla="*/ 18343 h 77614"/>
                <a:gd name="connsiteX7" fmla="*/ 0 w 344650"/>
                <a:gd name="connsiteY7" fmla="*/ 59308 h 77614"/>
                <a:gd name="connsiteX8" fmla="*/ 18306 w 344650"/>
                <a:gd name="connsiteY8" fmla="*/ 77614 h 77614"/>
                <a:gd name="connsiteX9" fmla="*/ 326049 w 344650"/>
                <a:gd name="connsiteY9" fmla="*/ 18418 h 77614"/>
                <a:gd name="connsiteX10" fmla="*/ 326049 w 344650"/>
                <a:gd name="connsiteY10" fmla="*/ 59011 h 77614"/>
                <a:gd name="connsiteX11" fmla="*/ 18678 w 344650"/>
                <a:gd name="connsiteY11" fmla="*/ 59384 h 77614"/>
                <a:gd name="connsiteX12" fmla="*/ 18305 w 344650"/>
                <a:gd name="connsiteY12" fmla="*/ 18791 h 77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4650" h="77614">
                  <a:moveTo>
                    <a:pt x="18306" y="77577"/>
                  </a:moveTo>
                  <a:lnTo>
                    <a:pt x="326345" y="77577"/>
                  </a:lnTo>
                  <a:cubicBezTo>
                    <a:pt x="336428" y="77577"/>
                    <a:pt x="344651" y="69392"/>
                    <a:pt x="344651" y="59271"/>
                  </a:cubicBezTo>
                  <a:lnTo>
                    <a:pt x="344651" y="18306"/>
                  </a:lnTo>
                  <a:cubicBezTo>
                    <a:pt x="344651" y="8223"/>
                    <a:pt x="336465" y="0"/>
                    <a:pt x="326345" y="0"/>
                  </a:cubicBezTo>
                  <a:lnTo>
                    <a:pt x="18306" y="37"/>
                  </a:lnTo>
                  <a:cubicBezTo>
                    <a:pt x="8223" y="37"/>
                    <a:pt x="0" y="8223"/>
                    <a:pt x="0" y="18343"/>
                  </a:cubicBezTo>
                  <a:lnTo>
                    <a:pt x="0" y="59308"/>
                  </a:lnTo>
                  <a:cubicBezTo>
                    <a:pt x="0" y="69392"/>
                    <a:pt x="8186" y="77614"/>
                    <a:pt x="18306" y="77614"/>
                  </a:cubicBezTo>
                  <a:close/>
                  <a:moveTo>
                    <a:pt x="326049" y="18418"/>
                  </a:moveTo>
                  <a:lnTo>
                    <a:pt x="326049" y="59011"/>
                  </a:lnTo>
                  <a:lnTo>
                    <a:pt x="18678" y="59384"/>
                  </a:lnTo>
                  <a:lnTo>
                    <a:pt x="18305" y="1879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5" name="Freeform: Shape 124">
              <a:extLst>
                <a:ext uri="{FF2B5EF4-FFF2-40B4-BE49-F238E27FC236}">
                  <a16:creationId xmlns:a16="http://schemas.microsoft.com/office/drawing/2014/main" id="{8AAAA323-9B2A-2B4C-D83D-893465F77FAB}"/>
                </a:ext>
              </a:extLst>
            </p:cNvPr>
            <p:cNvSpPr/>
            <p:nvPr/>
          </p:nvSpPr>
          <p:spPr>
            <a:xfrm>
              <a:off x="-1053510" y="1639233"/>
              <a:ext cx="344650" cy="77614"/>
            </a:xfrm>
            <a:custGeom>
              <a:avLst/>
              <a:gdLst>
                <a:gd name="connsiteX0" fmla="*/ 18306 w 344650"/>
                <a:gd name="connsiteY0" fmla="*/ 77577 h 77614"/>
                <a:gd name="connsiteX1" fmla="*/ 326345 w 344650"/>
                <a:gd name="connsiteY1" fmla="*/ 77577 h 77614"/>
                <a:gd name="connsiteX2" fmla="*/ 344651 w 344650"/>
                <a:gd name="connsiteY2" fmla="*/ 59271 h 77614"/>
                <a:gd name="connsiteX3" fmla="*/ 344651 w 344650"/>
                <a:gd name="connsiteY3" fmla="*/ 18306 h 77614"/>
                <a:gd name="connsiteX4" fmla="*/ 326345 w 344650"/>
                <a:gd name="connsiteY4" fmla="*/ 0 h 77614"/>
                <a:gd name="connsiteX5" fmla="*/ 18306 w 344650"/>
                <a:gd name="connsiteY5" fmla="*/ 37 h 77614"/>
                <a:gd name="connsiteX6" fmla="*/ 0 w 344650"/>
                <a:gd name="connsiteY6" fmla="*/ 18343 h 77614"/>
                <a:gd name="connsiteX7" fmla="*/ 0 w 344650"/>
                <a:gd name="connsiteY7" fmla="*/ 59308 h 77614"/>
                <a:gd name="connsiteX8" fmla="*/ 18306 w 344650"/>
                <a:gd name="connsiteY8" fmla="*/ 77614 h 77614"/>
                <a:gd name="connsiteX9" fmla="*/ 326049 w 344650"/>
                <a:gd name="connsiteY9" fmla="*/ 18343 h 77614"/>
                <a:gd name="connsiteX10" fmla="*/ 326049 w 344650"/>
                <a:gd name="connsiteY10" fmla="*/ 58936 h 77614"/>
                <a:gd name="connsiteX11" fmla="*/ 18678 w 344650"/>
                <a:gd name="connsiteY11" fmla="*/ 59308 h 77614"/>
                <a:gd name="connsiteX12" fmla="*/ 18305 w 344650"/>
                <a:gd name="connsiteY12" fmla="*/ 18716 h 77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4650" h="77614">
                  <a:moveTo>
                    <a:pt x="18306" y="77577"/>
                  </a:moveTo>
                  <a:lnTo>
                    <a:pt x="326345" y="77577"/>
                  </a:lnTo>
                  <a:cubicBezTo>
                    <a:pt x="336428" y="77577"/>
                    <a:pt x="344651" y="69392"/>
                    <a:pt x="344651" y="59271"/>
                  </a:cubicBezTo>
                  <a:lnTo>
                    <a:pt x="344651" y="18306"/>
                  </a:lnTo>
                  <a:cubicBezTo>
                    <a:pt x="344651" y="8223"/>
                    <a:pt x="336465" y="0"/>
                    <a:pt x="326345" y="0"/>
                  </a:cubicBezTo>
                  <a:lnTo>
                    <a:pt x="18306" y="37"/>
                  </a:lnTo>
                  <a:cubicBezTo>
                    <a:pt x="8223" y="37"/>
                    <a:pt x="0" y="8223"/>
                    <a:pt x="0" y="18343"/>
                  </a:cubicBezTo>
                  <a:lnTo>
                    <a:pt x="0" y="59308"/>
                  </a:lnTo>
                  <a:cubicBezTo>
                    <a:pt x="0" y="69392"/>
                    <a:pt x="8186" y="77614"/>
                    <a:pt x="18306" y="77614"/>
                  </a:cubicBezTo>
                  <a:close/>
                  <a:moveTo>
                    <a:pt x="326049" y="18343"/>
                  </a:moveTo>
                  <a:lnTo>
                    <a:pt x="326049" y="58936"/>
                  </a:lnTo>
                  <a:lnTo>
                    <a:pt x="18678" y="59308"/>
                  </a:lnTo>
                  <a:lnTo>
                    <a:pt x="18305" y="1871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6" name="Freeform: Shape 125">
              <a:extLst>
                <a:ext uri="{FF2B5EF4-FFF2-40B4-BE49-F238E27FC236}">
                  <a16:creationId xmlns:a16="http://schemas.microsoft.com/office/drawing/2014/main" id="{5AC86BF4-93B8-4B01-A2FC-4EEEC7F59351}"/>
                </a:ext>
              </a:extLst>
            </p:cNvPr>
            <p:cNvSpPr/>
            <p:nvPr/>
          </p:nvSpPr>
          <p:spPr>
            <a:xfrm>
              <a:off x="-1323563" y="1639271"/>
              <a:ext cx="83938" cy="77539"/>
            </a:xfrm>
            <a:custGeom>
              <a:avLst/>
              <a:gdLst>
                <a:gd name="connsiteX0" fmla="*/ 18678 w 83938"/>
                <a:gd name="connsiteY0" fmla="*/ 77539 h 77539"/>
                <a:gd name="connsiteX1" fmla="*/ 65261 w 83938"/>
                <a:gd name="connsiteY1" fmla="*/ 77539 h 77539"/>
                <a:gd name="connsiteX2" fmla="*/ 83938 w 83938"/>
                <a:gd name="connsiteY2" fmla="*/ 58862 h 77539"/>
                <a:gd name="connsiteX3" fmla="*/ 83938 w 83938"/>
                <a:gd name="connsiteY3" fmla="*/ 18678 h 77539"/>
                <a:gd name="connsiteX4" fmla="*/ 65261 w 83938"/>
                <a:gd name="connsiteY4" fmla="*/ 0 h 77539"/>
                <a:gd name="connsiteX5" fmla="*/ 18678 w 83938"/>
                <a:gd name="connsiteY5" fmla="*/ 0 h 77539"/>
                <a:gd name="connsiteX6" fmla="*/ 0 w 83938"/>
                <a:gd name="connsiteY6" fmla="*/ 18678 h 77539"/>
                <a:gd name="connsiteX7" fmla="*/ 0 w 83938"/>
                <a:gd name="connsiteY7" fmla="*/ 58862 h 77539"/>
                <a:gd name="connsiteX8" fmla="*/ 18678 w 83938"/>
                <a:gd name="connsiteY8" fmla="*/ 77539 h 77539"/>
                <a:gd name="connsiteX9" fmla="*/ 18678 w 83938"/>
                <a:gd name="connsiteY9" fmla="*/ 18678 h 77539"/>
                <a:gd name="connsiteX10" fmla="*/ 65261 w 83938"/>
                <a:gd name="connsiteY10" fmla="*/ 18678 h 77539"/>
                <a:gd name="connsiteX11" fmla="*/ 65261 w 83938"/>
                <a:gd name="connsiteY11" fmla="*/ 58862 h 77539"/>
                <a:gd name="connsiteX12" fmla="*/ 18678 w 83938"/>
                <a:gd name="connsiteY12" fmla="*/ 58862 h 7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938" h="77539">
                  <a:moveTo>
                    <a:pt x="18678" y="77539"/>
                  </a:moveTo>
                  <a:lnTo>
                    <a:pt x="65261" y="77539"/>
                  </a:lnTo>
                  <a:cubicBezTo>
                    <a:pt x="75529" y="77539"/>
                    <a:pt x="83938" y="69168"/>
                    <a:pt x="83938" y="58862"/>
                  </a:cubicBezTo>
                  <a:lnTo>
                    <a:pt x="83938" y="18678"/>
                  </a:lnTo>
                  <a:cubicBezTo>
                    <a:pt x="83938" y="8409"/>
                    <a:pt x="75567" y="0"/>
                    <a:pt x="65261" y="0"/>
                  </a:cubicBezTo>
                  <a:lnTo>
                    <a:pt x="18678" y="0"/>
                  </a:lnTo>
                  <a:cubicBezTo>
                    <a:pt x="8409" y="0"/>
                    <a:pt x="0" y="8372"/>
                    <a:pt x="0" y="18678"/>
                  </a:cubicBezTo>
                  <a:lnTo>
                    <a:pt x="0" y="58862"/>
                  </a:lnTo>
                  <a:cubicBezTo>
                    <a:pt x="0" y="69131"/>
                    <a:pt x="8372" y="77539"/>
                    <a:pt x="18678" y="77539"/>
                  </a:cubicBezTo>
                  <a:close/>
                  <a:moveTo>
                    <a:pt x="18678" y="18678"/>
                  </a:moveTo>
                  <a:lnTo>
                    <a:pt x="65261" y="18678"/>
                  </a:lnTo>
                  <a:lnTo>
                    <a:pt x="65261" y="58862"/>
                  </a:lnTo>
                  <a:lnTo>
                    <a:pt x="18678" y="588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7" name="Freeform: Shape 126">
              <a:extLst>
                <a:ext uri="{FF2B5EF4-FFF2-40B4-BE49-F238E27FC236}">
                  <a16:creationId xmlns:a16="http://schemas.microsoft.com/office/drawing/2014/main" id="{357E9ECE-BD97-2613-1A3F-39A681250698}"/>
                </a:ext>
              </a:extLst>
            </p:cNvPr>
            <p:cNvSpPr/>
            <p:nvPr/>
          </p:nvSpPr>
          <p:spPr>
            <a:xfrm>
              <a:off x="-1193146" y="1639271"/>
              <a:ext cx="83938" cy="77539"/>
            </a:xfrm>
            <a:custGeom>
              <a:avLst/>
              <a:gdLst>
                <a:gd name="connsiteX0" fmla="*/ 18678 w 83938"/>
                <a:gd name="connsiteY0" fmla="*/ 77539 h 77539"/>
                <a:gd name="connsiteX1" fmla="*/ 65261 w 83938"/>
                <a:gd name="connsiteY1" fmla="*/ 77539 h 77539"/>
                <a:gd name="connsiteX2" fmla="*/ 83938 w 83938"/>
                <a:gd name="connsiteY2" fmla="*/ 58862 h 77539"/>
                <a:gd name="connsiteX3" fmla="*/ 83938 w 83938"/>
                <a:gd name="connsiteY3" fmla="*/ 18678 h 77539"/>
                <a:gd name="connsiteX4" fmla="*/ 65261 w 83938"/>
                <a:gd name="connsiteY4" fmla="*/ 0 h 77539"/>
                <a:gd name="connsiteX5" fmla="*/ 18678 w 83938"/>
                <a:gd name="connsiteY5" fmla="*/ 0 h 77539"/>
                <a:gd name="connsiteX6" fmla="*/ 0 w 83938"/>
                <a:gd name="connsiteY6" fmla="*/ 18678 h 77539"/>
                <a:gd name="connsiteX7" fmla="*/ 0 w 83938"/>
                <a:gd name="connsiteY7" fmla="*/ 58862 h 77539"/>
                <a:gd name="connsiteX8" fmla="*/ 18678 w 83938"/>
                <a:gd name="connsiteY8" fmla="*/ 77539 h 77539"/>
                <a:gd name="connsiteX9" fmla="*/ 18678 w 83938"/>
                <a:gd name="connsiteY9" fmla="*/ 18678 h 77539"/>
                <a:gd name="connsiteX10" fmla="*/ 65261 w 83938"/>
                <a:gd name="connsiteY10" fmla="*/ 18678 h 77539"/>
                <a:gd name="connsiteX11" fmla="*/ 65261 w 83938"/>
                <a:gd name="connsiteY11" fmla="*/ 58862 h 77539"/>
                <a:gd name="connsiteX12" fmla="*/ 18678 w 83938"/>
                <a:gd name="connsiteY12" fmla="*/ 58862 h 7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938" h="77539">
                  <a:moveTo>
                    <a:pt x="18678" y="77539"/>
                  </a:moveTo>
                  <a:lnTo>
                    <a:pt x="65261" y="77539"/>
                  </a:lnTo>
                  <a:cubicBezTo>
                    <a:pt x="75529" y="77539"/>
                    <a:pt x="83938" y="69168"/>
                    <a:pt x="83938" y="58862"/>
                  </a:cubicBezTo>
                  <a:lnTo>
                    <a:pt x="83938" y="18678"/>
                  </a:lnTo>
                  <a:cubicBezTo>
                    <a:pt x="83938" y="8409"/>
                    <a:pt x="75567" y="0"/>
                    <a:pt x="65261" y="0"/>
                  </a:cubicBezTo>
                  <a:lnTo>
                    <a:pt x="18678" y="0"/>
                  </a:lnTo>
                  <a:cubicBezTo>
                    <a:pt x="8409" y="0"/>
                    <a:pt x="0" y="8372"/>
                    <a:pt x="0" y="18678"/>
                  </a:cubicBezTo>
                  <a:lnTo>
                    <a:pt x="0" y="58862"/>
                  </a:lnTo>
                  <a:cubicBezTo>
                    <a:pt x="0" y="69131"/>
                    <a:pt x="8372" y="77539"/>
                    <a:pt x="18678" y="77539"/>
                  </a:cubicBezTo>
                  <a:close/>
                  <a:moveTo>
                    <a:pt x="18678" y="18678"/>
                  </a:moveTo>
                  <a:lnTo>
                    <a:pt x="65261" y="18678"/>
                  </a:lnTo>
                  <a:lnTo>
                    <a:pt x="65261" y="58862"/>
                  </a:lnTo>
                  <a:lnTo>
                    <a:pt x="18678" y="588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8" name="Freeform: Shape 127">
              <a:extLst>
                <a:ext uri="{FF2B5EF4-FFF2-40B4-BE49-F238E27FC236}">
                  <a16:creationId xmlns:a16="http://schemas.microsoft.com/office/drawing/2014/main" id="{3A401ABF-CDE5-2A3D-A35F-1D3A57FE65A9}"/>
                </a:ext>
              </a:extLst>
            </p:cNvPr>
            <p:cNvSpPr/>
            <p:nvPr/>
          </p:nvSpPr>
          <p:spPr>
            <a:xfrm>
              <a:off x="-1323565" y="1939790"/>
              <a:ext cx="74599" cy="149083"/>
            </a:xfrm>
            <a:custGeom>
              <a:avLst/>
              <a:gdLst>
                <a:gd name="connsiteX0" fmla="*/ 55922 w 74599"/>
                <a:gd name="connsiteY0" fmla="*/ 0 h 149083"/>
                <a:gd name="connsiteX1" fmla="*/ 18678 w 74599"/>
                <a:gd name="connsiteY1" fmla="*/ 0 h 149083"/>
                <a:gd name="connsiteX2" fmla="*/ 0 w 74599"/>
                <a:gd name="connsiteY2" fmla="*/ 18678 h 149083"/>
                <a:gd name="connsiteX3" fmla="*/ 0 w 74599"/>
                <a:gd name="connsiteY3" fmla="*/ 130406 h 149083"/>
                <a:gd name="connsiteX4" fmla="*/ 18678 w 74599"/>
                <a:gd name="connsiteY4" fmla="*/ 149083 h 149083"/>
                <a:gd name="connsiteX5" fmla="*/ 55922 w 74599"/>
                <a:gd name="connsiteY5" fmla="*/ 149083 h 149083"/>
                <a:gd name="connsiteX6" fmla="*/ 74600 w 74599"/>
                <a:gd name="connsiteY6" fmla="*/ 130406 h 149083"/>
                <a:gd name="connsiteX7" fmla="*/ 74600 w 74599"/>
                <a:gd name="connsiteY7" fmla="*/ 18678 h 149083"/>
                <a:gd name="connsiteX8" fmla="*/ 55922 w 74599"/>
                <a:gd name="connsiteY8" fmla="*/ 0 h 149083"/>
                <a:gd name="connsiteX9" fmla="*/ 55922 w 74599"/>
                <a:gd name="connsiteY9" fmla="*/ 130407 h 149083"/>
                <a:gd name="connsiteX10" fmla="*/ 18678 w 74599"/>
                <a:gd name="connsiteY10" fmla="*/ 130407 h 149083"/>
                <a:gd name="connsiteX11" fmla="*/ 18678 w 74599"/>
                <a:gd name="connsiteY11" fmla="*/ 18679 h 149083"/>
                <a:gd name="connsiteX12" fmla="*/ 55922 w 74599"/>
                <a:gd name="connsiteY12" fmla="*/ 18679 h 14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599" h="149083">
                  <a:moveTo>
                    <a:pt x="55922" y="0"/>
                  </a:moveTo>
                  <a:lnTo>
                    <a:pt x="18678" y="0"/>
                  </a:lnTo>
                  <a:cubicBezTo>
                    <a:pt x="8409" y="0"/>
                    <a:pt x="0" y="8372"/>
                    <a:pt x="0" y="18678"/>
                  </a:cubicBezTo>
                  <a:lnTo>
                    <a:pt x="0" y="130406"/>
                  </a:lnTo>
                  <a:cubicBezTo>
                    <a:pt x="0" y="140675"/>
                    <a:pt x="8372" y="149083"/>
                    <a:pt x="18678" y="149083"/>
                  </a:cubicBezTo>
                  <a:lnTo>
                    <a:pt x="55922" y="149083"/>
                  </a:lnTo>
                  <a:cubicBezTo>
                    <a:pt x="66191" y="149083"/>
                    <a:pt x="74600" y="140712"/>
                    <a:pt x="74600" y="130406"/>
                  </a:cubicBezTo>
                  <a:lnTo>
                    <a:pt x="74600" y="18678"/>
                  </a:lnTo>
                  <a:cubicBezTo>
                    <a:pt x="74600" y="8409"/>
                    <a:pt x="66228" y="0"/>
                    <a:pt x="55922" y="0"/>
                  </a:cubicBezTo>
                  <a:close/>
                  <a:moveTo>
                    <a:pt x="55922" y="130407"/>
                  </a:moveTo>
                  <a:lnTo>
                    <a:pt x="18678" y="130407"/>
                  </a:lnTo>
                  <a:lnTo>
                    <a:pt x="18678" y="18679"/>
                  </a:lnTo>
                  <a:lnTo>
                    <a:pt x="55922" y="1867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9" name="Freeform: Shape 128">
              <a:extLst>
                <a:ext uri="{FF2B5EF4-FFF2-40B4-BE49-F238E27FC236}">
                  <a16:creationId xmlns:a16="http://schemas.microsoft.com/office/drawing/2014/main" id="{7A889487-DCE7-9589-8344-A9BECB4FE6A8}"/>
                </a:ext>
              </a:extLst>
            </p:cNvPr>
            <p:cNvSpPr/>
            <p:nvPr/>
          </p:nvSpPr>
          <p:spPr>
            <a:xfrm>
              <a:off x="-1323565" y="1828053"/>
              <a:ext cx="74599" cy="74599"/>
            </a:xfrm>
            <a:custGeom>
              <a:avLst/>
              <a:gdLst>
                <a:gd name="connsiteX0" fmla="*/ 55922 w 74599"/>
                <a:gd name="connsiteY0" fmla="*/ 0 h 74599"/>
                <a:gd name="connsiteX1" fmla="*/ 18678 w 74599"/>
                <a:gd name="connsiteY1" fmla="*/ 0 h 74599"/>
                <a:gd name="connsiteX2" fmla="*/ 0 w 74599"/>
                <a:gd name="connsiteY2" fmla="*/ 18678 h 74599"/>
                <a:gd name="connsiteX3" fmla="*/ 0 w 74599"/>
                <a:gd name="connsiteY3" fmla="*/ 55922 h 74599"/>
                <a:gd name="connsiteX4" fmla="*/ 18678 w 74599"/>
                <a:gd name="connsiteY4" fmla="*/ 74600 h 74599"/>
                <a:gd name="connsiteX5" fmla="*/ 55922 w 74599"/>
                <a:gd name="connsiteY5" fmla="*/ 74600 h 74599"/>
                <a:gd name="connsiteX6" fmla="*/ 74600 w 74599"/>
                <a:gd name="connsiteY6" fmla="*/ 55922 h 74599"/>
                <a:gd name="connsiteX7" fmla="*/ 74600 w 74599"/>
                <a:gd name="connsiteY7" fmla="*/ 18678 h 74599"/>
                <a:gd name="connsiteX8" fmla="*/ 55922 w 74599"/>
                <a:gd name="connsiteY8" fmla="*/ 0 h 74599"/>
                <a:gd name="connsiteX9" fmla="*/ 18678 w 74599"/>
                <a:gd name="connsiteY9" fmla="*/ 55922 h 74599"/>
                <a:gd name="connsiteX10" fmla="*/ 18678 w 74599"/>
                <a:gd name="connsiteY10" fmla="*/ 18678 h 74599"/>
                <a:gd name="connsiteX11" fmla="*/ 55922 w 74599"/>
                <a:gd name="connsiteY11" fmla="*/ 18678 h 74599"/>
                <a:gd name="connsiteX12" fmla="*/ 55922 w 74599"/>
                <a:gd name="connsiteY12" fmla="*/ 55922 h 74599"/>
                <a:gd name="connsiteX13" fmla="*/ 18678 w 74599"/>
                <a:gd name="connsiteY13" fmla="*/ 55922 h 7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599" h="74599">
                  <a:moveTo>
                    <a:pt x="55922" y="0"/>
                  </a:moveTo>
                  <a:lnTo>
                    <a:pt x="18678" y="0"/>
                  </a:lnTo>
                  <a:cubicBezTo>
                    <a:pt x="8409" y="0"/>
                    <a:pt x="0" y="8372"/>
                    <a:pt x="0" y="18678"/>
                  </a:cubicBezTo>
                  <a:lnTo>
                    <a:pt x="0" y="55922"/>
                  </a:lnTo>
                  <a:cubicBezTo>
                    <a:pt x="0" y="66191"/>
                    <a:pt x="8372" y="74600"/>
                    <a:pt x="18678" y="74600"/>
                  </a:cubicBezTo>
                  <a:lnTo>
                    <a:pt x="55922" y="74600"/>
                  </a:lnTo>
                  <a:cubicBezTo>
                    <a:pt x="66191" y="74600"/>
                    <a:pt x="74600" y="66228"/>
                    <a:pt x="74600" y="55922"/>
                  </a:cubicBezTo>
                  <a:lnTo>
                    <a:pt x="74600" y="18678"/>
                  </a:lnTo>
                  <a:cubicBezTo>
                    <a:pt x="74600" y="8409"/>
                    <a:pt x="66228" y="0"/>
                    <a:pt x="55922" y="0"/>
                  </a:cubicBezTo>
                  <a:close/>
                  <a:moveTo>
                    <a:pt x="18678" y="55922"/>
                  </a:moveTo>
                  <a:lnTo>
                    <a:pt x="18678" y="18678"/>
                  </a:lnTo>
                  <a:lnTo>
                    <a:pt x="55922" y="18678"/>
                  </a:lnTo>
                  <a:lnTo>
                    <a:pt x="55922" y="55922"/>
                  </a:lnTo>
                  <a:lnTo>
                    <a:pt x="18678" y="5592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30" name="Freeform: Shape 129">
            <a:extLst>
              <a:ext uri="{FF2B5EF4-FFF2-40B4-BE49-F238E27FC236}">
                <a16:creationId xmlns:a16="http://schemas.microsoft.com/office/drawing/2014/main" id="{9357F3B4-1331-C6AC-CF16-7A9E159B489F}"/>
              </a:ext>
            </a:extLst>
          </p:cNvPr>
          <p:cNvSpPr/>
          <p:nvPr/>
        </p:nvSpPr>
        <p:spPr>
          <a:xfrm>
            <a:off x="572433" y="1446334"/>
            <a:ext cx="350310" cy="331976"/>
          </a:xfrm>
          <a:custGeom>
            <a:avLst/>
            <a:gdLst>
              <a:gd name="connsiteX0" fmla="*/ 502775 w 762151"/>
              <a:gd name="connsiteY0" fmla="*/ 280481 h 722262"/>
              <a:gd name="connsiteX1" fmla="*/ 502775 w 762151"/>
              <a:gd name="connsiteY1" fmla="*/ 173658 h 722262"/>
              <a:gd name="connsiteX2" fmla="*/ 513342 w 762151"/>
              <a:gd name="connsiteY2" fmla="*/ 163091 h 722262"/>
              <a:gd name="connsiteX3" fmla="*/ 523909 w 762151"/>
              <a:gd name="connsiteY3" fmla="*/ 173658 h 722262"/>
              <a:gd name="connsiteX4" fmla="*/ 523909 w 762151"/>
              <a:gd name="connsiteY4" fmla="*/ 280481 h 722262"/>
              <a:gd name="connsiteX5" fmla="*/ 513342 w 762151"/>
              <a:gd name="connsiteY5" fmla="*/ 291048 h 722262"/>
              <a:gd name="connsiteX6" fmla="*/ 502775 w 762151"/>
              <a:gd name="connsiteY6" fmla="*/ 280481 h 722262"/>
              <a:gd name="connsiteX7" fmla="*/ 513342 w 762151"/>
              <a:gd name="connsiteY7" fmla="*/ 325539 h 722262"/>
              <a:gd name="connsiteX8" fmla="*/ 523909 w 762151"/>
              <a:gd name="connsiteY8" fmla="*/ 314972 h 722262"/>
              <a:gd name="connsiteX9" fmla="*/ 523909 w 762151"/>
              <a:gd name="connsiteY9" fmla="*/ 313893 h 722262"/>
              <a:gd name="connsiteX10" fmla="*/ 513342 w 762151"/>
              <a:gd name="connsiteY10" fmla="*/ 303326 h 722262"/>
              <a:gd name="connsiteX11" fmla="*/ 502775 w 762151"/>
              <a:gd name="connsiteY11" fmla="*/ 313893 h 722262"/>
              <a:gd name="connsiteX12" fmla="*/ 502775 w 762151"/>
              <a:gd name="connsiteY12" fmla="*/ 314972 h 722262"/>
              <a:gd name="connsiteX13" fmla="*/ 505863 w 762151"/>
              <a:gd name="connsiteY13" fmla="*/ 322451 h 722262"/>
              <a:gd name="connsiteX14" fmla="*/ 513341 w 762151"/>
              <a:gd name="connsiteY14" fmla="*/ 325539 h 722262"/>
              <a:gd name="connsiteX15" fmla="*/ 761773 w 762151"/>
              <a:gd name="connsiteY15" fmla="*/ 515706 h 722262"/>
              <a:gd name="connsiteX16" fmla="*/ 748824 w 762151"/>
              <a:gd name="connsiteY16" fmla="*/ 508227 h 722262"/>
              <a:gd name="connsiteX17" fmla="*/ 705515 w 762151"/>
              <a:gd name="connsiteY17" fmla="*/ 519836 h 722262"/>
              <a:gd name="connsiteX18" fmla="*/ 695135 w 762151"/>
              <a:gd name="connsiteY18" fmla="*/ 182851 h 722262"/>
              <a:gd name="connsiteX19" fmla="*/ 411061 w 762151"/>
              <a:gd name="connsiteY19" fmla="*/ 1247 h 722262"/>
              <a:gd name="connsiteX20" fmla="*/ 100832 w 762151"/>
              <a:gd name="connsiteY20" fmla="*/ 133369 h 722262"/>
              <a:gd name="connsiteX21" fmla="*/ 102395 w 762151"/>
              <a:gd name="connsiteY21" fmla="*/ 148251 h 722262"/>
              <a:gd name="connsiteX22" fmla="*/ 117277 w 762151"/>
              <a:gd name="connsiteY22" fmla="*/ 146689 h 722262"/>
              <a:gd name="connsiteX23" fmla="*/ 408199 w 762151"/>
              <a:gd name="connsiteY23" fmla="*/ 22273 h 722262"/>
              <a:gd name="connsiteX24" fmla="*/ 675642 w 762151"/>
              <a:gd name="connsiteY24" fmla="*/ 191380 h 722262"/>
              <a:gd name="connsiteX25" fmla="*/ 687958 w 762151"/>
              <a:gd name="connsiteY25" fmla="*/ 507562 h 722262"/>
              <a:gd name="connsiteX26" fmla="*/ 677020 w 762151"/>
              <a:gd name="connsiteY26" fmla="*/ 466858 h 722262"/>
              <a:gd name="connsiteX27" fmla="*/ 664072 w 762151"/>
              <a:gd name="connsiteY27" fmla="*/ 459343 h 722262"/>
              <a:gd name="connsiteX28" fmla="*/ 656593 w 762151"/>
              <a:gd name="connsiteY28" fmla="*/ 472328 h 722262"/>
              <a:gd name="connsiteX29" fmla="*/ 674526 w 762151"/>
              <a:gd name="connsiteY29" fmla="*/ 539114 h 722262"/>
              <a:gd name="connsiteX30" fmla="*/ 674601 w 762151"/>
              <a:gd name="connsiteY30" fmla="*/ 539375 h 722262"/>
              <a:gd name="connsiteX31" fmla="*/ 674601 w 762151"/>
              <a:gd name="connsiteY31" fmla="*/ 539412 h 722262"/>
              <a:gd name="connsiteX32" fmla="*/ 674824 w 762151"/>
              <a:gd name="connsiteY32" fmla="*/ 540082 h 722262"/>
              <a:gd name="connsiteX33" fmla="*/ 674973 w 762151"/>
              <a:gd name="connsiteY33" fmla="*/ 540417 h 722262"/>
              <a:gd name="connsiteX34" fmla="*/ 675233 w 762151"/>
              <a:gd name="connsiteY34" fmla="*/ 541012 h 722262"/>
              <a:gd name="connsiteX35" fmla="*/ 675382 w 762151"/>
              <a:gd name="connsiteY35" fmla="*/ 541272 h 722262"/>
              <a:gd name="connsiteX36" fmla="*/ 675754 w 762151"/>
              <a:gd name="connsiteY36" fmla="*/ 541905 h 722262"/>
              <a:gd name="connsiteX37" fmla="*/ 675866 w 762151"/>
              <a:gd name="connsiteY37" fmla="*/ 542091 h 722262"/>
              <a:gd name="connsiteX38" fmla="*/ 675866 w 762151"/>
              <a:gd name="connsiteY38" fmla="*/ 542128 h 722262"/>
              <a:gd name="connsiteX39" fmla="*/ 676350 w 762151"/>
              <a:gd name="connsiteY39" fmla="*/ 542798 h 722262"/>
              <a:gd name="connsiteX40" fmla="*/ 676424 w 762151"/>
              <a:gd name="connsiteY40" fmla="*/ 542910 h 722262"/>
              <a:gd name="connsiteX41" fmla="*/ 677019 w 762151"/>
              <a:gd name="connsiteY41" fmla="*/ 543579 h 722262"/>
              <a:gd name="connsiteX42" fmla="*/ 677131 w 762151"/>
              <a:gd name="connsiteY42" fmla="*/ 543691 h 722262"/>
              <a:gd name="connsiteX43" fmla="*/ 677763 w 762151"/>
              <a:gd name="connsiteY43" fmla="*/ 544323 h 722262"/>
              <a:gd name="connsiteX44" fmla="*/ 677987 w 762151"/>
              <a:gd name="connsiteY44" fmla="*/ 544472 h 722262"/>
              <a:gd name="connsiteX45" fmla="*/ 677950 w 762151"/>
              <a:gd name="connsiteY45" fmla="*/ 544509 h 722262"/>
              <a:gd name="connsiteX46" fmla="*/ 678545 w 762151"/>
              <a:gd name="connsiteY46" fmla="*/ 544956 h 722262"/>
              <a:gd name="connsiteX47" fmla="*/ 679438 w 762151"/>
              <a:gd name="connsiteY47" fmla="*/ 545551 h 722262"/>
              <a:gd name="connsiteX48" fmla="*/ 680703 w 762151"/>
              <a:gd name="connsiteY48" fmla="*/ 546184 h 722262"/>
              <a:gd name="connsiteX49" fmla="*/ 684721 w 762151"/>
              <a:gd name="connsiteY49" fmla="*/ 546965 h 722262"/>
              <a:gd name="connsiteX50" fmla="*/ 686098 w 762151"/>
              <a:gd name="connsiteY50" fmla="*/ 546891 h 722262"/>
              <a:gd name="connsiteX51" fmla="*/ 686433 w 762151"/>
              <a:gd name="connsiteY51" fmla="*/ 546816 h 722262"/>
              <a:gd name="connsiteX52" fmla="*/ 687437 w 762151"/>
              <a:gd name="connsiteY52" fmla="*/ 546593 h 722262"/>
              <a:gd name="connsiteX53" fmla="*/ 754298 w 762151"/>
              <a:gd name="connsiteY53" fmla="*/ 528659 h 722262"/>
              <a:gd name="connsiteX54" fmla="*/ 754298 w 762151"/>
              <a:gd name="connsiteY54" fmla="*/ 528697 h 722262"/>
              <a:gd name="connsiteX55" fmla="*/ 760735 w 762151"/>
              <a:gd name="connsiteY55" fmla="*/ 523748 h 722262"/>
              <a:gd name="connsiteX56" fmla="*/ 761777 w 762151"/>
              <a:gd name="connsiteY56" fmla="*/ 515711 h 722262"/>
              <a:gd name="connsiteX57" fmla="*/ 182091 w 762151"/>
              <a:gd name="connsiteY57" fmla="*/ 308203 h 722262"/>
              <a:gd name="connsiteX58" fmla="*/ 203038 w 762151"/>
              <a:gd name="connsiteY58" fmla="*/ 257788 h 722262"/>
              <a:gd name="connsiteX59" fmla="*/ 169365 w 762151"/>
              <a:gd name="connsiteY59" fmla="*/ 213362 h 722262"/>
              <a:gd name="connsiteX60" fmla="*/ 170333 w 762151"/>
              <a:gd name="connsiteY60" fmla="*/ 199484 h 722262"/>
              <a:gd name="connsiteX61" fmla="*/ 219595 w 762151"/>
              <a:gd name="connsiteY61" fmla="*/ 150222 h 722262"/>
              <a:gd name="connsiteX62" fmla="*/ 219558 w 762151"/>
              <a:gd name="connsiteY62" fmla="*/ 150222 h 722262"/>
              <a:gd name="connsiteX63" fmla="*/ 233436 w 762151"/>
              <a:gd name="connsiteY63" fmla="*/ 149292 h 722262"/>
              <a:gd name="connsiteX64" fmla="*/ 277824 w 762151"/>
              <a:gd name="connsiteY64" fmla="*/ 183002 h 722262"/>
              <a:gd name="connsiteX65" fmla="*/ 328240 w 762151"/>
              <a:gd name="connsiteY65" fmla="*/ 162054 h 722262"/>
              <a:gd name="connsiteX66" fmla="*/ 335867 w 762151"/>
              <a:gd name="connsiteY66" fmla="*/ 106876 h 722262"/>
              <a:gd name="connsiteX67" fmla="*/ 335867 w 762151"/>
              <a:gd name="connsiteY67" fmla="*/ 106839 h 722262"/>
              <a:gd name="connsiteX68" fmla="*/ 346323 w 762151"/>
              <a:gd name="connsiteY68" fmla="*/ 97723 h 722262"/>
              <a:gd name="connsiteX69" fmla="*/ 415974 w 762151"/>
              <a:gd name="connsiteY69" fmla="*/ 97723 h 722262"/>
              <a:gd name="connsiteX70" fmla="*/ 426467 w 762151"/>
              <a:gd name="connsiteY70" fmla="*/ 106839 h 722262"/>
              <a:gd name="connsiteX71" fmla="*/ 434095 w 762151"/>
              <a:gd name="connsiteY71" fmla="*/ 162017 h 722262"/>
              <a:gd name="connsiteX72" fmla="*/ 434095 w 762151"/>
              <a:gd name="connsiteY72" fmla="*/ 162054 h 722262"/>
              <a:gd name="connsiteX73" fmla="*/ 454484 w 762151"/>
              <a:gd name="connsiteY73" fmla="*/ 168640 h 722262"/>
              <a:gd name="connsiteX74" fmla="*/ 493960 w 762151"/>
              <a:gd name="connsiteY74" fmla="*/ 100253 h 722262"/>
              <a:gd name="connsiteX75" fmla="*/ 493997 w 762151"/>
              <a:gd name="connsiteY75" fmla="*/ 100253 h 722262"/>
              <a:gd name="connsiteX76" fmla="*/ 514685 w 762151"/>
              <a:gd name="connsiteY76" fmla="*/ 88310 h 722262"/>
              <a:gd name="connsiteX77" fmla="*/ 535372 w 762151"/>
              <a:gd name="connsiteY77" fmla="*/ 100253 h 722262"/>
              <a:gd name="connsiteX78" fmla="*/ 675275 w 762151"/>
              <a:gd name="connsiteY78" fmla="*/ 342655 h 722262"/>
              <a:gd name="connsiteX79" fmla="*/ 675275 w 762151"/>
              <a:gd name="connsiteY79" fmla="*/ 366505 h 722262"/>
              <a:gd name="connsiteX80" fmla="*/ 654588 w 762151"/>
              <a:gd name="connsiteY80" fmla="*/ 378448 h 722262"/>
              <a:gd name="connsiteX81" fmla="*/ 644542 w 762151"/>
              <a:gd name="connsiteY81" fmla="*/ 378448 h 722262"/>
              <a:gd name="connsiteX82" fmla="*/ 644542 w 762151"/>
              <a:gd name="connsiteY82" fmla="*/ 395935 h 722262"/>
              <a:gd name="connsiteX83" fmla="*/ 635426 w 762151"/>
              <a:gd name="connsiteY83" fmla="*/ 406428 h 722262"/>
              <a:gd name="connsiteX84" fmla="*/ 580248 w 762151"/>
              <a:gd name="connsiteY84" fmla="*/ 414055 h 722262"/>
              <a:gd name="connsiteX85" fmla="*/ 580211 w 762151"/>
              <a:gd name="connsiteY85" fmla="*/ 414018 h 722262"/>
              <a:gd name="connsiteX86" fmla="*/ 559263 w 762151"/>
              <a:gd name="connsiteY86" fmla="*/ 464471 h 722262"/>
              <a:gd name="connsiteX87" fmla="*/ 592936 w 762151"/>
              <a:gd name="connsiteY87" fmla="*/ 508896 h 722262"/>
              <a:gd name="connsiteX88" fmla="*/ 592936 w 762151"/>
              <a:gd name="connsiteY88" fmla="*/ 508859 h 722262"/>
              <a:gd name="connsiteX89" fmla="*/ 591969 w 762151"/>
              <a:gd name="connsiteY89" fmla="*/ 522737 h 722262"/>
              <a:gd name="connsiteX90" fmla="*/ 542706 w 762151"/>
              <a:gd name="connsiteY90" fmla="*/ 572000 h 722262"/>
              <a:gd name="connsiteX91" fmla="*/ 542744 w 762151"/>
              <a:gd name="connsiteY91" fmla="*/ 572000 h 722262"/>
              <a:gd name="connsiteX92" fmla="*/ 528866 w 762151"/>
              <a:gd name="connsiteY92" fmla="*/ 572930 h 722262"/>
              <a:gd name="connsiteX93" fmla="*/ 484440 w 762151"/>
              <a:gd name="connsiteY93" fmla="*/ 539257 h 722262"/>
              <a:gd name="connsiteX94" fmla="*/ 484440 w 762151"/>
              <a:gd name="connsiteY94" fmla="*/ 539294 h 722262"/>
              <a:gd name="connsiteX95" fmla="*/ 434024 w 762151"/>
              <a:gd name="connsiteY95" fmla="*/ 560241 h 722262"/>
              <a:gd name="connsiteX96" fmla="*/ 426397 w 762151"/>
              <a:gd name="connsiteY96" fmla="*/ 615420 h 722262"/>
              <a:gd name="connsiteX97" fmla="*/ 415904 w 762151"/>
              <a:gd name="connsiteY97" fmla="*/ 624573 h 722262"/>
              <a:gd name="connsiteX98" fmla="*/ 346327 w 762151"/>
              <a:gd name="connsiteY98" fmla="*/ 624573 h 722262"/>
              <a:gd name="connsiteX99" fmla="*/ 335834 w 762151"/>
              <a:gd name="connsiteY99" fmla="*/ 615420 h 722262"/>
              <a:gd name="connsiteX100" fmla="*/ 328207 w 762151"/>
              <a:gd name="connsiteY100" fmla="*/ 560241 h 722262"/>
              <a:gd name="connsiteX101" fmla="*/ 328244 w 762151"/>
              <a:gd name="connsiteY101" fmla="*/ 560241 h 722262"/>
              <a:gd name="connsiteX102" fmla="*/ 277791 w 762151"/>
              <a:gd name="connsiteY102" fmla="*/ 539294 h 722262"/>
              <a:gd name="connsiteX103" fmla="*/ 233365 w 762151"/>
              <a:gd name="connsiteY103" fmla="*/ 572967 h 722262"/>
              <a:gd name="connsiteX104" fmla="*/ 233403 w 762151"/>
              <a:gd name="connsiteY104" fmla="*/ 572967 h 722262"/>
              <a:gd name="connsiteX105" fmla="*/ 219525 w 762151"/>
              <a:gd name="connsiteY105" fmla="*/ 572000 h 722262"/>
              <a:gd name="connsiteX106" fmla="*/ 170262 w 762151"/>
              <a:gd name="connsiteY106" fmla="*/ 522737 h 722262"/>
              <a:gd name="connsiteX107" fmla="*/ 170262 w 762151"/>
              <a:gd name="connsiteY107" fmla="*/ 522774 h 722262"/>
              <a:gd name="connsiteX108" fmla="*/ 169332 w 762151"/>
              <a:gd name="connsiteY108" fmla="*/ 508896 h 722262"/>
              <a:gd name="connsiteX109" fmla="*/ 203042 w 762151"/>
              <a:gd name="connsiteY109" fmla="*/ 464434 h 722262"/>
              <a:gd name="connsiteX110" fmla="*/ 182095 w 762151"/>
              <a:gd name="connsiteY110" fmla="*/ 414018 h 722262"/>
              <a:gd name="connsiteX111" fmla="*/ 126916 w 762151"/>
              <a:gd name="connsiteY111" fmla="*/ 406390 h 722262"/>
              <a:gd name="connsiteX112" fmla="*/ 126879 w 762151"/>
              <a:gd name="connsiteY112" fmla="*/ 406390 h 722262"/>
              <a:gd name="connsiteX113" fmla="*/ 117763 w 762151"/>
              <a:gd name="connsiteY113" fmla="*/ 395935 h 722262"/>
              <a:gd name="connsiteX114" fmla="*/ 117763 w 762151"/>
              <a:gd name="connsiteY114" fmla="*/ 326283 h 722262"/>
              <a:gd name="connsiteX115" fmla="*/ 126879 w 762151"/>
              <a:gd name="connsiteY115" fmla="*/ 315791 h 722262"/>
              <a:gd name="connsiteX116" fmla="*/ 372372 w 762151"/>
              <a:gd name="connsiteY116" fmla="*/ 353224 h 722262"/>
              <a:gd name="connsiteX117" fmla="*/ 372372 w 762151"/>
              <a:gd name="connsiteY117" fmla="*/ 355940 h 722262"/>
              <a:gd name="connsiteX118" fmla="*/ 374716 w 762151"/>
              <a:gd name="connsiteY118" fmla="*/ 357317 h 722262"/>
              <a:gd name="connsiteX119" fmla="*/ 654589 w 762151"/>
              <a:gd name="connsiteY119" fmla="*/ 357317 h 722262"/>
              <a:gd name="connsiteX120" fmla="*/ 656933 w 762151"/>
              <a:gd name="connsiteY120" fmla="*/ 355940 h 722262"/>
              <a:gd name="connsiteX121" fmla="*/ 656933 w 762151"/>
              <a:gd name="connsiteY121" fmla="*/ 353224 h 722262"/>
              <a:gd name="connsiteX122" fmla="*/ 517001 w 762151"/>
              <a:gd name="connsiteY122" fmla="*/ 110861 h 722262"/>
              <a:gd name="connsiteX123" fmla="*/ 514620 w 762151"/>
              <a:gd name="connsiteY123" fmla="*/ 109447 h 722262"/>
              <a:gd name="connsiteX124" fmla="*/ 512238 w 762151"/>
              <a:gd name="connsiteY124" fmla="*/ 110861 h 722262"/>
              <a:gd name="connsiteX125" fmla="*/ 354028 w 762151"/>
              <a:gd name="connsiteY125" fmla="*/ 342620 h 722262"/>
              <a:gd name="connsiteX126" fmla="*/ 405225 w 762151"/>
              <a:gd name="connsiteY126" fmla="*/ 253956 h 722262"/>
              <a:gd name="connsiteX127" fmla="*/ 290401 w 762151"/>
              <a:gd name="connsiteY127" fmla="*/ 299274 h 722262"/>
              <a:gd name="connsiteX128" fmla="*/ 290215 w 762151"/>
              <a:gd name="connsiteY128" fmla="*/ 422727 h 722262"/>
              <a:gd name="connsiteX129" fmla="*/ 404925 w 762151"/>
              <a:gd name="connsiteY129" fmla="*/ 468306 h 722262"/>
              <a:gd name="connsiteX130" fmla="*/ 489608 w 762151"/>
              <a:gd name="connsiteY130" fmla="*/ 378451 h 722262"/>
              <a:gd name="connsiteX131" fmla="*/ 374717 w 762151"/>
              <a:gd name="connsiteY131" fmla="*/ 378451 h 722262"/>
              <a:gd name="connsiteX132" fmla="*/ 354030 w 762151"/>
              <a:gd name="connsiteY132" fmla="*/ 366508 h 722262"/>
              <a:gd name="connsiteX133" fmla="*/ 354030 w 762151"/>
              <a:gd name="connsiteY133" fmla="*/ 342621 h 722262"/>
              <a:gd name="connsiteX134" fmla="*/ 192103 w 762151"/>
              <a:gd name="connsiteY134" fmla="*/ 328184 h 722262"/>
              <a:gd name="connsiteX135" fmla="*/ 138935 w 762151"/>
              <a:gd name="connsiteY135" fmla="*/ 335514 h 722262"/>
              <a:gd name="connsiteX136" fmla="*/ 138935 w 762151"/>
              <a:gd name="connsiteY136" fmla="*/ 386711 h 722262"/>
              <a:gd name="connsiteX137" fmla="*/ 192103 w 762151"/>
              <a:gd name="connsiteY137" fmla="*/ 394040 h 722262"/>
              <a:gd name="connsiteX138" fmla="*/ 200996 w 762151"/>
              <a:gd name="connsiteY138" fmla="*/ 402189 h 722262"/>
              <a:gd name="connsiteX139" fmla="*/ 224734 w 762151"/>
              <a:gd name="connsiteY139" fmla="*/ 459487 h 722262"/>
              <a:gd name="connsiteX140" fmla="*/ 224213 w 762151"/>
              <a:gd name="connsiteY140" fmla="*/ 471505 h 722262"/>
              <a:gd name="connsiteX141" fmla="*/ 191843 w 762151"/>
              <a:gd name="connsiteY141" fmla="*/ 514293 h 722262"/>
              <a:gd name="connsiteX142" fmla="*/ 228046 w 762151"/>
              <a:gd name="connsiteY142" fmla="*/ 550496 h 722262"/>
              <a:gd name="connsiteX143" fmla="*/ 270834 w 762151"/>
              <a:gd name="connsiteY143" fmla="*/ 518052 h 722262"/>
              <a:gd name="connsiteX144" fmla="*/ 282852 w 762151"/>
              <a:gd name="connsiteY144" fmla="*/ 517568 h 722262"/>
              <a:gd name="connsiteX145" fmla="*/ 340150 w 762151"/>
              <a:gd name="connsiteY145" fmla="*/ 541306 h 722262"/>
              <a:gd name="connsiteX146" fmla="*/ 348299 w 762151"/>
              <a:gd name="connsiteY146" fmla="*/ 550199 h 722262"/>
              <a:gd name="connsiteX147" fmla="*/ 355629 w 762151"/>
              <a:gd name="connsiteY147" fmla="*/ 603367 h 722262"/>
              <a:gd name="connsiteX148" fmla="*/ 406825 w 762151"/>
              <a:gd name="connsiteY148" fmla="*/ 603367 h 722262"/>
              <a:gd name="connsiteX149" fmla="*/ 414155 w 762151"/>
              <a:gd name="connsiteY149" fmla="*/ 550199 h 722262"/>
              <a:gd name="connsiteX150" fmla="*/ 422266 w 762151"/>
              <a:gd name="connsiteY150" fmla="*/ 541306 h 722262"/>
              <a:gd name="connsiteX151" fmla="*/ 479602 w 762151"/>
              <a:gd name="connsiteY151" fmla="*/ 517568 h 722262"/>
              <a:gd name="connsiteX152" fmla="*/ 491620 w 762151"/>
              <a:gd name="connsiteY152" fmla="*/ 518052 h 722262"/>
              <a:gd name="connsiteX153" fmla="*/ 534408 w 762151"/>
              <a:gd name="connsiteY153" fmla="*/ 550496 h 722262"/>
              <a:gd name="connsiteX154" fmla="*/ 570611 w 762151"/>
              <a:gd name="connsiteY154" fmla="*/ 514293 h 722262"/>
              <a:gd name="connsiteX155" fmla="*/ 538091 w 762151"/>
              <a:gd name="connsiteY155" fmla="*/ 471505 h 722262"/>
              <a:gd name="connsiteX156" fmla="*/ 537608 w 762151"/>
              <a:gd name="connsiteY156" fmla="*/ 459487 h 722262"/>
              <a:gd name="connsiteX157" fmla="*/ 561346 w 762151"/>
              <a:gd name="connsiteY157" fmla="*/ 402189 h 722262"/>
              <a:gd name="connsiteX158" fmla="*/ 570238 w 762151"/>
              <a:gd name="connsiteY158" fmla="*/ 394040 h 722262"/>
              <a:gd name="connsiteX159" fmla="*/ 623407 w 762151"/>
              <a:gd name="connsiteY159" fmla="*/ 386711 h 722262"/>
              <a:gd name="connsiteX160" fmla="*/ 623407 w 762151"/>
              <a:gd name="connsiteY160" fmla="*/ 378488 h 722262"/>
              <a:gd name="connsiteX161" fmla="*/ 511002 w 762151"/>
              <a:gd name="connsiteY161" fmla="*/ 378488 h 722262"/>
              <a:gd name="connsiteX162" fmla="*/ 511002 w 762151"/>
              <a:gd name="connsiteY162" fmla="*/ 378451 h 722262"/>
              <a:gd name="connsiteX163" fmla="*/ 410428 w 762151"/>
              <a:gd name="connsiteY163" fmla="*/ 488731 h 722262"/>
              <a:gd name="connsiteX164" fmla="*/ 271906 w 762151"/>
              <a:gd name="connsiteY164" fmla="*/ 433256 h 722262"/>
              <a:gd name="connsiteX165" fmla="*/ 275292 w 762151"/>
              <a:gd name="connsiteY165" fmla="*/ 284056 h 722262"/>
              <a:gd name="connsiteX166" fmla="*/ 416233 w 762151"/>
              <a:gd name="connsiteY166" fmla="*/ 234905 h 722262"/>
              <a:gd name="connsiteX167" fmla="*/ 443766 w 762151"/>
              <a:gd name="connsiteY167" fmla="*/ 187206 h 722262"/>
              <a:gd name="connsiteX168" fmla="*/ 422223 w 762151"/>
              <a:gd name="connsiteY168" fmla="*/ 180918 h 722262"/>
              <a:gd name="connsiteX169" fmla="*/ 414075 w 762151"/>
              <a:gd name="connsiteY169" fmla="*/ 172025 h 722262"/>
              <a:gd name="connsiteX170" fmla="*/ 406745 w 762151"/>
              <a:gd name="connsiteY170" fmla="*/ 118857 h 722262"/>
              <a:gd name="connsiteX171" fmla="*/ 355548 w 762151"/>
              <a:gd name="connsiteY171" fmla="*/ 118857 h 722262"/>
              <a:gd name="connsiteX172" fmla="*/ 348218 w 762151"/>
              <a:gd name="connsiteY172" fmla="*/ 172025 h 722262"/>
              <a:gd name="connsiteX173" fmla="*/ 340070 w 762151"/>
              <a:gd name="connsiteY173" fmla="*/ 180918 h 722262"/>
              <a:gd name="connsiteX174" fmla="*/ 282772 w 762151"/>
              <a:gd name="connsiteY174" fmla="*/ 204656 h 722262"/>
              <a:gd name="connsiteX175" fmla="*/ 270754 w 762151"/>
              <a:gd name="connsiteY175" fmla="*/ 204172 h 722262"/>
              <a:gd name="connsiteX176" fmla="*/ 227966 w 762151"/>
              <a:gd name="connsiteY176" fmla="*/ 171803 h 722262"/>
              <a:gd name="connsiteX177" fmla="*/ 191763 w 762151"/>
              <a:gd name="connsiteY177" fmla="*/ 208005 h 722262"/>
              <a:gd name="connsiteX178" fmla="*/ 224133 w 762151"/>
              <a:gd name="connsiteY178" fmla="*/ 250793 h 722262"/>
              <a:gd name="connsiteX179" fmla="*/ 224133 w 762151"/>
              <a:gd name="connsiteY179" fmla="*/ 250756 h 722262"/>
              <a:gd name="connsiteX180" fmla="*/ 224654 w 762151"/>
              <a:gd name="connsiteY180" fmla="*/ 262811 h 722262"/>
              <a:gd name="connsiteX181" fmla="*/ 200915 w 762151"/>
              <a:gd name="connsiteY181" fmla="*/ 320110 h 722262"/>
              <a:gd name="connsiteX182" fmla="*/ 192060 w 762151"/>
              <a:gd name="connsiteY182" fmla="*/ 328184 h 722262"/>
              <a:gd name="connsiteX183" fmla="*/ 659905 w 762151"/>
              <a:gd name="connsiteY183" fmla="*/ 573939 h 722262"/>
              <a:gd name="connsiteX184" fmla="*/ 652166 w 762151"/>
              <a:gd name="connsiteY184" fmla="*/ 571632 h 722262"/>
              <a:gd name="connsiteX185" fmla="*/ 645022 w 762151"/>
              <a:gd name="connsiteY185" fmla="*/ 575501 h 722262"/>
              <a:gd name="connsiteX186" fmla="*/ 354100 w 762151"/>
              <a:gd name="connsiteY186" fmla="*/ 699993 h 722262"/>
              <a:gd name="connsiteX187" fmla="*/ 86657 w 762151"/>
              <a:gd name="connsiteY187" fmla="*/ 530886 h 722262"/>
              <a:gd name="connsiteX188" fmla="*/ 74341 w 762151"/>
              <a:gd name="connsiteY188" fmla="*/ 214666 h 722262"/>
              <a:gd name="connsiteX189" fmla="*/ 85242 w 762151"/>
              <a:gd name="connsiteY189" fmla="*/ 255407 h 722262"/>
              <a:gd name="connsiteX190" fmla="*/ 85280 w 762151"/>
              <a:gd name="connsiteY190" fmla="*/ 255444 h 722262"/>
              <a:gd name="connsiteX191" fmla="*/ 95474 w 762151"/>
              <a:gd name="connsiteY191" fmla="*/ 263295 h 722262"/>
              <a:gd name="connsiteX192" fmla="*/ 98227 w 762151"/>
              <a:gd name="connsiteY192" fmla="*/ 262923 h 722262"/>
              <a:gd name="connsiteX193" fmla="*/ 104664 w 762151"/>
              <a:gd name="connsiteY193" fmla="*/ 257974 h 722262"/>
              <a:gd name="connsiteX194" fmla="*/ 105706 w 762151"/>
              <a:gd name="connsiteY194" fmla="*/ 249938 h 722262"/>
              <a:gd name="connsiteX195" fmla="*/ 87772 w 762151"/>
              <a:gd name="connsiteY195" fmla="*/ 183114 h 722262"/>
              <a:gd name="connsiteX196" fmla="*/ 87661 w 762151"/>
              <a:gd name="connsiteY196" fmla="*/ 182853 h 722262"/>
              <a:gd name="connsiteX197" fmla="*/ 87438 w 762151"/>
              <a:gd name="connsiteY197" fmla="*/ 182147 h 722262"/>
              <a:gd name="connsiteX198" fmla="*/ 87289 w 762151"/>
              <a:gd name="connsiteY198" fmla="*/ 181812 h 722262"/>
              <a:gd name="connsiteX199" fmla="*/ 87028 w 762151"/>
              <a:gd name="connsiteY199" fmla="*/ 181216 h 722262"/>
              <a:gd name="connsiteX200" fmla="*/ 86879 w 762151"/>
              <a:gd name="connsiteY200" fmla="*/ 180956 h 722262"/>
              <a:gd name="connsiteX201" fmla="*/ 86507 w 762151"/>
              <a:gd name="connsiteY201" fmla="*/ 180323 h 722262"/>
              <a:gd name="connsiteX202" fmla="*/ 86470 w 762151"/>
              <a:gd name="connsiteY202" fmla="*/ 180137 h 722262"/>
              <a:gd name="connsiteX203" fmla="*/ 85986 w 762151"/>
              <a:gd name="connsiteY203" fmla="*/ 179468 h 722262"/>
              <a:gd name="connsiteX204" fmla="*/ 85875 w 762151"/>
              <a:gd name="connsiteY204" fmla="*/ 179319 h 722262"/>
              <a:gd name="connsiteX205" fmla="*/ 85280 w 762151"/>
              <a:gd name="connsiteY205" fmla="*/ 178649 h 722262"/>
              <a:gd name="connsiteX206" fmla="*/ 85168 w 762151"/>
              <a:gd name="connsiteY206" fmla="*/ 178537 h 722262"/>
              <a:gd name="connsiteX207" fmla="*/ 84535 w 762151"/>
              <a:gd name="connsiteY207" fmla="*/ 177905 h 722262"/>
              <a:gd name="connsiteX208" fmla="*/ 84312 w 762151"/>
              <a:gd name="connsiteY208" fmla="*/ 177719 h 722262"/>
              <a:gd name="connsiteX209" fmla="*/ 83717 w 762151"/>
              <a:gd name="connsiteY209" fmla="*/ 177235 h 722262"/>
              <a:gd name="connsiteX210" fmla="*/ 82824 w 762151"/>
              <a:gd name="connsiteY210" fmla="*/ 176677 h 722262"/>
              <a:gd name="connsiteX211" fmla="*/ 81857 w 762151"/>
              <a:gd name="connsiteY211" fmla="*/ 176193 h 722262"/>
              <a:gd name="connsiteX212" fmla="*/ 81038 w 762151"/>
              <a:gd name="connsiteY212" fmla="*/ 175859 h 722262"/>
              <a:gd name="connsiteX213" fmla="*/ 80889 w 762151"/>
              <a:gd name="connsiteY213" fmla="*/ 175784 h 722262"/>
              <a:gd name="connsiteX214" fmla="*/ 79922 w 762151"/>
              <a:gd name="connsiteY214" fmla="*/ 175524 h 722262"/>
              <a:gd name="connsiteX215" fmla="*/ 79996 w 762151"/>
              <a:gd name="connsiteY215" fmla="*/ 175561 h 722262"/>
              <a:gd name="connsiteX216" fmla="*/ 79029 w 762151"/>
              <a:gd name="connsiteY216" fmla="*/ 175375 h 722262"/>
              <a:gd name="connsiteX217" fmla="*/ 78954 w 762151"/>
              <a:gd name="connsiteY217" fmla="*/ 175375 h 722262"/>
              <a:gd name="connsiteX218" fmla="*/ 78061 w 762151"/>
              <a:gd name="connsiteY218" fmla="*/ 175300 h 722262"/>
              <a:gd name="connsiteX219" fmla="*/ 77913 w 762151"/>
              <a:gd name="connsiteY219" fmla="*/ 175300 h 722262"/>
              <a:gd name="connsiteX220" fmla="*/ 77131 w 762151"/>
              <a:gd name="connsiteY220" fmla="*/ 175300 h 722262"/>
              <a:gd name="connsiteX221" fmla="*/ 76871 w 762151"/>
              <a:gd name="connsiteY221" fmla="*/ 175300 h 722262"/>
              <a:gd name="connsiteX222" fmla="*/ 76201 w 762151"/>
              <a:gd name="connsiteY222" fmla="*/ 175375 h 722262"/>
              <a:gd name="connsiteX223" fmla="*/ 75866 w 762151"/>
              <a:gd name="connsiteY223" fmla="*/ 175375 h 722262"/>
              <a:gd name="connsiteX224" fmla="*/ 74973 w 762151"/>
              <a:gd name="connsiteY224" fmla="*/ 175561 h 722262"/>
              <a:gd name="connsiteX225" fmla="*/ 74862 w 762151"/>
              <a:gd name="connsiteY225" fmla="*/ 175561 h 722262"/>
              <a:gd name="connsiteX226" fmla="*/ 8001 w 762151"/>
              <a:gd name="connsiteY226" fmla="*/ 193495 h 722262"/>
              <a:gd name="connsiteX227" fmla="*/ 1452 w 762151"/>
              <a:gd name="connsiteY227" fmla="*/ 198406 h 722262"/>
              <a:gd name="connsiteX228" fmla="*/ 373 w 762151"/>
              <a:gd name="connsiteY228" fmla="*/ 206480 h 722262"/>
              <a:gd name="connsiteX229" fmla="*/ 5359 w 762151"/>
              <a:gd name="connsiteY229" fmla="*/ 212954 h 722262"/>
              <a:gd name="connsiteX230" fmla="*/ 13470 w 762151"/>
              <a:gd name="connsiteY230" fmla="*/ 213921 h 722262"/>
              <a:gd name="connsiteX231" fmla="*/ 56780 w 762151"/>
              <a:gd name="connsiteY231" fmla="*/ 202312 h 722262"/>
              <a:gd name="connsiteX232" fmla="*/ 56817 w 762151"/>
              <a:gd name="connsiteY232" fmla="*/ 202312 h 722262"/>
              <a:gd name="connsiteX233" fmla="*/ 67086 w 762151"/>
              <a:gd name="connsiteY233" fmla="*/ 539373 h 722262"/>
              <a:gd name="connsiteX234" fmla="*/ 351197 w 762151"/>
              <a:gd name="connsiteY234" fmla="*/ 721015 h 722262"/>
              <a:gd name="connsiteX235" fmla="*/ 661465 w 762151"/>
              <a:gd name="connsiteY235" fmla="*/ 588856 h 722262"/>
              <a:gd name="connsiteX236" fmla="*/ 659902 w 762151"/>
              <a:gd name="connsiteY236" fmla="*/ 573973 h 722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Lst>
            <a:rect l="l" t="t" r="r" b="b"/>
            <a:pathLst>
              <a:path w="762151" h="722262">
                <a:moveTo>
                  <a:pt x="502775" y="280481"/>
                </a:moveTo>
                <a:lnTo>
                  <a:pt x="502775" y="173658"/>
                </a:lnTo>
                <a:cubicBezTo>
                  <a:pt x="502775" y="167817"/>
                  <a:pt x="507500" y="163091"/>
                  <a:pt x="513342" y="163091"/>
                </a:cubicBezTo>
                <a:cubicBezTo>
                  <a:pt x="519183" y="163091"/>
                  <a:pt x="523909" y="167816"/>
                  <a:pt x="523909" y="173658"/>
                </a:cubicBezTo>
                <a:lnTo>
                  <a:pt x="523909" y="280481"/>
                </a:lnTo>
                <a:cubicBezTo>
                  <a:pt x="523909" y="286322"/>
                  <a:pt x="519183" y="291048"/>
                  <a:pt x="513342" y="291048"/>
                </a:cubicBezTo>
                <a:cubicBezTo>
                  <a:pt x="507500" y="291048"/>
                  <a:pt x="502775" y="286323"/>
                  <a:pt x="502775" y="280481"/>
                </a:cubicBezTo>
                <a:close/>
                <a:moveTo>
                  <a:pt x="513342" y="325539"/>
                </a:moveTo>
                <a:cubicBezTo>
                  <a:pt x="519183" y="325539"/>
                  <a:pt x="523909" y="320814"/>
                  <a:pt x="523909" y="314972"/>
                </a:cubicBezTo>
                <a:lnTo>
                  <a:pt x="523909" y="313893"/>
                </a:lnTo>
                <a:cubicBezTo>
                  <a:pt x="523909" y="308051"/>
                  <a:pt x="519183" y="303326"/>
                  <a:pt x="513342" y="303326"/>
                </a:cubicBezTo>
                <a:cubicBezTo>
                  <a:pt x="507500" y="303326"/>
                  <a:pt x="502775" y="308051"/>
                  <a:pt x="502775" y="313893"/>
                </a:cubicBezTo>
                <a:lnTo>
                  <a:pt x="502775" y="314972"/>
                </a:lnTo>
                <a:cubicBezTo>
                  <a:pt x="502775" y="317762"/>
                  <a:pt x="503891" y="320479"/>
                  <a:pt x="505863" y="322451"/>
                </a:cubicBezTo>
                <a:cubicBezTo>
                  <a:pt x="507835" y="324423"/>
                  <a:pt x="510551" y="325539"/>
                  <a:pt x="513341" y="325539"/>
                </a:cubicBezTo>
                <a:close/>
                <a:moveTo>
                  <a:pt x="761773" y="515706"/>
                </a:moveTo>
                <a:cubicBezTo>
                  <a:pt x="760284" y="510087"/>
                  <a:pt x="754480" y="506739"/>
                  <a:pt x="748824" y="508227"/>
                </a:cubicBezTo>
                <a:lnTo>
                  <a:pt x="705515" y="519836"/>
                </a:lnTo>
                <a:cubicBezTo>
                  <a:pt x="757903" y="412718"/>
                  <a:pt x="754034" y="286588"/>
                  <a:pt x="695135" y="182851"/>
                </a:cubicBezTo>
                <a:cubicBezTo>
                  <a:pt x="636236" y="79114"/>
                  <a:pt x="529933" y="11144"/>
                  <a:pt x="411061" y="1247"/>
                </a:cubicBezTo>
                <a:cubicBezTo>
                  <a:pt x="292189" y="-8649"/>
                  <a:pt x="176098" y="40798"/>
                  <a:pt x="100832" y="133369"/>
                </a:cubicBezTo>
                <a:cubicBezTo>
                  <a:pt x="97148" y="137908"/>
                  <a:pt x="97855" y="144568"/>
                  <a:pt x="102395" y="148251"/>
                </a:cubicBezTo>
                <a:cubicBezTo>
                  <a:pt x="106934" y="151935"/>
                  <a:pt x="113594" y="151228"/>
                  <a:pt x="117277" y="146689"/>
                </a:cubicBezTo>
                <a:cubicBezTo>
                  <a:pt x="187860" y="59885"/>
                  <a:pt x="296652" y="13339"/>
                  <a:pt x="408199" y="22273"/>
                </a:cubicBezTo>
                <a:cubicBezTo>
                  <a:pt x="519747" y="31203"/>
                  <a:pt x="619759" y="94417"/>
                  <a:pt x="675642" y="191380"/>
                </a:cubicBezTo>
                <a:cubicBezTo>
                  <a:pt x="731527" y="288345"/>
                  <a:pt x="736141" y="406550"/>
                  <a:pt x="687958" y="507562"/>
                </a:cubicBezTo>
                <a:lnTo>
                  <a:pt x="677020" y="466858"/>
                </a:lnTo>
                <a:cubicBezTo>
                  <a:pt x="675531" y="461203"/>
                  <a:pt x="669727" y="457854"/>
                  <a:pt x="664072" y="459343"/>
                </a:cubicBezTo>
                <a:cubicBezTo>
                  <a:pt x="658416" y="460868"/>
                  <a:pt x="655067" y="466672"/>
                  <a:pt x="656593" y="472328"/>
                </a:cubicBezTo>
                <a:lnTo>
                  <a:pt x="674526" y="539114"/>
                </a:lnTo>
                <a:lnTo>
                  <a:pt x="674601" y="539375"/>
                </a:lnTo>
                <a:lnTo>
                  <a:pt x="674601" y="539412"/>
                </a:lnTo>
                <a:cubicBezTo>
                  <a:pt x="674675" y="539635"/>
                  <a:pt x="674750" y="539859"/>
                  <a:pt x="674824" y="540082"/>
                </a:cubicBezTo>
                <a:cubicBezTo>
                  <a:pt x="674824" y="540193"/>
                  <a:pt x="674936" y="540305"/>
                  <a:pt x="674973" y="540417"/>
                </a:cubicBezTo>
                <a:cubicBezTo>
                  <a:pt x="675010" y="540528"/>
                  <a:pt x="675159" y="540826"/>
                  <a:pt x="675233" y="541012"/>
                </a:cubicBezTo>
                <a:lnTo>
                  <a:pt x="675382" y="541272"/>
                </a:lnTo>
                <a:cubicBezTo>
                  <a:pt x="675494" y="541496"/>
                  <a:pt x="675605" y="541719"/>
                  <a:pt x="675754" y="541905"/>
                </a:cubicBezTo>
                <a:lnTo>
                  <a:pt x="675866" y="542091"/>
                </a:lnTo>
                <a:lnTo>
                  <a:pt x="675866" y="542128"/>
                </a:lnTo>
                <a:cubicBezTo>
                  <a:pt x="676015" y="542351"/>
                  <a:pt x="676164" y="542612"/>
                  <a:pt x="676350" y="542798"/>
                </a:cubicBezTo>
                <a:lnTo>
                  <a:pt x="676424" y="542910"/>
                </a:lnTo>
                <a:cubicBezTo>
                  <a:pt x="676610" y="543133"/>
                  <a:pt x="676796" y="543393"/>
                  <a:pt x="677019" y="543579"/>
                </a:cubicBezTo>
                <a:lnTo>
                  <a:pt x="677131" y="543691"/>
                </a:lnTo>
                <a:cubicBezTo>
                  <a:pt x="677354" y="543914"/>
                  <a:pt x="677540" y="544137"/>
                  <a:pt x="677763" y="544323"/>
                </a:cubicBezTo>
                <a:lnTo>
                  <a:pt x="677987" y="544472"/>
                </a:lnTo>
                <a:lnTo>
                  <a:pt x="677950" y="544509"/>
                </a:lnTo>
                <a:cubicBezTo>
                  <a:pt x="678136" y="544658"/>
                  <a:pt x="678359" y="544807"/>
                  <a:pt x="678545" y="544956"/>
                </a:cubicBezTo>
                <a:cubicBezTo>
                  <a:pt x="678842" y="545179"/>
                  <a:pt x="679140" y="545365"/>
                  <a:pt x="679438" y="545551"/>
                </a:cubicBezTo>
                <a:cubicBezTo>
                  <a:pt x="679847" y="545774"/>
                  <a:pt x="680256" y="545998"/>
                  <a:pt x="680703" y="546184"/>
                </a:cubicBezTo>
                <a:cubicBezTo>
                  <a:pt x="681968" y="546705"/>
                  <a:pt x="683345" y="546965"/>
                  <a:pt x="684721" y="546965"/>
                </a:cubicBezTo>
                <a:cubicBezTo>
                  <a:pt x="685205" y="546965"/>
                  <a:pt x="685651" y="546928"/>
                  <a:pt x="686098" y="546891"/>
                </a:cubicBezTo>
                <a:cubicBezTo>
                  <a:pt x="686210" y="546891"/>
                  <a:pt x="686321" y="546891"/>
                  <a:pt x="686433" y="546816"/>
                </a:cubicBezTo>
                <a:cubicBezTo>
                  <a:pt x="686768" y="546779"/>
                  <a:pt x="687103" y="546705"/>
                  <a:pt x="687437" y="546593"/>
                </a:cubicBezTo>
                <a:lnTo>
                  <a:pt x="754298" y="528659"/>
                </a:lnTo>
                <a:lnTo>
                  <a:pt x="754298" y="528697"/>
                </a:lnTo>
                <a:cubicBezTo>
                  <a:pt x="757014" y="527952"/>
                  <a:pt x="759321" y="526204"/>
                  <a:pt x="760735" y="523748"/>
                </a:cubicBezTo>
                <a:cubicBezTo>
                  <a:pt x="762149" y="521330"/>
                  <a:pt x="762521" y="518427"/>
                  <a:pt x="761777" y="515711"/>
                </a:cubicBezTo>
                <a:close/>
                <a:moveTo>
                  <a:pt x="182091" y="308203"/>
                </a:moveTo>
                <a:cubicBezTo>
                  <a:pt x="186779" y="290530"/>
                  <a:pt x="193811" y="273564"/>
                  <a:pt x="203038" y="257788"/>
                </a:cubicBezTo>
                <a:lnTo>
                  <a:pt x="169365" y="213362"/>
                </a:lnTo>
                <a:cubicBezTo>
                  <a:pt x="166165" y="209158"/>
                  <a:pt x="166575" y="203205"/>
                  <a:pt x="170333" y="199484"/>
                </a:cubicBezTo>
                <a:lnTo>
                  <a:pt x="219595" y="150222"/>
                </a:lnTo>
                <a:lnTo>
                  <a:pt x="219558" y="150222"/>
                </a:lnTo>
                <a:cubicBezTo>
                  <a:pt x="223316" y="146501"/>
                  <a:pt x="229231" y="146092"/>
                  <a:pt x="233436" y="149292"/>
                </a:cubicBezTo>
                <a:lnTo>
                  <a:pt x="277824" y="183002"/>
                </a:lnTo>
                <a:cubicBezTo>
                  <a:pt x="293599" y="173774"/>
                  <a:pt x="310566" y="166742"/>
                  <a:pt x="328240" y="162054"/>
                </a:cubicBezTo>
                <a:lnTo>
                  <a:pt x="335867" y="106876"/>
                </a:lnTo>
                <a:lnTo>
                  <a:pt x="335867" y="106839"/>
                </a:lnTo>
                <a:cubicBezTo>
                  <a:pt x="336574" y="101630"/>
                  <a:pt x="341039" y="97723"/>
                  <a:pt x="346323" y="97723"/>
                </a:cubicBezTo>
                <a:lnTo>
                  <a:pt x="415974" y="97723"/>
                </a:lnTo>
                <a:cubicBezTo>
                  <a:pt x="421258" y="97723"/>
                  <a:pt x="425722" y="101630"/>
                  <a:pt x="426467" y="106839"/>
                </a:cubicBezTo>
                <a:lnTo>
                  <a:pt x="434095" y="162017"/>
                </a:lnTo>
                <a:lnTo>
                  <a:pt x="434095" y="162054"/>
                </a:lnTo>
                <a:cubicBezTo>
                  <a:pt x="441015" y="163877"/>
                  <a:pt x="447824" y="166073"/>
                  <a:pt x="454484" y="168640"/>
                </a:cubicBezTo>
                <a:lnTo>
                  <a:pt x="493960" y="100253"/>
                </a:lnTo>
                <a:lnTo>
                  <a:pt x="493997" y="100253"/>
                </a:lnTo>
                <a:cubicBezTo>
                  <a:pt x="498239" y="92886"/>
                  <a:pt x="506127" y="88310"/>
                  <a:pt x="514685" y="88310"/>
                </a:cubicBezTo>
                <a:cubicBezTo>
                  <a:pt x="523205" y="88310"/>
                  <a:pt x="531094" y="92886"/>
                  <a:pt x="535372" y="100253"/>
                </a:cubicBezTo>
                <a:lnTo>
                  <a:pt x="675275" y="342655"/>
                </a:lnTo>
                <a:cubicBezTo>
                  <a:pt x="679554" y="350022"/>
                  <a:pt x="679554" y="359138"/>
                  <a:pt x="675275" y="366505"/>
                </a:cubicBezTo>
                <a:cubicBezTo>
                  <a:pt x="670997" y="373909"/>
                  <a:pt x="663109" y="378448"/>
                  <a:pt x="654588" y="378448"/>
                </a:cubicBezTo>
                <a:lnTo>
                  <a:pt x="644542" y="378448"/>
                </a:lnTo>
                <a:lnTo>
                  <a:pt x="644542" y="395935"/>
                </a:lnTo>
                <a:cubicBezTo>
                  <a:pt x="644542" y="401218"/>
                  <a:pt x="640635" y="405683"/>
                  <a:pt x="635426" y="406428"/>
                </a:cubicBezTo>
                <a:lnTo>
                  <a:pt x="580248" y="414055"/>
                </a:lnTo>
                <a:lnTo>
                  <a:pt x="580211" y="414018"/>
                </a:lnTo>
                <a:cubicBezTo>
                  <a:pt x="575523" y="431692"/>
                  <a:pt x="568490" y="448657"/>
                  <a:pt x="559263" y="464471"/>
                </a:cubicBezTo>
                <a:lnTo>
                  <a:pt x="592936" y="508896"/>
                </a:lnTo>
                <a:lnTo>
                  <a:pt x="592936" y="508859"/>
                </a:lnTo>
                <a:cubicBezTo>
                  <a:pt x="596136" y="513101"/>
                  <a:pt x="595727" y="519017"/>
                  <a:pt x="591969" y="522737"/>
                </a:cubicBezTo>
                <a:lnTo>
                  <a:pt x="542706" y="572000"/>
                </a:lnTo>
                <a:lnTo>
                  <a:pt x="542744" y="572000"/>
                </a:lnTo>
                <a:cubicBezTo>
                  <a:pt x="538986" y="575720"/>
                  <a:pt x="533070" y="576129"/>
                  <a:pt x="528866" y="572930"/>
                </a:cubicBezTo>
                <a:lnTo>
                  <a:pt x="484440" y="539257"/>
                </a:lnTo>
                <a:lnTo>
                  <a:pt x="484440" y="539294"/>
                </a:lnTo>
                <a:cubicBezTo>
                  <a:pt x="468665" y="548484"/>
                  <a:pt x="451698" y="555553"/>
                  <a:pt x="434024" y="560241"/>
                </a:cubicBezTo>
                <a:lnTo>
                  <a:pt x="426397" y="615420"/>
                </a:lnTo>
                <a:cubicBezTo>
                  <a:pt x="425690" y="620666"/>
                  <a:pt x="421188" y="624573"/>
                  <a:pt x="415904" y="624573"/>
                </a:cubicBezTo>
                <a:lnTo>
                  <a:pt x="346327" y="624573"/>
                </a:lnTo>
                <a:cubicBezTo>
                  <a:pt x="341043" y="624573"/>
                  <a:pt x="336579" y="620666"/>
                  <a:pt x="335834" y="615420"/>
                </a:cubicBezTo>
                <a:lnTo>
                  <a:pt x="328207" y="560241"/>
                </a:lnTo>
                <a:lnTo>
                  <a:pt x="328244" y="560241"/>
                </a:lnTo>
                <a:cubicBezTo>
                  <a:pt x="310570" y="555553"/>
                  <a:pt x="293604" y="548521"/>
                  <a:pt x="277791" y="539294"/>
                </a:cubicBezTo>
                <a:lnTo>
                  <a:pt x="233365" y="572967"/>
                </a:lnTo>
                <a:lnTo>
                  <a:pt x="233403" y="572967"/>
                </a:lnTo>
                <a:cubicBezTo>
                  <a:pt x="229161" y="576167"/>
                  <a:pt x="223245" y="575757"/>
                  <a:pt x="219525" y="572000"/>
                </a:cubicBezTo>
                <a:lnTo>
                  <a:pt x="170262" y="522737"/>
                </a:lnTo>
                <a:lnTo>
                  <a:pt x="170262" y="522774"/>
                </a:lnTo>
                <a:cubicBezTo>
                  <a:pt x="166542" y="519016"/>
                  <a:pt x="166132" y="513101"/>
                  <a:pt x="169332" y="508896"/>
                </a:cubicBezTo>
                <a:lnTo>
                  <a:pt x="203042" y="464434"/>
                </a:lnTo>
                <a:cubicBezTo>
                  <a:pt x="193815" y="448658"/>
                  <a:pt x="186783" y="431692"/>
                  <a:pt x="182095" y="414018"/>
                </a:cubicBezTo>
                <a:lnTo>
                  <a:pt x="126916" y="406390"/>
                </a:lnTo>
                <a:lnTo>
                  <a:pt x="126879" y="406390"/>
                </a:lnTo>
                <a:cubicBezTo>
                  <a:pt x="121670" y="405684"/>
                  <a:pt x="117763" y="401219"/>
                  <a:pt x="117763" y="395935"/>
                </a:cubicBezTo>
                <a:lnTo>
                  <a:pt x="117763" y="326283"/>
                </a:lnTo>
                <a:cubicBezTo>
                  <a:pt x="117763" y="321000"/>
                  <a:pt x="121670" y="316535"/>
                  <a:pt x="126879" y="315791"/>
                </a:cubicBezTo>
                <a:close/>
                <a:moveTo>
                  <a:pt x="372372" y="353224"/>
                </a:moveTo>
                <a:cubicBezTo>
                  <a:pt x="371888" y="354080"/>
                  <a:pt x="371888" y="355085"/>
                  <a:pt x="372372" y="355940"/>
                </a:cubicBezTo>
                <a:cubicBezTo>
                  <a:pt x="372855" y="356796"/>
                  <a:pt x="373748" y="357280"/>
                  <a:pt x="374716" y="357317"/>
                </a:cubicBezTo>
                <a:lnTo>
                  <a:pt x="654589" y="357317"/>
                </a:lnTo>
                <a:cubicBezTo>
                  <a:pt x="655556" y="357280"/>
                  <a:pt x="656449" y="356796"/>
                  <a:pt x="656933" y="355940"/>
                </a:cubicBezTo>
                <a:cubicBezTo>
                  <a:pt x="657416" y="355085"/>
                  <a:pt x="657416" y="354080"/>
                  <a:pt x="656933" y="353224"/>
                </a:cubicBezTo>
                <a:lnTo>
                  <a:pt x="517001" y="110861"/>
                </a:lnTo>
                <a:cubicBezTo>
                  <a:pt x="516517" y="110005"/>
                  <a:pt x="515624" y="109447"/>
                  <a:pt x="514620" y="109447"/>
                </a:cubicBezTo>
                <a:cubicBezTo>
                  <a:pt x="513652" y="109447"/>
                  <a:pt x="512722" y="110005"/>
                  <a:pt x="512238" y="110861"/>
                </a:cubicBezTo>
                <a:close/>
                <a:moveTo>
                  <a:pt x="354028" y="342620"/>
                </a:moveTo>
                <a:lnTo>
                  <a:pt x="405225" y="253956"/>
                </a:lnTo>
                <a:cubicBezTo>
                  <a:pt x="361284" y="244095"/>
                  <a:pt x="315780" y="262030"/>
                  <a:pt x="290401" y="299274"/>
                </a:cubicBezTo>
                <a:cubicBezTo>
                  <a:pt x="265026" y="336480"/>
                  <a:pt x="264951" y="385408"/>
                  <a:pt x="290215" y="422727"/>
                </a:cubicBezTo>
                <a:cubicBezTo>
                  <a:pt x="315478" y="460009"/>
                  <a:pt x="360983" y="478091"/>
                  <a:pt x="404925" y="468306"/>
                </a:cubicBezTo>
                <a:cubicBezTo>
                  <a:pt x="448904" y="458558"/>
                  <a:pt x="482464" y="422951"/>
                  <a:pt x="489608" y="378451"/>
                </a:cubicBezTo>
                <a:lnTo>
                  <a:pt x="374717" y="378451"/>
                </a:lnTo>
                <a:cubicBezTo>
                  <a:pt x="366197" y="378451"/>
                  <a:pt x="358309" y="373912"/>
                  <a:pt x="354030" y="366508"/>
                </a:cubicBezTo>
                <a:cubicBezTo>
                  <a:pt x="349751" y="359141"/>
                  <a:pt x="349751" y="350025"/>
                  <a:pt x="354030" y="342621"/>
                </a:cubicBezTo>
                <a:close/>
                <a:moveTo>
                  <a:pt x="192103" y="328184"/>
                </a:moveTo>
                <a:lnTo>
                  <a:pt x="138935" y="335514"/>
                </a:lnTo>
                <a:lnTo>
                  <a:pt x="138935" y="386711"/>
                </a:lnTo>
                <a:lnTo>
                  <a:pt x="192103" y="394040"/>
                </a:lnTo>
                <a:cubicBezTo>
                  <a:pt x="196494" y="394636"/>
                  <a:pt x="200028" y="397873"/>
                  <a:pt x="200996" y="402189"/>
                </a:cubicBezTo>
                <a:cubicBezTo>
                  <a:pt x="205572" y="422504"/>
                  <a:pt x="213609" y="441852"/>
                  <a:pt x="224734" y="459487"/>
                </a:cubicBezTo>
                <a:cubicBezTo>
                  <a:pt x="227078" y="463208"/>
                  <a:pt x="226892" y="468008"/>
                  <a:pt x="224213" y="471505"/>
                </a:cubicBezTo>
                <a:lnTo>
                  <a:pt x="191843" y="514293"/>
                </a:lnTo>
                <a:lnTo>
                  <a:pt x="228046" y="550496"/>
                </a:lnTo>
                <a:lnTo>
                  <a:pt x="270834" y="518052"/>
                </a:lnTo>
                <a:cubicBezTo>
                  <a:pt x="274332" y="515410"/>
                  <a:pt x="279131" y="515187"/>
                  <a:pt x="282852" y="517568"/>
                </a:cubicBezTo>
                <a:cubicBezTo>
                  <a:pt x="300451" y="528656"/>
                  <a:pt x="319836" y="536692"/>
                  <a:pt x="340150" y="541306"/>
                </a:cubicBezTo>
                <a:cubicBezTo>
                  <a:pt x="344467" y="542274"/>
                  <a:pt x="347703" y="545808"/>
                  <a:pt x="348299" y="550199"/>
                </a:cubicBezTo>
                <a:lnTo>
                  <a:pt x="355629" y="603367"/>
                </a:lnTo>
                <a:lnTo>
                  <a:pt x="406825" y="603367"/>
                </a:lnTo>
                <a:lnTo>
                  <a:pt x="414155" y="550199"/>
                </a:lnTo>
                <a:cubicBezTo>
                  <a:pt x="414751" y="545808"/>
                  <a:pt x="417987" y="542274"/>
                  <a:pt x="422266" y="541306"/>
                </a:cubicBezTo>
                <a:cubicBezTo>
                  <a:pt x="442581" y="536693"/>
                  <a:pt x="461967" y="528656"/>
                  <a:pt x="479602" y="517568"/>
                </a:cubicBezTo>
                <a:cubicBezTo>
                  <a:pt x="483323" y="515187"/>
                  <a:pt x="488085" y="515410"/>
                  <a:pt x="491620" y="518052"/>
                </a:cubicBezTo>
                <a:lnTo>
                  <a:pt x="534408" y="550496"/>
                </a:lnTo>
                <a:lnTo>
                  <a:pt x="570611" y="514293"/>
                </a:lnTo>
                <a:lnTo>
                  <a:pt x="538091" y="471505"/>
                </a:lnTo>
                <a:cubicBezTo>
                  <a:pt x="535450" y="468008"/>
                  <a:pt x="535226" y="463208"/>
                  <a:pt x="537608" y="459487"/>
                </a:cubicBezTo>
                <a:cubicBezTo>
                  <a:pt x="548696" y="441851"/>
                  <a:pt x="556732" y="422504"/>
                  <a:pt x="561346" y="402189"/>
                </a:cubicBezTo>
                <a:cubicBezTo>
                  <a:pt x="562313" y="397873"/>
                  <a:pt x="565848" y="394636"/>
                  <a:pt x="570238" y="394040"/>
                </a:cubicBezTo>
                <a:lnTo>
                  <a:pt x="623407" y="386711"/>
                </a:lnTo>
                <a:lnTo>
                  <a:pt x="623407" y="378488"/>
                </a:lnTo>
                <a:lnTo>
                  <a:pt x="511002" y="378488"/>
                </a:lnTo>
                <a:lnTo>
                  <a:pt x="511002" y="378451"/>
                </a:lnTo>
                <a:cubicBezTo>
                  <a:pt x="503747" y="432587"/>
                  <a:pt x="463674" y="476568"/>
                  <a:pt x="410428" y="488731"/>
                </a:cubicBezTo>
                <a:cubicBezTo>
                  <a:pt x="357185" y="500935"/>
                  <a:pt x="301967" y="478834"/>
                  <a:pt x="271906" y="433256"/>
                </a:cubicBezTo>
                <a:cubicBezTo>
                  <a:pt x="241805" y="387677"/>
                  <a:pt x="243145" y="328185"/>
                  <a:pt x="275292" y="284056"/>
                </a:cubicBezTo>
                <a:cubicBezTo>
                  <a:pt x="307438" y="239892"/>
                  <a:pt x="363584" y="220283"/>
                  <a:pt x="416233" y="234905"/>
                </a:cubicBezTo>
                <a:lnTo>
                  <a:pt x="443766" y="187206"/>
                </a:lnTo>
                <a:cubicBezTo>
                  <a:pt x="436697" y="184676"/>
                  <a:pt x="429516" y="182592"/>
                  <a:pt x="422223" y="180918"/>
                </a:cubicBezTo>
                <a:cubicBezTo>
                  <a:pt x="417907" y="179950"/>
                  <a:pt x="414670" y="176416"/>
                  <a:pt x="414075" y="172025"/>
                </a:cubicBezTo>
                <a:lnTo>
                  <a:pt x="406745" y="118857"/>
                </a:lnTo>
                <a:lnTo>
                  <a:pt x="355548" y="118857"/>
                </a:lnTo>
                <a:lnTo>
                  <a:pt x="348218" y="172025"/>
                </a:lnTo>
                <a:cubicBezTo>
                  <a:pt x="347623" y="176416"/>
                  <a:pt x="344386" y="179950"/>
                  <a:pt x="340070" y="180918"/>
                </a:cubicBezTo>
                <a:cubicBezTo>
                  <a:pt x="319755" y="185532"/>
                  <a:pt x="300407" y="193568"/>
                  <a:pt x="282772" y="204656"/>
                </a:cubicBezTo>
                <a:cubicBezTo>
                  <a:pt x="279051" y="207037"/>
                  <a:pt x="274251" y="206814"/>
                  <a:pt x="270754" y="204172"/>
                </a:cubicBezTo>
                <a:lnTo>
                  <a:pt x="227966" y="171803"/>
                </a:lnTo>
                <a:lnTo>
                  <a:pt x="191763" y="208005"/>
                </a:lnTo>
                <a:lnTo>
                  <a:pt x="224133" y="250793"/>
                </a:lnTo>
                <a:lnTo>
                  <a:pt x="224133" y="250756"/>
                </a:lnTo>
                <a:cubicBezTo>
                  <a:pt x="226812" y="254291"/>
                  <a:pt x="226998" y="259053"/>
                  <a:pt x="224654" y="262811"/>
                </a:cubicBezTo>
                <a:cubicBezTo>
                  <a:pt x="213528" y="280410"/>
                  <a:pt x="205492" y="299795"/>
                  <a:pt x="200915" y="320110"/>
                </a:cubicBezTo>
                <a:cubicBezTo>
                  <a:pt x="199911" y="324351"/>
                  <a:pt x="196413" y="327588"/>
                  <a:pt x="192060" y="328184"/>
                </a:cubicBezTo>
                <a:close/>
                <a:moveTo>
                  <a:pt x="659905" y="573939"/>
                </a:moveTo>
                <a:cubicBezTo>
                  <a:pt x="657747" y="572190"/>
                  <a:pt x="654956" y="571334"/>
                  <a:pt x="652166" y="571632"/>
                </a:cubicBezTo>
                <a:cubicBezTo>
                  <a:pt x="649375" y="571929"/>
                  <a:pt x="646808" y="573306"/>
                  <a:pt x="645022" y="575501"/>
                </a:cubicBezTo>
                <a:cubicBezTo>
                  <a:pt x="574478" y="662343"/>
                  <a:pt x="465685" y="708889"/>
                  <a:pt x="354100" y="699993"/>
                </a:cubicBezTo>
                <a:cubicBezTo>
                  <a:pt x="242552" y="691063"/>
                  <a:pt x="142540" y="627812"/>
                  <a:pt x="86657" y="530886"/>
                </a:cubicBezTo>
                <a:cubicBezTo>
                  <a:pt x="30772" y="433922"/>
                  <a:pt x="26158" y="315678"/>
                  <a:pt x="74341" y="214666"/>
                </a:cubicBezTo>
                <a:lnTo>
                  <a:pt x="85242" y="255407"/>
                </a:lnTo>
                <a:lnTo>
                  <a:pt x="85280" y="255444"/>
                </a:lnTo>
                <a:cubicBezTo>
                  <a:pt x="86507" y="260058"/>
                  <a:pt x="90712" y="263258"/>
                  <a:pt x="95474" y="263295"/>
                </a:cubicBezTo>
                <a:cubicBezTo>
                  <a:pt x="96404" y="263295"/>
                  <a:pt x="97334" y="263146"/>
                  <a:pt x="98227" y="262923"/>
                </a:cubicBezTo>
                <a:cubicBezTo>
                  <a:pt x="100944" y="262179"/>
                  <a:pt x="103250" y="260430"/>
                  <a:pt x="104664" y="257974"/>
                </a:cubicBezTo>
                <a:cubicBezTo>
                  <a:pt x="106078" y="255556"/>
                  <a:pt x="106450" y="252654"/>
                  <a:pt x="105706" y="249938"/>
                </a:cubicBezTo>
                <a:lnTo>
                  <a:pt x="87772" y="183114"/>
                </a:lnTo>
                <a:lnTo>
                  <a:pt x="87661" y="182853"/>
                </a:lnTo>
                <a:cubicBezTo>
                  <a:pt x="87586" y="182630"/>
                  <a:pt x="87512" y="182370"/>
                  <a:pt x="87438" y="182147"/>
                </a:cubicBezTo>
                <a:cubicBezTo>
                  <a:pt x="87363" y="181923"/>
                  <a:pt x="87326" y="181923"/>
                  <a:pt x="87289" y="181812"/>
                </a:cubicBezTo>
                <a:cubicBezTo>
                  <a:pt x="87252" y="181700"/>
                  <a:pt x="87103" y="181402"/>
                  <a:pt x="87028" y="181216"/>
                </a:cubicBezTo>
                <a:lnTo>
                  <a:pt x="86879" y="180956"/>
                </a:lnTo>
                <a:cubicBezTo>
                  <a:pt x="86768" y="180733"/>
                  <a:pt x="86656" y="180509"/>
                  <a:pt x="86507" y="180323"/>
                </a:cubicBezTo>
                <a:lnTo>
                  <a:pt x="86470" y="180137"/>
                </a:lnTo>
                <a:cubicBezTo>
                  <a:pt x="86321" y="179914"/>
                  <a:pt x="86173" y="179654"/>
                  <a:pt x="85986" y="179468"/>
                </a:cubicBezTo>
                <a:lnTo>
                  <a:pt x="85875" y="179319"/>
                </a:lnTo>
                <a:cubicBezTo>
                  <a:pt x="85689" y="179096"/>
                  <a:pt x="85503" y="178835"/>
                  <a:pt x="85280" y="178649"/>
                </a:cubicBezTo>
                <a:lnTo>
                  <a:pt x="85168" y="178537"/>
                </a:lnTo>
                <a:cubicBezTo>
                  <a:pt x="84945" y="178314"/>
                  <a:pt x="84759" y="178091"/>
                  <a:pt x="84535" y="177905"/>
                </a:cubicBezTo>
                <a:lnTo>
                  <a:pt x="84312" y="177719"/>
                </a:lnTo>
                <a:cubicBezTo>
                  <a:pt x="84126" y="177570"/>
                  <a:pt x="83940" y="177384"/>
                  <a:pt x="83717" y="177235"/>
                </a:cubicBezTo>
                <a:cubicBezTo>
                  <a:pt x="83494" y="177086"/>
                  <a:pt x="83122" y="176863"/>
                  <a:pt x="82824" y="176677"/>
                </a:cubicBezTo>
                <a:cubicBezTo>
                  <a:pt x="82526" y="176491"/>
                  <a:pt x="82191" y="176342"/>
                  <a:pt x="81857" y="176193"/>
                </a:cubicBezTo>
                <a:cubicBezTo>
                  <a:pt x="81522" y="176045"/>
                  <a:pt x="81336" y="175970"/>
                  <a:pt x="81038" y="175859"/>
                </a:cubicBezTo>
                <a:lnTo>
                  <a:pt x="80889" y="175784"/>
                </a:lnTo>
                <a:cubicBezTo>
                  <a:pt x="80591" y="175673"/>
                  <a:pt x="80257" y="175598"/>
                  <a:pt x="79922" y="175524"/>
                </a:cubicBezTo>
                <a:lnTo>
                  <a:pt x="79996" y="175561"/>
                </a:lnTo>
                <a:cubicBezTo>
                  <a:pt x="79661" y="175487"/>
                  <a:pt x="79364" y="175412"/>
                  <a:pt x="79029" y="175375"/>
                </a:cubicBezTo>
                <a:lnTo>
                  <a:pt x="78954" y="175375"/>
                </a:lnTo>
                <a:cubicBezTo>
                  <a:pt x="78657" y="175375"/>
                  <a:pt x="78359" y="175300"/>
                  <a:pt x="78061" y="175300"/>
                </a:cubicBezTo>
                <a:lnTo>
                  <a:pt x="77913" y="175300"/>
                </a:lnTo>
                <a:lnTo>
                  <a:pt x="77131" y="175300"/>
                </a:lnTo>
                <a:lnTo>
                  <a:pt x="76871" y="175300"/>
                </a:lnTo>
                <a:cubicBezTo>
                  <a:pt x="76648" y="175300"/>
                  <a:pt x="76424" y="175300"/>
                  <a:pt x="76201" y="175375"/>
                </a:cubicBezTo>
                <a:lnTo>
                  <a:pt x="75866" y="175375"/>
                </a:lnTo>
                <a:cubicBezTo>
                  <a:pt x="75569" y="175449"/>
                  <a:pt x="75271" y="175487"/>
                  <a:pt x="74973" y="175561"/>
                </a:cubicBezTo>
                <a:lnTo>
                  <a:pt x="74862" y="175561"/>
                </a:lnTo>
                <a:lnTo>
                  <a:pt x="8001" y="193495"/>
                </a:lnTo>
                <a:cubicBezTo>
                  <a:pt x="5248" y="194164"/>
                  <a:pt x="2904" y="195950"/>
                  <a:pt x="1452" y="198406"/>
                </a:cubicBezTo>
                <a:cubicBezTo>
                  <a:pt x="1" y="200824"/>
                  <a:pt x="-371" y="203764"/>
                  <a:pt x="373" y="206480"/>
                </a:cubicBezTo>
                <a:cubicBezTo>
                  <a:pt x="1080" y="209233"/>
                  <a:pt x="2904" y="211577"/>
                  <a:pt x="5359" y="212954"/>
                </a:cubicBezTo>
                <a:cubicBezTo>
                  <a:pt x="7815" y="214368"/>
                  <a:pt x="10754" y="214703"/>
                  <a:pt x="13470" y="213921"/>
                </a:cubicBezTo>
                <a:lnTo>
                  <a:pt x="56780" y="202312"/>
                </a:lnTo>
                <a:lnTo>
                  <a:pt x="56817" y="202312"/>
                </a:lnTo>
                <a:cubicBezTo>
                  <a:pt x="4355" y="309468"/>
                  <a:pt x="8187" y="435637"/>
                  <a:pt x="67086" y="539373"/>
                </a:cubicBezTo>
                <a:cubicBezTo>
                  <a:pt x="125984" y="643148"/>
                  <a:pt x="232325" y="711119"/>
                  <a:pt x="351197" y="721015"/>
                </a:cubicBezTo>
                <a:cubicBezTo>
                  <a:pt x="470107" y="730913"/>
                  <a:pt x="586198" y="681464"/>
                  <a:pt x="661465" y="588856"/>
                </a:cubicBezTo>
                <a:cubicBezTo>
                  <a:pt x="665111" y="584317"/>
                  <a:pt x="664441" y="577656"/>
                  <a:pt x="659902" y="573973"/>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Rectangle 2">
            <a:extLst>
              <a:ext uri="{FF2B5EF4-FFF2-40B4-BE49-F238E27FC236}">
                <a16:creationId xmlns:a16="http://schemas.microsoft.com/office/drawing/2014/main" id="{9B85454C-4CD8-6553-55A0-F5C3898B22B7}"/>
              </a:ext>
            </a:extLst>
          </p:cNvPr>
          <p:cNvSpPr>
            <a:spLocks/>
          </p:cNvSpPr>
          <p:nvPr/>
        </p:nvSpPr>
        <p:spPr>
          <a:xfrm>
            <a:off x="415595" y="1000700"/>
            <a:ext cx="4148170" cy="33823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561" rIns="0" bIns="45561"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Customer Challenges</a:t>
            </a:r>
          </a:p>
        </p:txBody>
      </p:sp>
      <p:sp>
        <p:nvSpPr>
          <p:cNvPr id="5" name="Rectangle 4">
            <a:extLst>
              <a:ext uri="{FF2B5EF4-FFF2-40B4-BE49-F238E27FC236}">
                <a16:creationId xmlns:a16="http://schemas.microsoft.com/office/drawing/2014/main" id="{59C48CB8-84EF-0ED7-2B74-991498C8CF50}"/>
              </a:ext>
            </a:extLst>
          </p:cNvPr>
          <p:cNvSpPr>
            <a:spLocks/>
          </p:cNvSpPr>
          <p:nvPr/>
        </p:nvSpPr>
        <p:spPr>
          <a:xfrm>
            <a:off x="6283324" y="1000700"/>
            <a:ext cx="4148170" cy="33823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561" rIns="0" bIns="45561"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Commvault Cloud Capability</a:t>
            </a:r>
          </a:p>
        </p:txBody>
      </p:sp>
      <p:cxnSp>
        <p:nvCxnSpPr>
          <p:cNvPr id="102" name="Straight Connector 101">
            <a:extLst>
              <a:ext uri="{FF2B5EF4-FFF2-40B4-BE49-F238E27FC236}">
                <a16:creationId xmlns:a16="http://schemas.microsoft.com/office/drawing/2014/main" id="{8BB8E1B0-199A-B65E-523B-B6553F9D5A98}"/>
              </a:ext>
            </a:extLst>
          </p:cNvPr>
          <p:cNvCxnSpPr>
            <a:cxnSpLocks/>
          </p:cNvCxnSpPr>
          <p:nvPr/>
        </p:nvCxnSpPr>
        <p:spPr>
          <a:xfrm>
            <a:off x="6338605" y="4407495"/>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B9BB2BE-1B51-82AD-4DEE-94945F263159}"/>
              </a:ext>
            </a:extLst>
          </p:cNvPr>
          <p:cNvCxnSpPr>
            <a:cxnSpLocks/>
          </p:cNvCxnSpPr>
          <p:nvPr/>
        </p:nvCxnSpPr>
        <p:spPr>
          <a:xfrm>
            <a:off x="415595" y="2946273"/>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87259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0C02A-3A3C-154D-0F3F-0CA364EBC986}"/>
              </a:ext>
            </a:extLst>
          </p:cNvPr>
          <p:cNvSpPr>
            <a:spLocks noGrp="1"/>
          </p:cNvSpPr>
          <p:nvPr>
            <p:ph type="title"/>
          </p:nvPr>
        </p:nvSpPr>
        <p:spPr/>
        <p:txBody>
          <a:bodyPr/>
          <a:lstStyle/>
          <a:p>
            <a:r>
              <a:rPr lang="en-US"/>
              <a:t>Data &amp; AI Security</a:t>
            </a:r>
          </a:p>
        </p:txBody>
      </p:sp>
      <p:sp>
        <p:nvSpPr>
          <p:cNvPr id="5" name="Text Placeholder 4">
            <a:extLst>
              <a:ext uri="{FF2B5EF4-FFF2-40B4-BE49-F238E27FC236}">
                <a16:creationId xmlns:a16="http://schemas.microsoft.com/office/drawing/2014/main" id="{67E6069E-516C-3538-898D-EAFE5821F099}"/>
              </a:ext>
            </a:extLst>
          </p:cNvPr>
          <p:cNvSpPr>
            <a:spLocks noGrp="1"/>
          </p:cNvSpPr>
          <p:nvPr>
            <p:ph type="body" sz="quarter" idx="23"/>
          </p:nvPr>
        </p:nvSpPr>
        <p:spPr/>
        <p:txBody>
          <a:bodyPr/>
          <a:lstStyle/>
          <a:p>
            <a:endParaRPr lang="en-US"/>
          </a:p>
        </p:txBody>
      </p:sp>
      <p:sp>
        <p:nvSpPr>
          <p:cNvPr id="9" name="Footer Placeholder 2">
            <a:extLst>
              <a:ext uri="{FF2B5EF4-FFF2-40B4-BE49-F238E27FC236}">
                <a16:creationId xmlns:a16="http://schemas.microsoft.com/office/drawing/2014/main" id="{3173F465-CCE1-8108-CAE2-4B1401B6BF9E}"/>
              </a:ext>
            </a:extLst>
          </p:cNvPr>
          <p:cNvSpPr txBox="1">
            <a:spLocks/>
          </p:cNvSpPr>
          <p:nvPr/>
        </p:nvSpPr>
        <p:spPr>
          <a:xfrm>
            <a:off x="10172700" y="6344667"/>
            <a:ext cx="1123950" cy="28336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800">
                <a:solidFill>
                  <a:srgbClr val="FFFFFF"/>
                </a:solidFill>
                <a:latin typeface="Arial" panose="020B0604020202020204"/>
              </a:rPr>
              <a:t>© Commvault 2025</a:t>
            </a:r>
          </a:p>
        </p:txBody>
      </p:sp>
      <p:sp>
        <p:nvSpPr>
          <p:cNvPr id="10" name="Slide Number Placeholder 4">
            <a:extLst>
              <a:ext uri="{FF2B5EF4-FFF2-40B4-BE49-F238E27FC236}">
                <a16:creationId xmlns:a16="http://schemas.microsoft.com/office/drawing/2014/main" id="{721E675F-8619-233D-4684-7D842A87A6A9}"/>
              </a:ext>
            </a:extLst>
          </p:cNvPr>
          <p:cNvSpPr txBox="1">
            <a:spLocks/>
          </p:cNvSpPr>
          <p:nvPr/>
        </p:nvSpPr>
        <p:spPr>
          <a:xfrm>
            <a:off x="11403176" y="6377920"/>
            <a:ext cx="373227" cy="25577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71676EBD-8486-AA4B-82C3-0598DF1E43FA}" type="slidenum">
              <a:rPr lang="en-US" sz="800" smtClean="0">
                <a:solidFill>
                  <a:srgbClr val="FFFFFF"/>
                </a:solidFill>
                <a:latin typeface="Arial" panose="020B0604020202020204"/>
              </a:rPr>
              <a:pPr algn="r">
                <a:defRPr/>
              </a:pPr>
              <a:t>15</a:t>
            </a:fld>
            <a:endParaRPr lang="en-US" sz="800">
              <a:solidFill>
                <a:srgbClr val="FFFFFF"/>
              </a:solidFill>
              <a:latin typeface="Arial" panose="020B0604020202020204"/>
            </a:endParaRPr>
          </a:p>
        </p:txBody>
      </p:sp>
    </p:spTree>
    <p:extLst>
      <p:ext uri="{BB962C8B-B14F-4D97-AF65-F5344CB8AC3E}">
        <p14:creationId xmlns:p14="http://schemas.microsoft.com/office/powerpoint/2010/main" val="38302056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0288F6-B71A-C153-A671-25307C92732B}"/>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FEA1050E-E665-5DA4-D588-C93CF4EAE2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1" name="think-cell data - do not delete" hidden="1">
                        <a:extLst>
                          <a:ext uri="{FF2B5EF4-FFF2-40B4-BE49-F238E27FC236}">
                            <a16:creationId xmlns:a16="http://schemas.microsoft.com/office/drawing/2014/main" id="{FEA1050E-E665-5DA4-D588-C93CF4EAE2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0" name="2" descr="preencoded.png">
            <a:extLst>
              <a:ext uri="{FF2B5EF4-FFF2-40B4-BE49-F238E27FC236}">
                <a16:creationId xmlns:a16="http://schemas.microsoft.com/office/drawing/2014/main" id="{2490CA59-8979-C289-CCCF-00C4AC5410F1}"/>
              </a:ext>
            </a:extLst>
          </p:cNvPr>
          <p:cNvPicPr>
            <a:picLocks/>
          </p:cNvPicPr>
          <p:nvPr>
            <p:custDataLst>
              <p:tags r:id="rId2"/>
            </p:custDataLst>
          </p:nvPr>
        </p:nvPicPr>
        <p:blipFill>
          <a:blip r:embed="rId7">
            <a:alphaModFix amt="80000"/>
          </a:blip>
          <a:srcRect/>
          <a:stretch/>
        </p:blipFill>
        <p:spPr>
          <a:xfrm>
            <a:off x="0" y="0"/>
            <a:ext cx="12192000" cy="6858000"/>
          </a:xfrm>
          <a:prstGeom prst="rect">
            <a:avLst/>
          </a:prstGeom>
        </p:spPr>
      </p:pic>
      <p:sp>
        <p:nvSpPr>
          <p:cNvPr id="19" name="Title 18">
            <a:extLst>
              <a:ext uri="{FF2B5EF4-FFF2-40B4-BE49-F238E27FC236}">
                <a16:creationId xmlns:a16="http://schemas.microsoft.com/office/drawing/2014/main" id="{95C5FEB6-E9E8-6659-CB84-B698CD88FF98}"/>
              </a:ext>
            </a:extLst>
          </p:cNvPr>
          <p:cNvSpPr>
            <a:spLocks noGrp="1"/>
          </p:cNvSpPr>
          <p:nvPr>
            <p:ph type="title"/>
          </p:nvPr>
        </p:nvSpPr>
        <p:spPr>
          <a:xfrm>
            <a:off x="415596" y="462505"/>
            <a:ext cx="11360808" cy="430887"/>
          </a:xfrm>
        </p:spPr>
        <p:txBody>
          <a:bodyPr vert="horz"/>
          <a:lstStyle/>
          <a:p>
            <a:r>
              <a:rPr lang="en-US" spc="-10"/>
              <a:t>Unified Protection for Your Sensitive Data and Responsible AI Use</a:t>
            </a:r>
            <a:endParaRPr lang="en-US"/>
          </a:p>
        </p:txBody>
      </p:sp>
      <p:sp>
        <p:nvSpPr>
          <p:cNvPr id="62" name="Footer Placeholder 2">
            <a:extLst>
              <a:ext uri="{FF2B5EF4-FFF2-40B4-BE49-F238E27FC236}">
                <a16:creationId xmlns:a16="http://schemas.microsoft.com/office/drawing/2014/main" id="{6752A04A-13C0-CC15-3287-AA2F94B3E8F5}"/>
              </a:ext>
            </a:extLst>
          </p:cNvPr>
          <p:cNvSpPr>
            <a:spLocks noGrp="1"/>
          </p:cNvSpPr>
          <p:nvPr>
            <p:ph type="ftr" sz="quarter" idx="14"/>
          </p:nvPr>
        </p:nvSpPr>
        <p:spPr>
          <a:xfrm>
            <a:off x="10172700" y="6364123"/>
            <a:ext cx="1123950" cy="28336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mn-ea"/>
                <a:cs typeface="+mn-cs"/>
              </a:rPr>
              <a:t>© Commvault 2025</a:t>
            </a:r>
          </a:p>
        </p:txBody>
      </p:sp>
      <p:sp>
        <p:nvSpPr>
          <p:cNvPr id="63" name="Slide Number Placeholder 4">
            <a:extLst>
              <a:ext uri="{FF2B5EF4-FFF2-40B4-BE49-F238E27FC236}">
                <a16:creationId xmlns:a16="http://schemas.microsoft.com/office/drawing/2014/main" id="{0F27A17F-C5E9-6102-B47B-DA5708A4193D}"/>
              </a:ext>
            </a:extLst>
          </p:cNvPr>
          <p:cNvSpPr>
            <a:spLocks noGrp="1"/>
          </p:cNvSpPr>
          <p:nvPr>
            <p:ph type="sldNum" sz="quarter" idx="15"/>
          </p:nvPr>
        </p:nvSpPr>
        <p:spPr>
          <a:xfrm>
            <a:off x="11403176" y="6377920"/>
            <a:ext cx="373227" cy="25577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676EBD-8486-AA4B-82C3-0598DF1E43FA}" type="slidenum">
              <a:rPr kumimoji="0" lang="en-US" sz="8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4" name="Graphic 63">
            <a:extLst>
              <a:ext uri="{FF2B5EF4-FFF2-40B4-BE49-F238E27FC236}">
                <a16:creationId xmlns:a16="http://schemas.microsoft.com/office/drawing/2014/main" id="{EA62BD28-1BB4-9F5F-1B80-033ADBC0DD1A}"/>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400017" y="6364123"/>
            <a:ext cx="1484309" cy="283368"/>
          </a:xfrm>
          <a:prstGeom prst="rect">
            <a:avLst/>
          </a:prstGeom>
        </p:spPr>
      </p:pic>
      <p:sp>
        <p:nvSpPr>
          <p:cNvPr id="5" name="Google Shape;4891;p434">
            <a:extLst>
              <a:ext uri="{FF2B5EF4-FFF2-40B4-BE49-F238E27FC236}">
                <a16:creationId xmlns:a16="http://schemas.microsoft.com/office/drawing/2014/main" id="{558F2444-DDBE-8BC5-4DBF-8264C0D2E185}"/>
              </a:ext>
            </a:extLst>
          </p:cNvPr>
          <p:cNvSpPr txBox="1">
            <a:spLocks/>
          </p:cNvSpPr>
          <p:nvPr/>
        </p:nvSpPr>
        <p:spPr>
          <a:xfrm>
            <a:off x="529146" y="1898025"/>
            <a:ext cx="3418995"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ct val="0"/>
              </a:spcAft>
              <a:defRPr/>
            </a:pPr>
            <a:r>
              <a:rPr lang="en-US" sz="1400" b="1">
                <a:solidFill>
                  <a:srgbClr val="834895">
                    <a:lumMod val="60000"/>
                    <a:lumOff val="40000"/>
                  </a:srgbClr>
                </a:solidFill>
                <a:latin typeface="Arial" panose="020B0604020202020204"/>
              </a:rPr>
              <a:t> Data Exposure = Uncontrolled Risk</a:t>
            </a:r>
            <a:endParaRPr lang="en-US"/>
          </a:p>
        </p:txBody>
      </p:sp>
      <p:sp>
        <p:nvSpPr>
          <p:cNvPr id="65" name="Rectangle 64">
            <a:extLst>
              <a:ext uri="{FF2B5EF4-FFF2-40B4-BE49-F238E27FC236}">
                <a16:creationId xmlns:a16="http://schemas.microsoft.com/office/drawing/2014/main" id="{B8376C17-788E-0137-616D-EC05DC20C893}"/>
              </a:ext>
            </a:extLst>
          </p:cNvPr>
          <p:cNvSpPr>
            <a:spLocks/>
          </p:cNvSpPr>
          <p:nvPr/>
        </p:nvSpPr>
        <p:spPr>
          <a:xfrm>
            <a:off x="572433" y="2167448"/>
            <a:ext cx="4924843"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ct val="0"/>
              </a:spcAft>
              <a:defRPr/>
            </a:pPr>
            <a:r>
              <a:rPr lang="en-US" sz="1400">
                <a:solidFill>
                  <a:srgbClr val="FFFFFF"/>
                </a:solidFill>
                <a:latin typeface="Arial" panose="020B0604020202020204"/>
              </a:rPr>
              <a:t>Without visibility or governance, organizations don’t know what data they have, where it lives, or how it’s being used, creating regulatory and security risk.</a:t>
            </a:r>
            <a:endParaRPr lang="en-US"/>
          </a:p>
        </p:txBody>
      </p:sp>
      <p:cxnSp>
        <p:nvCxnSpPr>
          <p:cNvPr id="6" name="Straight Connector 5">
            <a:extLst>
              <a:ext uri="{FF2B5EF4-FFF2-40B4-BE49-F238E27FC236}">
                <a16:creationId xmlns:a16="http://schemas.microsoft.com/office/drawing/2014/main" id="{F047EC43-529F-1213-98CA-F34D0CC79682}"/>
              </a:ext>
            </a:extLst>
          </p:cNvPr>
          <p:cNvCxnSpPr>
            <a:cxnSpLocks/>
          </p:cNvCxnSpPr>
          <p:nvPr/>
        </p:nvCxnSpPr>
        <p:spPr>
          <a:xfrm>
            <a:off x="415595" y="1430050"/>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1EEDE76C-A55D-1BDD-904E-380E29ACAEE9}"/>
              </a:ext>
            </a:extLst>
          </p:cNvPr>
          <p:cNvCxnSpPr>
            <a:cxnSpLocks/>
          </p:cNvCxnSpPr>
          <p:nvPr/>
        </p:nvCxnSpPr>
        <p:spPr>
          <a:xfrm>
            <a:off x="415595" y="1890214"/>
            <a:ext cx="0" cy="923565"/>
          </a:xfrm>
          <a:prstGeom prst="line">
            <a:avLst/>
          </a:prstGeom>
        </p:spPr>
        <p:style>
          <a:lnRef idx="1">
            <a:schemeClr val="accent1"/>
          </a:lnRef>
          <a:fillRef idx="0">
            <a:schemeClr val="accent1"/>
          </a:fillRef>
          <a:effectRef idx="0">
            <a:schemeClr val="accent1"/>
          </a:effectRef>
          <a:fontRef idx="minor">
            <a:schemeClr val="tx1"/>
          </a:fontRef>
        </p:style>
      </p:cxnSp>
      <p:sp>
        <p:nvSpPr>
          <p:cNvPr id="110" name="Google Shape;4891;p434">
            <a:extLst>
              <a:ext uri="{FF2B5EF4-FFF2-40B4-BE49-F238E27FC236}">
                <a16:creationId xmlns:a16="http://schemas.microsoft.com/office/drawing/2014/main" id="{D283AB49-0BD5-FC1C-AA4F-F4FC9D972276}"/>
              </a:ext>
            </a:extLst>
          </p:cNvPr>
          <p:cNvSpPr txBox="1">
            <a:spLocks/>
          </p:cNvSpPr>
          <p:nvPr/>
        </p:nvSpPr>
        <p:spPr>
          <a:xfrm>
            <a:off x="583333" y="3451702"/>
            <a:ext cx="5273180"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ct val="0"/>
              </a:spcAft>
              <a:defRPr/>
            </a:pPr>
            <a:r>
              <a:rPr lang="en-US" sz="1400" b="1">
                <a:solidFill>
                  <a:srgbClr val="834895">
                    <a:lumMod val="60000"/>
                    <a:lumOff val="40000"/>
                  </a:srgbClr>
                </a:solidFill>
                <a:latin typeface="Arial" panose="020B0604020202020204"/>
              </a:rPr>
              <a:t>Shadow AI = Unintentional Data Leakage</a:t>
            </a:r>
            <a:endParaRPr lang="en-US"/>
          </a:p>
        </p:txBody>
      </p:sp>
      <p:sp>
        <p:nvSpPr>
          <p:cNvPr id="111" name="Rectangle 110">
            <a:extLst>
              <a:ext uri="{FF2B5EF4-FFF2-40B4-BE49-F238E27FC236}">
                <a16:creationId xmlns:a16="http://schemas.microsoft.com/office/drawing/2014/main" id="{D632FA92-EB58-F65B-16BA-BAF203847107}"/>
              </a:ext>
            </a:extLst>
          </p:cNvPr>
          <p:cNvSpPr>
            <a:spLocks/>
          </p:cNvSpPr>
          <p:nvPr/>
        </p:nvSpPr>
        <p:spPr>
          <a:xfrm>
            <a:off x="583333" y="3721125"/>
            <a:ext cx="5512655"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ct val="0"/>
              </a:spcAft>
              <a:defRPr/>
            </a:pPr>
            <a:r>
              <a:rPr lang="en-US" sz="1400">
                <a:solidFill>
                  <a:srgbClr val="FFFFFF"/>
                </a:solidFill>
                <a:latin typeface="Arial" panose="020B0604020202020204"/>
              </a:rPr>
              <a:t>Employees are unknowingly introducing risk by uploading sensitive files into GenAI tools, often from personal accounts, which can expose confidential data and violate compliance obligations.</a:t>
            </a:r>
            <a:endParaRPr lang="en-US"/>
          </a:p>
        </p:txBody>
      </p:sp>
      <p:cxnSp>
        <p:nvCxnSpPr>
          <p:cNvPr id="112" name="Straight Connector 111">
            <a:extLst>
              <a:ext uri="{FF2B5EF4-FFF2-40B4-BE49-F238E27FC236}">
                <a16:creationId xmlns:a16="http://schemas.microsoft.com/office/drawing/2014/main" id="{2E0EF5A7-988F-1570-A26F-C6B10F5A9171}"/>
              </a:ext>
            </a:extLst>
          </p:cNvPr>
          <p:cNvCxnSpPr>
            <a:cxnSpLocks/>
          </p:cNvCxnSpPr>
          <p:nvPr/>
        </p:nvCxnSpPr>
        <p:spPr>
          <a:xfrm>
            <a:off x="426495" y="3010523"/>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5701204-70E0-D964-3711-68B85E3ED97E}"/>
              </a:ext>
            </a:extLst>
          </p:cNvPr>
          <p:cNvCxnSpPr>
            <a:cxnSpLocks/>
          </p:cNvCxnSpPr>
          <p:nvPr/>
        </p:nvCxnSpPr>
        <p:spPr>
          <a:xfrm>
            <a:off x="426495" y="3470687"/>
            <a:ext cx="0" cy="896769"/>
          </a:xfrm>
          <a:prstGeom prst="line">
            <a:avLst/>
          </a:prstGeom>
        </p:spPr>
        <p:style>
          <a:lnRef idx="1">
            <a:schemeClr val="accent1"/>
          </a:lnRef>
          <a:fillRef idx="0">
            <a:schemeClr val="accent1"/>
          </a:fillRef>
          <a:effectRef idx="0">
            <a:schemeClr val="accent1"/>
          </a:effectRef>
          <a:fontRef idx="minor">
            <a:schemeClr val="tx1"/>
          </a:fontRef>
        </p:style>
      </p:cxnSp>
      <p:sp>
        <p:nvSpPr>
          <p:cNvPr id="122" name="Google Shape;4891;p434">
            <a:extLst>
              <a:ext uri="{FF2B5EF4-FFF2-40B4-BE49-F238E27FC236}">
                <a16:creationId xmlns:a16="http://schemas.microsoft.com/office/drawing/2014/main" id="{5CA36A55-AA31-CF3F-D8FE-DA413705421B}"/>
              </a:ext>
            </a:extLst>
          </p:cNvPr>
          <p:cNvSpPr txBox="1">
            <a:spLocks/>
          </p:cNvSpPr>
          <p:nvPr/>
        </p:nvSpPr>
        <p:spPr>
          <a:xfrm>
            <a:off x="6456147" y="1890214"/>
            <a:ext cx="5398396"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ct val="0"/>
              </a:spcAft>
              <a:defRPr/>
            </a:pPr>
            <a:r>
              <a:rPr lang="en-US" sz="1400" b="1">
                <a:solidFill>
                  <a:srgbClr val="834895">
                    <a:lumMod val="60000"/>
                    <a:lumOff val="40000"/>
                  </a:srgbClr>
                </a:solidFill>
                <a:latin typeface="Arial" panose="020B0604020202020204"/>
              </a:rPr>
              <a:t>Unified Data Discovery &amp; Classification = Increased Visibility</a:t>
            </a:r>
            <a:endParaRPr lang="en-US"/>
          </a:p>
        </p:txBody>
      </p:sp>
      <p:sp>
        <p:nvSpPr>
          <p:cNvPr id="123" name="Rectangle 122">
            <a:extLst>
              <a:ext uri="{FF2B5EF4-FFF2-40B4-BE49-F238E27FC236}">
                <a16:creationId xmlns:a16="http://schemas.microsoft.com/office/drawing/2014/main" id="{D6854963-537C-B3A9-2B3C-6EFCEFA67C31}"/>
              </a:ext>
            </a:extLst>
          </p:cNvPr>
          <p:cNvSpPr>
            <a:spLocks/>
          </p:cNvSpPr>
          <p:nvPr/>
        </p:nvSpPr>
        <p:spPr>
          <a:xfrm>
            <a:off x="6456147" y="2159637"/>
            <a:ext cx="5163407"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ct val="0"/>
              </a:spcAft>
              <a:defRPr/>
            </a:pPr>
            <a:r>
              <a:rPr lang="en-US" sz="1400">
                <a:cs typeface="Arial" panose="020B0604020202020204"/>
              </a:rPr>
              <a:t>Discovers and classifies structured and unstructured data across clouds and AI environments to reveal what exists, identify sensitive content, and enforce the right controls.</a:t>
            </a:r>
            <a:endParaRPr lang="en-US"/>
          </a:p>
        </p:txBody>
      </p:sp>
      <p:cxnSp>
        <p:nvCxnSpPr>
          <p:cNvPr id="124" name="Straight Connector 123">
            <a:extLst>
              <a:ext uri="{FF2B5EF4-FFF2-40B4-BE49-F238E27FC236}">
                <a16:creationId xmlns:a16="http://schemas.microsoft.com/office/drawing/2014/main" id="{4BC9554A-E7C0-4E8A-6D69-8EBED6EB8C02}"/>
              </a:ext>
            </a:extLst>
          </p:cNvPr>
          <p:cNvCxnSpPr>
            <a:cxnSpLocks/>
          </p:cNvCxnSpPr>
          <p:nvPr/>
        </p:nvCxnSpPr>
        <p:spPr>
          <a:xfrm>
            <a:off x="6299309" y="1407487"/>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01721FAF-475D-67DA-BA04-76A9839912B1}"/>
              </a:ext>
            </a:extLst>
          </p:cNvPr>
          <p:cNvCxnSpPr>
            <a:cxnSpLocks/>
          </p:cNvCxnSpPr>
          <p:nvPr/>
        </p:nvCxnSpPr>
        <p:spPr>
          <a:xfrm>
            <a:off x="6299309" y="1867651"/>
            <a:ext cx="0" cy="938317"/>
          </a:xfrm>
          <a:prstGeom prst="line">
            <a:avLst/>
          </a:prstGeom>
        </p:spPr>
        <p:style>
          <a:lnRef idx="1">
            <a:schemeClr val="accent1"/>
          </a:lnRef>
          <a:fillRef idx="0">
            <a:schemeClr val="accent1"/>
          </a:fillRef>
          <a:effectRef idx="0">
            <a:schemeClr val="accent1"/>
          </a:effectRef>
          <a:fontRef idx="minor">
            <a:schemeClr val="tx1"/>
          </a:fontRef>
        </p:style>
      </p:cxnSp>
      <p:sp>
        <p:nvSpPr>
          <p:cNvPr id="135" name="Google Shape;4891;p434">
            <a:extLst>
              <a:ext uri="{FF2B5EF4-FFF2-40B4-BE49-F238E27FC236}">
                <a16:creationId xmlns:a16="http://schemas.microsoft.com/office/drawing/2014/main" id="{0959B5CD-E867-FCBE-A969-F5E056255F38}"/>
              </a:ext>
            </a:extLst>
          </p:cNvPr>
          <p:cNvSpPr txBox="1">
            <a:spLocks/>
          </p:cNvSpPr>
          <p:nvPr/>
        </p:nvSpPr>
        <p:spPr>
          <a:xfrm>
            <a:off x="6456147" y="3470687"/>
            <a:ext cx="5273179"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ct val="0"/>
              </a:spcAft>
              <a:defRPr/>
            </a:pPr>
            <a:r>
              <a:rPr lang="en-US" sz="1400" b="1">
                <a:solidFill>
                  <a:srgbClr val="834895">
                    <a:lumMod val="60000"/>
                    <a:lumOff val="40000"/>
                  </a:srgbClr>
                </a:solidFill>
                <a:latin typeface="Arial" panose="020B0604020202020204"/>
              </a:rPr>
              <a:t>AI Data Governance = Responsible Use of AI</a:t>
            </a:r>
            <a:endParaRPr lang="en-US"/>
          </a:p>
        </p:txBody>
      </p:sp>
      <p:sp>
        <p:nvSpPr>
          <p:cNvPr id="136" name="Rectangle 135">
            <a:extLst>
              <a:ext uri="{FF2B5EF4-FFF2-40B4-BE49-F238E27FC236}">
                <a16:creationId xmlns:a16="http://schemas.microsoft.com/office/drawing/2014/main" id="{00F7294B-0A94-E993-AE0A-642133F47560}"/>
              </a:ext>
            </a:extLst>
          </p:cNvPr>
          <p:cNvSpPr>
            <a:spLocks/>
          </p:cNvSpPr>
          <p:nvPr/>
        </p:nvSpPr>
        <p:spPr>
          <a:xfrm>
            <a:off x="6456147" y="3740110"/>
            <a:ext cx="5163403"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ct val="0"/>
              </a:spcAft>
              <a:defRPr/>
            </a:pPr>
            <a:r>
              <a:rPr lang="en-US" sz="1400">
                <a:solidFill>
                  <a:srgbClr val="FFFFFF"/>
                </a:solidFill>
                <a:latin typeface="Arial" panose="020B0604020202020204"/>
              </a:rPr>
              <a:t>Assists with monitoring AI training data, prompts, and responses to prevent sensitive data exposure and enable responsible, compliant AI use.</a:t>
            </a:r>
            <a:endParaRPr lang="en-US"/>
          </a:p>
        </p:txBody>
      </p:sp>
      <p:cxnSp>
        <p:nvCxnSpPr>
          <p:cNvPr id="137" name="Straight Connector 136">
            <a:extLst>
              <a:ext uri="{FF2B5EF4-FFF2-40B4-BE49-F238E27FC236}">
                <a16:creationId xmlns:a16="http://schemas.microsoft.com/office/drawing/2014/main" id="{58A85851-557D-625C-1CC2-4190D6BC12F5}"/>
              </a:ext>
            </a:extLst>
          </p:cNvPr>
          <p:cNvCxnSpPr>
            <a:cxnSpLocks/>
          </p:cNvCxnSpPr>
          <p:nvPr/>
        </p:nvCxnSpPr>
        <p:spPr>
          <a:xfrm>
            <a:off x="6299309" y="3010523"/>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FD6EAAF7-EACE-AB2E-5D28-1E6B7A87513C}"/>
              </a:ext>
            </a:extLst>
          </p:cNvPr>
          <p:cNvCxnSpPr>
            <a:cxnSpLocks/>
          </p:cNvCxnSpPr>
          <p:nvPr/>
        </p:nvCxnSpPr>
        <p:spPr>
          <a:xfrm>
            <a:off x="6299309" y="3470774"/>
            <a:ext cx="0" cy="885796"/>
          </a:xfrm>
          <a:prstGeom prst="line">
            <a:avLst/>
          </a:prstGeom>
        </p:spPr>
        <p:style>
          <a:lnRef idx="1">
            <a:schemeClr val="accent1"/>
          </a:lnRef>
          <a:fillRef idx="0">
            <a:schemeClr val="accent1"/>
          </a:fillRef>
          <a:effectRef idx="0">
            <a:schemeClr val="accent1"/>
          </a:effectRef>
          <a:fontRef idx="minor">
            <a:schemeClr val="tx1"/>
          </a:fontRef>
        </p:style>
      </p:cxnSp>
      <p:sp>
        <p:nvSpPr>
          <p:cNvPr id="140" name="Google Shape;4891;p434">
            <a:extLst>
              <a:ext uri="{FF2B5EF4-FFF2-40B4-BE49-F238E27FC236}">
                <a16:creationId xmlns:a16="http://schemas.microsoft.com/office/drawing/2014/main" id="{425B4E3A-5819-6731-F3DD-215015A0AC89}"/>
              </a:ext>
            </a:extLst>
          </p:cNvPr>
          <p:cNvSpPr txBox="1">
            <a:spLocks/>
          </p:cNvSpPr>
          <p:nvPr/>
        </p:nvSpPr>
        <p:spPr>
          <a:xfrm>
            <a:off x="6481436" y="5085021"/>
            <a:ext cx="5294965"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ct val="0"/>
              </a:spcAft>
              <a:defRPr/>
            </a:pPr>
            <a:r>
              <a:rPr lang="en-US" sz="1400" b="1">
                <a:solidFill>
                  <a:srgbClr val="834895">
                    <a:lumMod val="60000"/>
                    <a:lumOff val="40000"/>
                  </a:srgbClr>
                </a:solidFill>
                <a:latin typeface="Arial" panose="020B0604020202020204"/>
              </a:rPr>
              <a:t>Access Governance &amp; Policy Control = Reduced Exposure</a:t>
            </a:r>
            <a:endParaRPr lang="en-US"/>
          </a:p>
        </p:txBody>
      </p:sp>
      <p:sp>
        <p:nvSpPr>
          <p:cNvPr id="141" name="Rectangle 140">
            <a:extLst>
              <a:ext uri="{FF2B5EF4-FFF2-40B4-BE49-F238E27FC236}">
                <a16:creationId xmlns:a16="http://schemas.microsoft.com/office/drawing/2014/main" id="{13A742DC-2EA8-311F-3DDC-3660578A17B4}"/>
              </a:ext>
            </a:extLst>
          </p:cNvPr>
          <p:cNvSpPr>
            <a:spLocks/>
          </p:cNvSpPr>
          <p:nvPr/>
        </p:nvSpPr>
        <p:spPr>
          <a:xfrm>
            <a:off x="6481436" y="5354444"/>
            <a:ext cx="5294961"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ct val="0"/>
              </a:spcAft>
              <a:defRPr/>
            </a:pPr>
            <a:r>
              <a:rPr lang="en-US" sz="1400">
                <a:solidFill>
                  <a:srgbClr val="FFFFFF"/>
                </a:solidFill>
                <a:latin typeface="Arial" panose="020B0604020202020204"/>
              </a:rPr>
              <a:t>Enforces intelligent access policies for users and AI, applies automated fixes to risky permissions, and masks or redacts sensitive data to help support integrity and compliance.</a:t>
            </a:r>
            <a:endParaRPr lang="en-US">
              <a:cs typeface="Arial" panose="020B0604020202020204"/>
            </a:endParaRPr>
          </a:p>
        </p:txBody>
      </p:sp>
      <p:cxnSp>
        <p:nvCxnSpPr>
          <p:cNvPr id="142" name="Straight Connector 141">
            <a:extLst>
              <a:ext uri="{FF2B5EF4-FFF2-40B4-BE49-F238E27FC236}">
                <a16:creationId xmlns:a16="http://schemas.microsoft.com/office/drawing/2014/main" id="{65CA4A0A-AAEE-EE1D-D4FC-A7952B423B94}"/>
              </a:ext>
            </a:extLst>
          </p:cNvPr>
          <p:cNvCxnSpPr>
            <a:cxnSpLocks/>
          </p:cNvCxnSpPr>
          <p:nvPr/>
        </p:nvCxnSpPr>
        <p:spPr>
          <a:xfrm>
            <a:off x="6324598" y="4626469"/>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43D8E701-AC5E-C6A8-10B1-379EE96FE22D}"/>
              </a:ext>
            </a:extLst>
          </p:cNvPr>
          <p:cNvCxnSpPr>
            <a:cxnSpLocks/>
          </p:cNvCxnSpPr>
          <p:nvPr/>
        </p:nvCxnSpPr>
        <p:spPr>
          <a:xfrm>
            <a:off x="6324598" y="5086633"/>
            <a:ext cx="0" cy="914142"/>
          </a:xfrm>
          <a:prstGeom prst="line">
            <a:avLst/>
          </a:prstGeom>
        </p:spPr>
        <p:style>
          <a:lnRef idx="1">
            <a:schemeClr val="accent1"/>
          </a:lnRef>
          <a:fillRef idx="0">
            <a:schemeClr val="accent1"/>
          </a:fillRef>
          <a:effectRef idx="0">
            <a:schemeClr val="accent1"/>
          </a:effectRef>
          <a:fontRef idx="minor">
            <a:schemeClr val="tx1"/>
          </a:fontRef>
        </p:style>
      </p:cxnSp>
      <p:grpSp>
        <p:nvGrpSpPr>
          <p:cNvPr id="144" name="Group 143">
            <a:extLst>
              <a:ext uri="{FF2B5EF4-FFF2-40B4-BE49-F238E27FC236}">
                <a16:creationId xmlns:a16="http://schemas.microsoft.com/office/drawing/2014/main" id="{1ADE58DD-249C-99B5-4347-B595E145ECDB}"/>
              </a:ext>
            </a:extLst>
          </p:cNvPr>
          <p:cNvGrpSpPr/>
          <p:nvPr/>
        </p:nvGrpSpPr>
        <p:grpSpPr>
          <a:xfrm>
            <a:off x="572433" y="1515298"/>
            <a:ext cx="317772" cy="289669"/>
            <a:chOff x="686086" y="2436883"/>
            <a:chExt cx="317772" cy="289669"/>
          </a:xfrm>
          <a:solidFill>
            <a:schemeClr val="bg1"/>
          </a:solidFill>
        </p:grpSpPr>
        <p:sp>
          <p:nvSpPr>
            <p:cNvPr id="149" name="Freeform: Shape 148">
              <a:extLst>
                <a:ext uri="{FF2B5EF4-FFF2-40B4-BE49-F238E27FC236}">
                  <a16:creationId xmlns:a16="http://schemas.microsoft.com/office/drawing/2014/main" id="{FC1B4988-4B0C-49F4-7861-3E6354D44BAF}"/>
                </a:ext>
              </a:extLst>
            </p:cNvPr>
            <p:cNvSpPr/>
            <p:nvPr/>
          </p:nvSpPr>
          <p:spPr>
            <a:xfrm>
              <a:off x="727374" y="2436883"/>
              <a:ext cx="276484" cy="278948"/>
            </a:xfrm>
            <a:custGeom>
              <a:avLst/>
              <a:gdLst>
                <a:gd name="connsiteX0" fmla="*/ 45054 w 50210"/>
                <a:gd name="connsiteY0" fmla="*/ 50660 h 50659"/>
                <a:gd name="connsiteX1" fmla="*/ 21785 w 50210"/>
                <a:gd name="connsiteY1" fmla="*/ 50660 h 50659"/>
                <a:gd name="connsiteX2" fmla="*/ 21125 w 50210"/>
                <a:gd name="connsiteY2" fmla="*/ 49999 h 50659"/>
                <a:gd name="connsiteX3" fmla="*/ 21785 w 50210"/>
                <a:gd name="connsiteY3" fmla="*/ 49338 h 50659"/>
                <a:gd name="connsiteX4" fmla="*/ 45054 w 50210"/>
                <a:gd name="connsiteY4" fmla="*/ 49338 h 50659"/>
                <a:gd name="connsiteX5" fmla="*/ 48889 w 50210"/>
                <a:gd name="connsiteY5" fmla="*/ 45503 h 50659"/>
                <a:gd name="connsiteX6" fmla="*/ 48889 w 50210"/>
                <a:gd name="connsiteY6" fmla="*/ 5157 h 50659"/>
                <a:gd name="connsiteX7" fmla="*/ 45054 w 50210"/>
                <a:gd name="connsiteY7" fmla="*/ 1322 h 50659"/>
                <a:gd name="connsiteX8" fmla="*/ 5157 w 50210"/>
                <a:gd name="connsiteY8" fmla="*/ 1321 h 50659"/>
                <a:gd name="connsiteX9" fmla="*/ 1321 w 50210"/>
                <a:gd name="connsiteY9" fmla="*/ 5157 h 50659"/>
                <a:gd name="connsiteX10" fmla="*/ 1321 w 50210"/>
                <a:gd name="connsiteY10" fmla="*/ 36312 h 50659"/>
                <a:gd name="connsiteX11" fmla="*/ 661 w 50210"/>
                <a:gd name="connsiteY11" fmla="*/ 36972 h 50659"/>
                <a:gd name="connsiteX12" fmla="*/ 0 w 50210"/>
                <a:gd name="connsiteY12" fmla="*/ 36312 h 50659"/>
                <a:gd name="connsiteX13" fmla="*/ 0 w 50210"/>
                <a:gd name="connsiteY13" fmla="*/ 5157 h 50659"/>
                <a:gd name="connsiteX14" fmla="*/ 5157 w 50210"/>
                <a:gd name="connsiteY14" fmla="*/ 0 h 50659"/>
                <a:gd name="connsiteX15" fmla="*/ 45054 w 50210"/>
                <a:gd name="connsiteY15" fmla="*/ 0 h 50659"/>
                <a:gd name="connsiteX16" fmla="*/ 50211 w 50210"/>
                <a:gd name="connsiteY16" fmla="*/ 5157 h 50659"/>
                <a:gd name="connsiteX17" fmla="*/ 50211 w 50210"/>
                <a:gd name="connsiteY17" fmla="*/ 45503 h 50659"/>
                <a:gd name="connsiteX18" fmla="*/ 45054 w 50210"/>
                <a:gd name="connsiteY18" fmla="*/ 50660 h 5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210" h="50659">
                  <a:moveTo>
                    <a:pt x="45054" y="50660"/>
                  </a:moveTo>
                  <a:lnTo>
                    <a:pt x="21785" y="50660"/>
                  </a:lnTo>
                  <a:cubicBezTo>
                    <a:pt x="21421" y="50660"/>
                    <a:pt x="21125" y="50364"/>
                    <a:pt x="21125" y="49999"/>
                  </a:cubicBezTo>
                  <a:cubicBezTo>
                    <a:pt x="21125" y="49634"/>
                    <a:pt x="21421" y="49338"/>
                    <a:pt x="21785" y="49338"/>
                  </a:cubicBezTo>
                  <a:lnTo>
                    <a:pt x="45054" y="49338"/>
                  </a:lnTo>
                  <a:cubicBezTo>
                    <a:pt x="47169" y="49338"/>
                    <a:pt x="48889" y="47618"/>
                    <a:pt x="48889" y="45503"/>
                  </a:cubicBezTo>
                  <a:lnTo>
                    <a:pt x="48889" y="5157"/>
                  </a:lnTo>
                  <a:cubicBezTo>
                    <a:pt x="48889" y="3042"/>
                    <a:pt x="47169" y="1322"/>
                    <a:pt x="45054" y="1322"/>
                  </a:cubicBezTo>
                  <a:lnTo>
                    <a:pt x="5157" y="1321"/>
                  </a:lnTo>
                  <a:cubicBezTo>
                    <a:pt x="3042" y="1321"/>
                    <a:pt x="1321" y="3042"/>
                    <a:pt x="1321" y="5157"/>
                  </a:cubicBezTo>
                  <a:lnTo>
                    <a:pt x="1321" y="36312"/>
                  </a:lnTo>
                  <a:cubicBezTo>
                    <a:pt x="1321" y="36676"/>
                    <a:pt x="1026" y="36972"/>
                    <a:pt x="661" y="36972"/>
                  </a:cubicBezTo>
                  <a:cubicBezTo>
                    <a:pt x="296" y="36972"/>
                    <a:pt x="0" y="36676"/>
                    <a:pt x="0" y="36312"/>
                  </a:cubicBezTo>
                  <a:lnTo>
                    <a:pt x="0" y="5157"/>
                  </a:lnTo>
                  <a:cubicBezTo>
                    <a:pt x="0" y="2314"/>
                    <a:pt x="2313" y="0"/>
                    <a:pt x="5157" y="0"/>
                  </a:cubicBezTo>
                  <a:lnTo>
                    <a:pt x="45054" y="0"/>
                  </a:lnTo>
                  <a:cubicBezTo>
                    <a:pt x="47897" y="0"/>
                    <a:pt x="50211" y="2314"/>
                    <a:pt x="50211" y="5157"/>
                  </a:cubicBezTo>
                  <a:lnTo>
                    <a:pt x="50211" y="45503"/>
                  </a:lnTo>
                  <a:cubicBezTo>
                    <a:pt x="50211" y="48346"/>
                    <a:pt x="47897" y="50660"/>
                    <a:pt x="45054" y="5066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0" name="Freeform: Shape 149">
              <a:extLst>
                <a:ext uri="{FF2B5EF4-FFF2-40B4-BE49-F238E27FC236}">
                  <a16:creationId xmlns:a16="http://schemas.microsoft.com/office/drawing/2014/main" id="{CEC7AF4A-772B-2360-0909-E3AD8FFBB7D5}"/>
                </a:ext>
              </a:extLst>
            </p:cNvPr>
            <p:cNvSpPr/>
            <p:nvPr/>
          </p:nvSpPr>
          <p:spPr>
            <a:xfrm>
              <a:off x="727374" y="2495405"/>
              <a:ext cx="276484" cy="7274"/>
            </a:xfrm>
            <a:custGeom>
              <a:avLst/>
              <a:gdLst>
                <a:gd name="connsiteX0" fmla="*/ 49550 w 50210"/>
                <a:gd name="connsiteY0" fmla="*/ 1321 h 1321"/>
                <a:gd name="connsiteX1" fmla="*/ 661 w 50210"/>
                <a:gd name="connsiteY1" fmla="*/ 1321 h 1321"/>
                <a:gd name="connsiteX2" fmla="*/ 0 w 50210"/>
                <a:gd name="connsiteY2" fmla="*/ 661 h 1321"/>
                <a:gd name="connsiteX3" fmla="*/ 661 w 50210"/>
                <a:gd name="connsiteY3" fmla="*/ 0 h 1321"/>
                <a:gd name="connsiteX4" fmla="*/ 49550 w 50210"/>
                <a:gd name="connsiteY4" fmla="*/ 0 h 1321"/>
                <a:gd name="connsiteX5" fmla="*/ 50211 w 50210"/>
                <a:gd name="connsiteY5" fmla="*/ 661 h 1321"/>
                <a:gd name="connsiteX6" fmla="*/ 49550 w 50210"/>
                <a:gd name="connsiteY6" fmla="*/ 1321 h 1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10" h="1321">
                  <a:moveTo>
                    <a:pt x="49550" y="1321"/>
                  </a:moveTo>
                  <a:lnTo>
                    <a:pt x="661" y="1321"/>
                  </a:lnTo>
                  <a:cubicBezTo>
                    <a:pt x="296" y="1321"/>
                    <a:pt x="0" y="1026"/>
                    <a:pt x="0" y="661"/>
                  </a:cubicBezTo>
                  <a:cubicBezTo>
                    <a:pt x="0" y="296"/>
                    <a:pt x="296" y="0"/>
                    <a:pt x="661" y="0"/>
                  </a:cubicBezTo>
                  <a:lnTo>
                    <a:pt x="49550" y="0"/>
                  </a:lnTo>
                  <a:cubicBezTo>
                    <a:pt x="49915" y="0"/>
                    <a:pt x="50211" y="296"/>
                    <a:pt x="50211" y="661"/>
                  </a:cubicBezTo>
                  <a:cubicBezTo>
                    <a:pt x="50211" y="1026"/>
                    <a:pt x="49915" y="1321"/>
                    <a:pt x="49550" y="132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1" name="Freeform: Shape 150">
              <a:extLst>
                <a:ext uri="{FF2B5EF4-FFF2-40B4-BE49-F238E27FC236}">
                  <a16:creationId xmlns:a16="http://schemas.microsoft.com/office/drawing/2014/main" id="{E232AD10-6D26-6654-EF72-7C621E2C3409}"/>
                </a:ext>
              </a:extLst>
            </p:cNvPr>
            <p:cNvSpPr/>
            <p:nvPr/>
          </p:nvSpPr>
          <p:spPr>
            <a:xfrm>
              <a:off x="757946" y="2458116"/>
              <a:ext cx="34565" cy="23342"/>
            </a:xfrm>
            <a:custGeom>
              <a:avLst/>
              <a:gdLst>
                <a:gd name="connsiteX0" fmla="*/ 1321 w 6277"/>
                <a:gd name="connsiteY0" fmla="*/ 2918 h 4239"/>
                <a:gd name="connsiteX1" fmla="*/ 4956 w 6277"/>
                <a:gd name="connsiteY1" fmla="*/ 2918 h 4239"/>
                <a:gd name="connsiteX2" fmla="*/ 4956 w 6277"/>
                <a:gd name="connsiteY2" fmla="*/ 1321 h 4239"/>
                <a:gd name="connsiteX3" fmla="*/ 1321 w 6277"/>
                <a:gd name="connsiteY3" fmla="*/ 1321 h 4239"/>
                <a:gd name="connsiteX4" fmla="*/ 1321 w 6277"/>
                <a:gd name="connsiteY4" fmla="*/ 2918 h 4239"/>
                <a:gd name="connsiteX5" fmla="*/ 5617 w 6277"/>
                <a:gd name="connsiteY5" fmla="*/ 4240 h 4239"/>
                <a:gd name="connsiteX6" fmla="*/ 661 w 6277"/>
                <a:gd name="connsiteY6" fmla="*/ 4240 h 4239"/>
                <a:gd name="connsiteX7" fmla="*/ 0 w 6277"/>
                <a:gd name="connsiteY7" fmla="*/ 3579 h 4239"/>
                <a:gd name="connsiteX8" fmla="*/ 0 w 6277"/>
                <a:gd name="connsiteY8" fmla="*/ 661 h 4239"/>
                <a:gd name="connsiteX9" fmla="*/ 661 w 6277"/>
                <a:gd name="connsiteY9" fmla="*/ 0 h 4239"/>
                <a:gd name="connsiteX10" fmla="*/ 5617 w 6277"/>
                <a:gd name="connsiteY10" fmla="*/ 0 h 4239"/>
                <a:gd name="connsiteX11" fmla="*/ 6277 w 6277"/>
                <a:gd name="connsiteY11" fmla="*/ 661 h 4239"/>
                <a:gd name="connsiteX12" fmla="*/ 6277 w 6277"/>
                <a:gd name="connsiteY12" fmla="*/ 3579 h 4239"/>
                <a:gd name="connsiteX13" fmla="*/ 5617 w 6277"/>
                <a:gd name="connsiteY13" fmla="*/ 4240 h 4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77" h="4239">
                  <a:moveTo>
                    <a:pt x="1321" y="2918"/>
                  </a:moveTo>
                  <a:lnTo>
                    <a:pt x="4956" y="2918"/>
                  </a:lnTo>
                  <a:lnTo>
                    <a:pt x="4956" y="1321"/>
                  </a:lnTo>
                  <a:lnTo>
                    <a:pt x="1321" y="1321"/>
                  </a:lnTo>
                  <a:lnTo>
                    <a:pt x="1321" y="2918"/>
                  </a:lnTo>
                  <a:close/>
                  <a:moveTo>
                    <a:pt x="5617" y="4240"/>
                  </a:moveTo>
                  <a:lnTo>
                    <a:pt x="661" y="4240"/>
                  </a:lnTo>
                  <a:cubicBezTo>
                    <a:pt x="296" y="4240"/>
                    <a:pt x="0" y="3944"/>
                    <a:pt x="0" y="3579"/>
                  </a:cubicBezTo>
                  <a:lnTo>
                    <a:pt x="0" y="661"/>
                  </a:lnTo>
                  <a:cubicBezTo>
                    <a:pt x="0" y="296"/>
                    <a:pt x="296" y="0"/>
                    <a:pt x="661" y="0"/>
                  </a:cubicBezTo>
                  <a:lnTo>
                    <a:pt x="5617" y="0"/>
                  </a:lnTo>
                  <a:cubicBezTo>
                    <a:pt x="5981" y="0"/>
                    <a:pt x="6277" y="296"/>
                    <a:pt x="6277" y="661"/>
                  </a:cubicBezTo>
                  <a:lnTo>
                    <a:pt x="6277" y="3579"/>
                  </a:lnTo>
                  <a:cubicBezTo>
                    <a:pt x="6277" y="3944"/>
                    <a:pt x="5981" y="4240"/>
                    <a:pt x="5617" y="424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2" name="Freeform: Shape 151">
              <a:extLst>
                <a:ext uri="{FF2B5EF4-FFF2-40B4-BE49-F238E27FC236}">
                  <a16:creationId xmlns:a16="http://schemas.microsoft.com/office/drawing/2014/main" id="{B2ABACED-8B2A-B6E3-9F75-765AC43993F1}"/>
                </a:ext>
              </a:extLst>
            </p:cNvPr>
            <p:cNvSpPr/>
            <p:nvPr/>
          </p:nvSpPr>
          <p:spPr>
            <a:xfrm>
              <a:off x="805793" y="2458116"/>
              <a:ext cx="34565" cy="23342"/>
            </a:xfrm>
            <a:custGeom>
              <a:avLst/>
              <a:gdLst>
                <a:gd name="connsiteX0" fmla="*/ 1321 w 6277"/>
                <a:gd name="connsiteY0" fmla="*/ 2918 h 4239"/>
                <a:gd name="connsiteX1" fmla="*/ 4956 w 6277"/>
                <a:gd name="connsiteY1" fmla="*/ 2918 h 4239"/>
                <a:gd name="connsiteX2" fmla="*/ 4956 w 6277"/>
                <a:gd name="connsiteY2" fmla="*/ 1321 h 4239"/>
                <a:gd name="connsiteX3" fmla="*/ 1321 w 6277"/>
                <a:gd name="connsiteY3" fmla="*/ 1321 h 4239"/>
                <a:gd name="connsiteX4" fmla="*/ 1321 w 6277"/>
                <a:gd name="connsiteY4" fmla="*/ 2918 h 4239"/>
                <a:gd name="connsiteX5" fmla="*/ 5617 w 6277"/>
                <a:gd name="connsiteY5" fmla="*/ 4240 h 4239"/>
                <a:gd name="connsiteX6" fmla="*/ 661 w 6277"/>
                <a:gd name="connsiteY6" fmla="*/ 4240 h 4239"/>
                <a:gd name="connsiteX7" fmla="*/ 0 w 6277"/>
                <a:gd name="connsiteY7" fmla="*/ 3579 h 4239"/>
                <a:gd name="connsiteX8" fmla="*/ 0 w 6277"/>
                <a:gd name="connsiteY8" fmla="*/ 661 h 4239"/>
                <a:gd name="connsiteX9" fmla="*/ 661 w 6277"/>
                <a:gd name="connsiteY9" fmla="*/ 0 h 4239"/>
                <a:gd name="connsiteX10" fmla="*/ 5617 w 6277"/>
                <a:gd name="connsiteY10" fmla="*/ 0 h 4239"/>
                <a:gd name="connsiteX11" fmla="*/ 6277 w 6277"/>
                <a:gd name="connsiteY11" fmla="*/ 661 h 4239"/>
                <a:gd name="connsiteX12" fmla="*/ 6277 w 6277"/>
                <a:gd name="connsiteY12" fmla="*/ 3579 h 4239"/>
                <a:gd name="connsiteX13" fmla="*/ 5617 w 6277"/>
                <a:gd name="connsiteY13" fmla="*/ 4240 h 4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77" h="4239">
                  <a:moveTo>
                    <a:pt x="1321" y="2918"/>
                  </a:moveTo>
                  <a:lnTo>
                    <a:pt x="4956" y="2918"/>
                  </a:lnTo>
                  <a:lnTo>
                    <a:pt x="4956" y="1321"/>
                  </a:lnTo>
                  <a:lnTo>
                    <a:pt x="1321" y="1321"/>
                  </a:lnTo>
                  <a:lnTo>
                    <a:pt x="1321" y="2918"/>
                  </a:lnTo>
                  <a:close/>
                  <a:moveTo>
                    <a:pt x="5617" y="4240"/>
                  </a:moveTo>
                  <a:lnTo>
                    <a:pt x="661" y="4240"/>
                  </a:lnTo>
                  <a:cubicBezTo>
                    <a:pt x="296" y="4240"/>
                    <a:pt x="0" y="3944"/>
                    <a:pt x="0" y="3579"/>
                  </a:cubicBezTo>
                  <a:lnTo>
                    <a:pt x="0" y="661"/>
                  </a:lnTo>
                  <a:cubicBezTo>
                    <a:pt x="0" y="296"/>
                    <a:pt x="296" y="0"/>
                    <a:pt x="661" y="0"/>
                  </a:cubicBezTo>
                  <a:lnTo>
                    <a:pt x="5617" y="0"/>
                  </a:lnTo>
                  <a:cubicBezTo>
                    <a:pt x="5981" y="0"/>
                    <a:pt x="6277" y="296"/>
                    <a:pt x="6277" y="661"/>
                  </a:cubicBezTo>
                  <a:lnTo>
                    <a:pt x="6277" y="3579"/>
                  </a:lnTo>
                  <a:cubicBezTo>
                    <a:pt x="6277" y="3944"/>
                    <a:pt x="5981" y="4240"/>
                    <a:pt x="5617" y="424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3" name="Freeform: Shape 152">
              <a:extLst>
                <a:ext uri="{FF2B5EF4-FFF2-40B4-BE49-F238E27FC236}">
                  <a16:creationId xmlns:a16="http://schemas.microsoft.com/office/drawing/2014/main" id="{71C5922E-C68C-E62A-B470-F9B67BE85D76}"/>
                </a:ext>
              </a:extLst>
            </p:cNvPr>
            <p:cNvSpPr/>
            <p:nvPr/>
          </p:nvSpPr>
          <p:spPr>
            <a:xfrm>
              <a:off x="853645" y="2458116"/>
              <a:ext cx="34565" cy="23342"/>
            </a:xfrm>
            <a:custGeom>
              <a:avLst/>
              <a:gdLst>
                <a:gd name="connsiteX0" fmla="*/ 1321 w 6277"/>
                <a:gd name="connsiteY0" fmla="*/ 2918 h 4239"/>
                <a:gd name="connsiteX1" fmla="*/ 4956 w 6277"/>
                <a:gd name="connsiteY1" fmla="*/ 2918 h 4239"/>
                <a:gd name="connsiteX2" fmla="*/ 4956 w 6277"/>
                <a:gd name="connsiteY2" fmla="*/ 1321 h 4239"/>
                <a:gd name="connsiteX3" fmla="*/ 1321 w 6277"/>
                <a:gd name="connsiteY3" fmla="*/ 1321 h 4239"/>
                <a:gd name="connsiteX4" fmla="*/ 1321 w 6277"/>
                <a:gd name="connsiteY4" fmla="*/ 2918 h 4239"/>
                <a:gd name="connsiteX5" fmla="*/ 5616 w 6277"/>
                <a:gd name="connsiteY5" fmla="*/ 4240 h 4239"/>
                <a:gd name="connsiteX6" fmla="*/ 661 w 6277"/>
                <a:gd name="connsiteY6" fmla="*/ 4240 h 4239"/>
                <a:gd name="connsiteX7" fmla="*/ 0 w 6277"/>
                <a:gd name="connsiteY7" fmla="*/ 3579 h 4239"/>
                <a:gd name="connsiteX8" fmla="*/ 0 w 6277"/>
                <a:gd name="connsiteY8" fmla="*/ 661 h 4239"/>
                <a:gd name="connsiteX9" fmla="*/ 661 w 6277"/>
                <a:gd name="connsiteY9" fmla="*/ 0 h 4239"/>
                <a:gd name="connsiteX10" fmla="*/ 5616 w 6277"/>
                <a:gd name="connsiteY10" fmla="*/ 0 h 4239"/>
                <a:gd name="connsiteX11" fmla="*/ 6277 w 6277"/>
                <a:gd name="connsiteY11" fmla="*/ 661 h 4239"/>
                <a:gd name="connsiteX12" fmla="*/ 6277 w 6277"/>
                <a:gd name="connsiteY12" fmla="*/ 3579 h 4239"/>
                <a:gd name="connsiteX13" fmla="*/ 5616 w 6277"/>
                <a:gd name="connsiteY13" fmla="*/ 4240 h 4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77" h="4239">
                  <a:moveTo>
                    <a:pt x="1321" y="2918"/>
                  </a:moveTo>
                  <a:lnTo>
                    <a:pt x="4956" y="2918"/>
                  </a:lnTo>
                  <a:lnTo>
                    <a:pt x="4956" y="1321"/>
                  </a:lnTo>
                  <a:lnTo>
                    <a:pt x="1321" y="1321"/>
                  </a:lnTo>
                  <a:lnTo>
                    <a:pt x="1321" y="2918"/>
                  </a:lnTo>
                  <a:close/>
                  <a:moveTo>
                    <a:pt x="5616" y="4240"/>
                  </a:moveTo>
                  <a:lnTo>
                    <a:pt x="661" y="4240"/>
                  </a:lnTo>
                  <a:cubicBezTo>
                    <a:pt x="296" y="4240"/>
                    <a:pt x="0" y="3944"/>
                    <a:pt x="0" y="3579"/>
                  </a:cubicBezTo>
                  <a:lnTo>
                    <a:pt x="0" y="661"/>
                  </a:lnTo>
                  <a:cubicBezTo>
                    <a:pt x="0" y="296"/>
                    <a:pt x="296" y="0"/>
                    <a:pt x="661" y="0"/>
                  </a:cubicBezTo>
                  <a:lnTo>
                    <a:pt x="5616" y="0"/>
                  </a:lnTo>
                  <a:cubicBezTo>
                    <a:pt x="5982" y="0"/>
                    <a:pt x="6277" y="296"/>
                    <a:pt x="6277" y="661"/>
                  </a:cubicBezTo>
                  <a:lnTo>
                    <a:pt x="6277" y="3579"/>
                  </a:lnTo>
                  <a:cubicBezTo>
                    <a:pt x="6277" y="3944"/>
                    <a:pt x="5981" y="4240"/>
                    <a:pt x="5616" y="424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56" name="Group 155">
              <a:extLst>
                <a:ext uri="{FF2B5EF4-FFF2-40B4-BE49-F238E27FC236}">
                  <a16:creationId xmlns:a16="http://schemas.microsoft.com/office/drawing/2014/main" id="{69C4F5DC-7A3F-302B-BBD1-4B1CFAB15D94}"/>
                </a:ext>
              </a:extLst>
            </p:cNvPr>
            <p:cNvGrpSpPr/>
            <p:nvPr/>
          </p:nvGrpSpPr>
          <p:grpSpPr>
            <a:xfrm>
              <a:off x="820700" y="2566786"/>
              <a:ext cx="110163" cy="37730"/>
              <a:chOff x="768343" y="2525855"/>
              <a:chExt cx="110163" cy="37730"/>
            </a:xfrm>
            <a:grpFill/>
          </p:grpSpPr>
          <p:sp>
            <p:nvSpPr>
              <p:cNvPr id="166" name="Freeform: Shape 165">
                <a:extLst>
                  <a:ext uri="{FF2B5EF4-FFF2-40B4-BE49-F238E27FC236}">
                    <a16:creationId xmlns:a16="http://schemas.microsoft.com/office/drawing/2014/main" id="{92590C93-AF72-4480-7A65-CCEDC3E0CFC9}"/>
                  </a:ext>
                </a:extLst>
              </p:cNvPr>
              <p:cNvSpPr/>
              <p:nvPr/>
            </p:nvSpPr>
            <p:spPr>
              <a:xfrm>
                <a:off x="809234" y="2526610"/>
                <a:ext cx="28375" cy="36975"/>
              </a:xfrm>
              <a:custGeom>
                <a:avLst/>
                <a:gdLst>
                  <a:gd name="connsiteX0" fmla="*/ 4493 w 5153"/>
                  <a:gd name="connsiteY0" fmla="*/ 6715 h 6715"/>
                  <a:gd name="connsiteX1" fmla="*/ 3954 w 5153"/>
                  <a:gd name="connsiteY1" fmla="*/ 6436 h 6715"/>
                  <a:gd name="connsiteX2" fmla="*/ 122 w 5153"/>
                  <a:gd name="connsiteY2" fmla="*/ 1044 h 6715"/>
                  <a:gd name="connsiteX3" fmla="*/ 278 w 5153"/>
                  <a:gd name="connsiteY3" fmla="*/ 123 h 6715"/>
                  <a:gd name="connsiteX4" fmla="*/ 1199 w 5153"/>
                  <a:gd name="connsiteY4" fmla="*/ 279 h 6715"/>
                  <a:gd name="connsiteX5" fmla="*/ 5031 w 5153"/>
                  <a:gd name="connsiteY5" fmla="*/ 5671 h 6715"/>
                  <a:gd name="connsiteX6" fmla="*/ 4875 w 5153"/>
                  <a:gd name="connsiteY6" fmla="*/ 6592 h 6715"/>
                  <a:gd name="connsiteX7" fmla="*/ 4493 w 5153"/>
                  <a:gd name="connsiteY7" fmla="*/ 6715 h 6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53" h="6715">
                    <a:moveTo>
                      <a:pt x="4493" y="6715"/>
                    </a:moveTo>
                    <a:cubicBezTo>
                      <a:pt x="4286" y="6715"/>
                      <a:pt x="4083" y="6618"/>
                      <a:pt x="3954" y="6436"/>
                    </a:cubicBezTo>
                    <a:lnTo>
                      <a:pt x="122" y="1044"/>
                    </a:lnTo>
                    <a:cubicBezTo>
                      <a:pt x="-89" y="746"/>
                      <a:pt x="-19" y="334"/>
                      <a:pt x="278" y="123"/>
                    </a:cubicBezTo>
                    <a:cubicBezTo>
                      <a:pt x="576" y="-89"/>
                      <a:pt x="988" y="-19"/>
                      <a:pt x="1199" y="279"/>
                    </a:cubicBezTo>
                    <a:lnTo>
                      <a:pt x="5031" y="5671"/>
                    </a:lnTo>
                    <a:cubicBezTo>
                      <a:pt x="5242" y="5968"/>
                      <a:pt x="5172" y="6381"/>
                      <a:pt x="4875" y="6592"/>
                    </a:cubicBezTo>
                    <a:cubicBezTo>
                      <a:pt x="4759" y="6675"/>
                      <a:pt x="4625" y="6715"/>
                      <a:pt x="4493" y="671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7" name="Freeform: Shape 166">
                <a:extLst>
                  <a:ext uri="{FF2B5EF4-FFF2-40B4-BE49-F238E27FC236}">
                    <a16:creationId xmlns:a16="http://schemas.microsoft.com/office/drawing/2014/main" id="{5CB06A5A-4B18-9C09-2E7E-D0463C7B18E6}"/>
                  </a:ext>
                </a:extLst>
              </p:cNvPr>
              <p:cNvSpPr/>
              <p:nvPr/>
            </p:nvSpPr>
            <p:spPr>
              <a:xfrm>
                <a:off x="768343" y="2525855"/>
                <a:ext cx="33182" cy="37724"/>
              </a:xfrm>
              <a:custGeom>
                <a:avLst/>
                <a:gdLst>
                  <a:gd name="connsiteX0" fmla="*/ 5365 w 6026"/>
                  <a:gd name="connsiteY0" fmla="*/ 6852 h 6851"/>
                  <a:gd name="connsiteX1" fmla="*/ 5031 w 6026"/>
                  <a:gd name="connsiteY1" fmla="*/ 6760 h 6851"/>
                  <a:gd name="connsiteX2" fmla="*/ 326 w 6026"/>
                  <a:gd name="connsiteY2" fmla="*/ 3996 h 6851"/>
                  <a:gd name="connsiteX3" fmla="*/ 0 w 6026"/>
                  <a:gd name="connsiteY3" fmla="*/ 3426 h 6851"/>
                  <a:gd name="connsiteX4" fmla="*/ 326 w 6026"/>
                  <a:gd name="connsiteY4" fmla="*/ 2857 h 6851"/>
                  <a:gd name="connsiteX5" fmla="*/ 5031 w 6026"/>
                  <a:gd name="connsiteY5" fmla="*/ 91 h 6851"/>
                  <a:gd name="connsiteX6" fmla="*/ 5935 w 6026"/>
                  <a:gd name="connsiteY6" fmla="*/ 326 h 6851"/>
                  <a:gd name="connsiteX7" fmla="*/ 5700 w 6026"/>
                  <a:gd name="connsiteY7" fmla="*/ 1230 h 6851"/>
                  <a:gd name="connsiteX8" fmla="*/ 1965 w 6026"/>
                  <a:gd name="connsiteY8" fmla="*/ 3426 h 6851"/>
                  <a:gd name="connsiteX9" fmla="*/ 5700 w 6026"/>
                  <a:gd name="connsiteY9" fmla="*/ 5621 h 6851"/>
                  <a:gd name="connsiteX10" fmla="*/ 5935 w 6026"/>
                  <a:gd name="connsiteY10" fmla="*/ 6525 h 6851"/>
                  <a:gd name="connsiteX11" fmla="*/ 5365 w 6026"/>
                  <a:gd name="connsiteY11" fmla="*/ 6852 h 6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26" h="6851">
                    <a:moveTo>
                      <a:pt x="5365" y="6852"/>
                    </a:moveTo>
                    <a:cubicBezTo>
                      <a:pt x="5251" y="6852"/>
                      <a:pt x="5136" y="6822"/>
                      <a:pt x="5031" y="6760"/>
                    </a:cubicBezTo>
                    <a:lnTo>
                      <a:pt x="326" y="3996"/>
                    </a:lnTo>
                    <a:cubicBezTo>
                      <a:pt x="124" y="3876"/>
                      <a:pt x="0" y="3660"/>
                      <a:pt x="0" y="3426"/>
                    </a:cubicBezTo>
                    <a:cubicBezTo>
                      <a:pt x="0" y="3192"/>
                      <a:pt x="124" y="2975"/>
                      <a:pt x="326" y="2857"/>
                    </a:cubicBezTo>
                    <a:lnTo>
                      <a:pt x="5031" y="91"/>
                    </a:lnTo>
                    <a:cubicBezTo>
                      <a:pt x="5345" y="-94"/>
                      <a:pt x="5750" y="12"/>
                      <a:pt x="5935" y="326"/>
                    </a:cubicBezTo>
                    <a:cubicBezTo>
                      <a:pt x="6120" y="640"/>
                      <a:pt x="6015" y="1045"/>
                      <a:pt x="5700" y="1230"/>
                    </a:cubicBezTo>
                    <a:lnTo>
                      <a:pt x="1965" y="3426"/>
                    </a:lnTo>
                    <a:lnTo>
                      <a:pt x="5700" y="5621"/>
                    </a:lnTo>
                    <a:cubicBezTo>
                      <a:pt x="6015" y="5806"/>
                      <a:pt x="6120" y="6211"/>
                      <a:pt x="5935" y="6525"/>
                    </a:cubicBezTo>
                    <a:cubicBezTo>
                      <a:pt x="5812" y="6735"/>
                      <a:pt x="5591" y="6852"/>
                      <a:pt x="5365" y="685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8" name="Freeform: Shape 167">
                <a:extLst>
                  <a:ext uri="{FF2B5EF4-FFF2-40B4-BE49-F238E27FC236}">
                    <a16:creationId xmlns:a16="http://schemas.microsoft.com/office/drawing/2014/main" id="{4971047C-BC14-2F37-D2E5-EE40639AB34C}"/>
                  </a:ext>
                </a:extLst>
              </p:cNvPr>
              <p:cNvSpPr/>
              <p:nvPr/>
            </p:nvSpPr>
            <p:spPr>
              <a:xfrm>
                <a:off x="845324" y="2525855"/>
                <a:ext cx="33182" cy="37724"/>
              </a:xfrm>
              <a:custGeom>
                <a:avLst/>
                <a:gdLst>
                  <a:gd name="connsiteX0" fmla="*/ 661 w 6026"/>
                  <a:gd name="connsiteY0" fmla="*/ 6852 h 6851"/>
                  <a:gd name="connsiteX1" fmla="*/ 91 w 6026"/>
                  <a:gd name="connsiteY1" fmla="*/ 6525 h 6851"/>
                  <a:gd name="connsiteX2" fmla="*/ 326 w 6026"/>
                  <a:gd name="connsiteY2" fmla="*/ 5621 h 6851"/>
                  <a:gd name="connsiteX3" fmla="*/ 4061 w 6026"/>
                  <a:gd name="connsiteY3" fmla="*/ 3426 h 6851"/>
                  <a:gd name="connsiteX4" fmla="*/ 326 w 6026"/>
                  <a:gd name="connsiteY4" fmla="*/ 1230 h 6851"/>
                  <a:gd name="connsiteX5" fmla="*/ 91 w 6026"/>
                  <a:gd name="connsiteY5" fmla="*/ 326 h 6851"/>
                  <a:gd name="connsiteX6" fmla="*/ 996 w 6026"/>
                  <a:gd name="connsiteY6" fmla="*/ 91 h 6851"/>
                  <a:gd name="connsiteX7" fmla="*/ 5700 w 6026"/>
                  <a:gd name="connsiteY7" fmla="*/ 2857 h 6851"/>
                  <a:gd name="connsiteX8" fmla="*/ 6026 w 6026"/>
                  <a:gd name="connsiteY8" fmla="*/ 3426 h 6851"/>
                  <a:gd name="connsiteX9" fmla="*/ 5700 w 6026"/>
                  <a:gd name="connsiteY9" fmla="*/ 3996 h 6851"/>
                  <a:gd name="connsiteX10" fmla="*/ 996 w 6026"/>
                  <a:gd name="connsiteY10" fmla="*/ 6760 h 6851"/>
                  <a:gd name="connsiteX11" fmla="*/ 661 w 6026"/>
                  <a:gd name="connsiteY11" fmla="*/ 6852 h 6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26" h="6851">
                    <a:moveTo>
                      <a:pt x="661" y="6852"/>
                    </a:moveTo>
                    <a:cubicBezTo>
                      <a:pt x="435" y="6852"/>
                      <a:pt x="214" y="6735"/>
                      <a:pt x="91" y="6525"/>
                    </a:cubicBezTo>
                    <a:cubicBezTo>
                      <a:pt x="-94" y="6211"/>
                      <a:pt x="11" y="5806"/>
                      <a:pt x="326" y="5621"/>
                    </a:cubicBezTo>
                    <a:lnTo>
                      <a:pt x="4061" y="3426"/>
                    </a:lnTo>
                    <a:lnTo>
                      <a:pt x="326" y="1230"/>
                    </a:lnTo>
                    <a:cubicBezTo>
                      <a:pt x="11" y="1045"/>
                      <a:pt x="-94" y="640"/>
                      <a:pt x="91" y="326"/>
                    </a:cubicBezTo>
                    <a:cubicBezTo>
                      <a:pt x="276" y="12"/>
                      <a:pt x="681" y="-94"/>
                      <a:pt x="996" y="91"/>
                    </a:cubicBezTo>
                    <a:lnTo>
                      <a:pt x="5700" y="2857"/>
                    </a:lnTo>
                    <a:cubicBezTo>
                      <a:pt x="5902" y="2975"/>
                      <a:pt x="6026" y="3192"/>
                      <a:pt x="6026" y="3426"/>
                    </a:cubicBezTo>
                    <a:cubicBezTo>
                      <a:pt x="6026" y="3660"/>
                      <a:pt x="5902" y="3876"/>
                      <a:pt x="5700" y="3996"/>
                    </a:cubicBezTo>
                    <a:lnTo>
                      <a:pt x="996" y="6760"/>
                    </a:lnTo>
                    <a:cubicBezTo>
                      <a:pt x="890" y="6822"/>
                      <a:pt x="775" y="6852"/>
                      <a:pt x="661" y="685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57" name="Freeform: Shape 156">
              <a:extLst>
                <a:ext uri="{FF2B5EF4-FFF2-40B4-BE49-F238E27FC236}">
                  <a16:creationId xmlns:a16="http://schemas.microsoft.com/office/drawing/2014/main" id="{CE41C6EA-1731-E1CD-D1EA-00CE1A3143F1}"/>
                </a:ext>
              </a:extLst>
            </p:cNvPr>
            <p:cNvSpPr/>
            <p:nvPr/>
          </p:nvSpPr>
          <p:spPr>
            <a:xfrm>
              <a:off x="686086" y="2579741"/>
              <a:ext cx="164932" cy="146811"/>
            </a:xfrm>
            <a:custGeom>
              <a:avLst/>
              <a:gdLst>
                <a:gd name="connsiteX0" fmla="*/ 14976 w 29952"/>
                <a:gd name="connsiteY0" fmla="*/ 1321 h 26662"/>
                <a:gd name="connsiteX1" fmla="*/ 13729 w 29952"/>
                <a:gd name="connsiteY1" fmla="*/ 2042 h 26662"/>
                <a:gd name="connsiteX2" fmla="*/ 1525 w 29952"/>
                <a:gd name="connsiteY2" fmla="*/ 23181 h 26662"/>
                <a:gd name="connsiteX3" fmla="*/ 1525 w 29952"/>
                <a:gd name="connsiteY3" fmla="*/ 24620 h 26662"/>
                <a:gd name="connsiteX4" fmla="*/ 2772 w 29952"/>
                <a:gd name="connsiteY4" fmla="*/ 25341 h 26662"/>
                <a:gd name="connsiteX5" fmla="*/ 27181 w 29952"/>
                <a:gd name="connsiteY5" fmla="*/ 25341 h 26662"/>
                <a:gd name="connsiteX6" fmla="*/ 28428 w 29952"/>
                <a:gd name="connsiteY6" fmla="*/ 24622 h 26662"/>
                <a:gd name="connsiteX7" fmla="*/ 28428 w 29952"/>
                <a:gd name="connsiteY7" fmla="*/ 23181 h 26662"/>
                <a:gd name="connsiteX8" fmla="*/ 16224 w 29952"/>
                <a:gd name="connsiteY8" fmla="*/ 2042 h 26662"/>
                <a:gd name="connsiteX9" fmla="*/ 14976 w 29952"/>
                <a:gd name="connsiteY9" fmla="*/ 1321 h 26662"/>
                <a:gd name="connsiteX10" fmla="*/ 27181 w 29952"/>
                <a:gd name="connsiteY10" fmla="*/ 26662 h 26662"/>
                <a:gd name="connsiteX11" fmla="*/ 2772 w 29952"/>
                <a:gd name="connsiteY11" fmla="*/ 26662 h 26662"/>
                <a:gd name="connsiteX12" fmla="*/ 380 w 29952"/>
                <a:gd name="connsiteY12" fmla="*/ 25282 h 26662"/>
                <a:gd name="connsiteX13" fmla="*/ 0 w 29952"/>
                <a:gd name="connsiteY13" fmla="*/ 23901 h 26662"/>
                <a:gd name="connsiteX14" fmla="*/ 380 w 29952"/>
                <a:gd name="connsiteY14" fmla="*/ 22520 h 26662"/>
                <a:gd name="connsiteX15" fmla="*/ 12584 w 29952"/>
                <a:gd name="connsiteY15" fmla="*/ 1381 h 26662"/>
                <a:gd name="connsiteX16" fmla="*/ 14976 w 29952"/>
                <a:gd name="connsiteY16" fmla="*/ 0 h 26662"/>
                <a:gd name="connsiteX17" fmla="*/ 17369 w 29952"/>
                <a:gd name="connsiteY17" fmla="*/ 1381 h 26662"/>
                <a:gd name="connsiteX18" fmla="*/ 29573 w 29952"/>
                <a:gd name="connsiteY18" fmla="*/ 22520 h 26662"/>
                <a:gd name="connsiteX19" fmla="*/ 29573 w 29952"/>
                <a:gd name="connsiteY19" fmla="*/ 25282 h 26662"/>
                <a:gd name="connsiteX20" fmla="*/ 27181 w 29952"/>
                <a:gd name="connsiteY20" fmla="*/ 26662 h 26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952" h="26662">
                  <a:moveTo>
                    <a:pt x="14976" y="1321"/>
                  </a:moveTo>
                  <a:cubicBezTo>
                    <a:pt x="14440" y="1321"/>
                    <a:pt x="13997" y="1577"/>
                    <a:pt x="13729" y="2042"/>
                  </a:cubicBezTo>
                  <a:lnTo>
                    <a:pt x="1525" y="23181"/>
                  </a:lnTo>
                  <a:cubicBezTo>
                    <a:pt x="1256" y="23645"/>
                    <a:pt x="1256" y="24157"/>
                    <a:pt x="1525" y="24620"/>
                  </a:cubicBezTo>
                  <a:cubicBezTo>
                    <a:pt x="1793" y="25085"/>
                    <a:pt x="2236" y="25341"/>
                    <a:pt x="2772" y="25341"/>
                  </a:cubicBezTo>
                  <a:lnTo>
                    <a:pt x="27181" y="25341"/>
                  </a:lnTo>
                  <a:cubicBezTo>
                    <a:pt x="27717" y="25341"/>
                    <a:pt x="28160" y="25085"/>
                    <a:pt x="28428" y="24622"/>
                  </a:cubicBezTo>
                  <a:cubicBezTo>
                    <a:pt x="28696" y="24157"/>
                    <a:pt x="28696" y="23645"/>
                    <a:pt x="28428" y="23181"/>
                  </a:cubicBezTo>
                  <a:lnTo>
                    <a:pt x="16224" y="2042"/>
                  </a:lnTo>
                  <a:cubicBezTo>
                    <a:pt x="15956" y="1577"/>
                    <a:pt x="15513" y="1322"/>
                    <a:pt x="14976" y="1321"/>
                  </a:cubicBezTo>
                  <a:close/>
                  <a:moveTo>
                    <a:pt x="27181" y="26662"/>
                  </a:moveTo>
                  <a:lnTo>
                    <a:pt x="2772" y="26662"/>
                  </a:lnTo>
                  <a:cubicBezTo>
                    <a:pt x="1759" y="26662"/>
                    <a:pt x="887" y="26160"/>
                    <a:pt x="380" y="25282"/>
                  </a:cubicBezTo>
                  <a:cubicBezTo>
                    <a:pt x="127" y="24843"/>
                    <a:pt x="0" y="24372"/>
                    <a:pt x="0" y="23901"/>
                  </a:cubicBezTo>
                  <a:cubicBezTo>
                    <a:pt x="0" y="23430"/>
                    <a:pt x="127" y="22959"/>
                    <a:pt x="380" y="22520"/>
                  </a:cubicBezTo>
                  <a:lnTo>
                    <a:pt x="12584" y="1381"/>
                  </a:lnTo>
                  <a:cubicBezTo>
                    <a:pt x="13091" y="504"/>
                    <a:pt x="13963" y="0"/>
                    <a:pt x="14976" y="0"/>
                  </a:cubicBezTo>
                  <a:cubicBezTo>
                    <a:pt x="15990" y="0"/>
                    <a:pt x="16862" y="504"/>
                    <a:pt x="17369" y="1381"/>
                  </a:cubicBezTo>
                  <a:lnTo>
                    <a:pt x="29573" y="22520"/>
                  </a:lnTo>
                  <a:cubicBezTo>
                    <a:pt x="30080" y="23397"/>
                    <a:pt x="30080" y="24404"/>
                    <a:pt x="29573" y="25282"/>
                  </a:cubicBezTo>
                  <a:cubicBezTo>
                    <a:pt x="29066" y="26160"/>
                    <a:pt x="28194" y="26662"/>
                    <a:pt x="27181" y="2666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8" name="Freeform: Shape 157">
              <a:extLst>
                <a:ext uri="{FF2B5EF4-FFF2-40B4-BE49-F238E27FC236}">
                  <a16:creationId xmlns:a16="http://schemas.microsoft.com/office/drawing/2014/main" id="{2AF3ACF6-4BF6-A3D0-C517-4EBFB7D923C9}"/>
                </a:ext>
              </a:extLst>
            </p:cNvPr>
            <p:cNvSpPr/>
            <p:nvPr/>
          </p:nvSpPr>
          <p:spPr>
            <a:xfrm>
              <a:off x="754753" y="2618924"/>
              <a:ext cx="27593" cy="56986"/>
            </a:xfrm>
            <a:custGeom>
              <a:avLst/>
              <a:gdLst>
                <a:gd name="connsiteX0" fmla="*/ 1356 w 5011"/>
                <a:gd name="connsiteY0" fmla="*/ 9028 h 10349"/>
                <a:gd name="connsiteX1" fmla="*/ 3656 w 5011"/>
                <a:gd name="connsiteY1" fmla="*/ 9028 h 10349"/>
                <a:gd name="connsiteX2" fmla="*/ 3269 w 5011"/>
                <a:gd name="connsiteY2" fmla="*/ 1321 h 10349"/>
                <a:gd name="connsiteX3" fmla="*/ 1743 w 5011"/>
                <a:gd name="connsiteY3" fmla="*/ 1321 h 10349"/>
                <a:gd name="connsiteX4" fmla="*/ 1356 w 5011"/>
                <a:gd name="connsiteY4" fmla="*/ 9028 h 10349"/>
                <a:gd name="connsiteX5" fmla="*/ 4351 w 5011"/>
                <a:gd name="connsiteY5" fmla="*/ 10349 h 10349"/>
                <a:gd name="connsiteX6" fmla="*/ 661 w 5011"/>
                <a:gd name="connsiteY6" fmla="*/ 10349 h 10349"/>
                <a:gd name="connsiteX7" fmla="*/ 182 w 5011"/>
                <a:gd name="connsiteY7" fmla="*/ 10144 h 10349"/>
                <a:gd name="connsiteX8" fmla="*/ 1 w 5011"/>
                <a:gd name="connsiteY8" fmla="*/ 9655 h 10349"/>
                <a:gd name="connsiteX9" fmla="*/ 455 w 5011"/>
                <a:gd name="connsiteY9" fmla="*/ 627 h 10349"/>
                <a:gd name="connsiteX10" fmla="*/ 1115 w 5011"/>
                <a:gd name="connsiteY10" fmla="*/ 0 h 10349"/>
                <a:gd name="connsiteX11" fmla="*/ 3897 w 5011"/>
                <a:gd name="connsiteY11" fmla="*/ 0 h 10349"/>
                <a:gd name="connsiteX12" fmla="*/ 4557 w 5011"/>
                <a:gd name="connsiteY12" fmla="*/ 627 h 10349"/>
                <a:gd name="connsiteX13" fmla="*/ 5011 w 5011"/>
                <a:gd name="connsiteY13" fmla="*/ 9655 h 10349"/>
                <a:gd name="connsiteX14" fmla="*/ 4830 w 5011"/>
                <a:gd name="connsiteY14" fmla="*/ 10144 h 10349"/>
                <a:gd name="connsiteX15" fmla="*/ 4351 w 5011"/>
                <a:gd name="connsiteY15" fmla="*/ 10349 h 10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11" h="10349">
                  <a:moveTo>
                    <a:pt x="1356" y="9028"/>
                  </a:moveTo>
                  <a:lnTo>
                    <a:pt x="3656" y="9028"/>
                  </a:lnTo>
                  <a:lnTo>
                    <a:pt x="3269" y="1321"/>
                  </a:lnTo>
                  <a:lnTo>
                    <a:pt x="1743" y="1321"/>
                  </a:lnTo>
                  <a:lnTo>
                    <a:pt x="1356" y="9028"/>
                  </a:lnTo>
                  <a:close/>
                  <a:moveTo>
                    <a:pt x="4351" y="10349"/>
                  </a:moveTo>
                  <a:lnTo>
                    <a:pt x="661" y="10349"/>
                  </a:lnTo>
                  <a:cubicBezTo>
                    <a:pt x="480" y="10349"/>
                    <a:pt x="307" y="10275"/>
                    <a:pt x="182" y="10144"/>
                  </a:cubicBezTo>
                  <a:cubicBezTo>
                    <a:pt x="57" y="10012"/>
                    <a:pt x="-8" y="9835"/>
                    <a:pt x="1" y="9655"/>
                  </a:cubicBezTo>
                  <a:lnTo>
                    <a:pt x="455" y="627"/>
                  </a:lnTo>
                  <a:cubicBezTo>
                    <a:pt x="473" y="276"/>
                    <a:pt x="763" y="0"/>
                    <a:pt x="1115" y="0"/>
                  </a:cubicBezTo>
                  <a:lnTo>
                    <a:pt x="3897" y="0"/>
                  </a:lnTo>
                  <a:cubicBezTo>
                    <a:pt x="4249" y="0"/>
                    <a:pt x="4539" y="276"/>
                    <a:pt x="4557" y="627"/>
                  </a:cubicBezTo>
                  <a:lnTo>
                    <a:pt x="5011" y="9655"/>
                  </a:lnTo>
                  <a:cubicBezTo>
                    <a:pt x="5020" y="9835"/>
                    <a:pt x="4955" y="10012"/>
                    <a:pt x="4830" y="10144"/>
                  </a:cubicBezTo>
                  <a:cubicBezTo>
                    <a:pt x="4705" y="10275"/>
                    <a:pt x="4532" y="10349"/>
                    <a:pt x="4351" y="103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4" name="Freeform: Shape 163">
              <a:extLst>
                <a:ext uri="{FF2B5EF4-FFF2-40B4-BE49-F238E27FC236}">
                  <a16:creationId xmlns:a16="http://schemas.microsoft.com/office/drawing/2014/main" id="{AB68956A-0F66-591C-C311-0AE6692302B4}"/>
                </a:ext>
              </a:extLst>
            </p:cNvPr>
            <p:cNvSpPr/>
            <p:nvPr/>
          </p:nvSpPr>
          <p:spPr>
            <a:xfrm>
              <a:off x="754753" y="2683795"/>
              <a:ext cx="27593" cy="25406"/>
            </a:xfrm>
            <a:custGeom>
              <a:avLst/>
              <a:gdLst>
                <a:gd name="connsiteX0" fmla="*/ 1321 w 5011"/>
                <a:gd name="connsiteY0" fmla="*/ 3293 h 4614"/>
                <a:gd name="connsiteX1" fmla="*/ 3690 w 5011"/>
                <a:gd name="connsiteY1" fmla="*/ 3293 h 4614"/>
                <a:gd name="connsiteX2" fmla="*/ 3690 w 5011"/>
                <a:gd name="connsiteY2" fmla="*/ 1322 h 4614"/>
                <a:gd name="connsiteX3" fmla="*/ 1321 w 5011"/>
                <a:gd name="connsiteY3" fmla="*/ 1322 h 4614"/>
                <a:gd name="connsiteX4" fmla="*/ 1321 w 5011"/>
                <a:gd name="connsiteY4" fmla="*/ 3293 h 4614"/>
                <a:gd name="connsiteX5" fmla="*/ 4351 w 5011"/>
                <a:gd name="connsiteY5" fmla="*/ 4615 h 4614"/>
                <a:gd name="connsiteX6" fmla="*/ 661 w 5011"/>
                <a:gd name="connsiteY6" fmla="*/ 4615 h 4614"/>
                <a:gd name="connsiteX7" fmla="*/ 0 w 5011"/>
                <a:gd name="connsiteY7" fmla="*/ 3954 h 4614"/>
                <a:gd name="connsiteX8" fmla="*/ 0 w 5011"/>
                <a:gd name="connsiteY8" fmla="*/ 661 h 4614"/>
                <a:gd name="connsiteX9" fmla="*/ 661 w 5011"/>
                <a:gd name="connsiteY9" fmla="*/ 0 h 4614"/>
                <a:gd name="connsiteX10" fmla="*/ 4351 w 5011"/>
                <a:gd name="connsiteY10" fmla="*/ 0 h 4614"/>
                <a:gd name="connsiteX11" fmla="*/ 5012 w 5011"/>
                <a:gd name="connsiteY11" fmla="*/ 661 h 4614"/>
                <a:gd name="connsiteX12" fmla="*/ 5012 w 5011"/>
                <a:gd name="connsiteY12" fmla="*/ 3954 h 4614"/>
                <a:gd name="connsiteX13" fmla="*/ 4351 w 5011"/>
                <a:gd name="connsiteY13" fmla="*/ 4615 h 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11" h="4614">
                  <a:moveTo>
                    <a:pt x="1321" y="3293"/>
                  </a:moveTo>
                  <a:lnTo>
                    <a:pt x="3690" y="3293"/>
                  </a:lnTo>
                  <a:lnTo>
                    <a:pt x="3690" y="1322"/>
                  </a:lnTo>
                  <a:lnTo>
                    <a:pt x="1321" y="1322"/>
                  </a:lnTo>
                  <a:lnTo>
                    <a:pt x="1321" y="3293"/>
                  </a:lnTo>
                  <a:close/>
                  <a:moveTo>
                    <a:pt x="4351" y="4615"/>
                  </a:moveTo>
                  <a:lnTo>
                    <a:pt x="661" y="4615"/>
                  </a:lnTo>
                  <a:cubicBezTo>
                    <a:pt x="296" y="4615"/>
                    <a:pt x="0" y="4319"/>
                    <a:pt x="0" y="3954"/>
                  </a:cubicBezTo>
                  <a:lnTo>
                    <a:pt x="0" y="661"/>
                  </a:lnTo>
                  <a:cubicBezTo>
                    <a:pt x="0" y="296"/>
                    <a:pt x="296" y="0"/>
                    <a:pt x="661" y="0"/>
                  </a:cubicBezTo>
                  <a:lnTo>
                    <a:pt x="4351" y="0"/>
                  </a:lnTo>
                  <a:cubicBezTo>
                    <a:pt x="4716" y="0"/>
                    <a:pt x="5012" y="296"/>
                    <a:pt x="5012" y="661"/>
                  </a:cubicBezTo>
                  <a:lnTo>
                    <a:pt x="5012" y="3954"/>
                  </a:lnTo>
                  <a:cubicBezTo>
                    <a:pt x="5012" y="4319"/>
                    <a:pt x="4716" y="4615"/>
                    <a:pt x="4351" y="461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70" name="Graphic 156">
            <a:extLst>
              <a:ext uri="{FF2B5EF4-FFF2-40B4-BE49-F238E27FC236}">
                <a16:creationId xmlns:a16="http://schemas.microsoft.com/office/drawing/2014/main" id="{2E4BD693-7534-6C48-A43E-266A6249ACF5}"/>
              </a:ext>
            </a:extLst>
          </p:cNvPr>
          <p:cNvGrpSpPr/>
          <p:nvPr/>
        </p:nvGrpSpPr>
        <p:grpSpPr>
          <a:xfrm>
            <a:off x="583333" y="3111915"/>
            <a:ext cx="327508" cy="257380"/>
            <a:chOff x="-1802062" y="2190146"/>
            <a:chExt cx="952976" cy="748918"/>
          </a:xfrm>
          <a:solidFill>
            <a:schemeClr val="bg1"/>
          </a:solidFill>
        </p:grpSpPr>
        <p:sp>
          <p:nvSpPr>
            <p:cNvPr id="171" name="Freeform: Shape 170">
              <a:extLst>
                <a:ext uri="{FF2B5EF4-FFF2-40B4-BE49-F238E27FC236}">
                  <a16:creationId xmlns:a16="http://schemas.microsoft.com/office/drawing/2014/main" id="{2AC593BE-2FE2-451D-B4C5-99459DC84F3B}"/>
                </a:ext>
              </a:extLst>
            </p:cNvPr>
            <p:cNvSpPr/>
            <p:nvPr/>
          </p:nvSpPr>
          <p:spPr>
            <a:xfrm>
              <a:off x="-1802062" y="2190146"/>
              <a:ext cx="952976" cy="748918"/>
            </a:xfrm>
            <a:custGeom>
              <a:avLst/>
              <a:gdLst>
                <a:gd name="connsiteX0" fmla="*/ 950119 w 952976"/>
                <a:gd name="connsiteY0" fmla="*/ 3111 h 748918"/>
                <a:gd name="connsiteX1" fmla="*/ 941546 w 952976"/>
                <a:gd name="connsiteY1" fmla="*/ 253 h 748918"/>
                <a:gd name="connsiteX2" fmla="*/ 503396 w 952976"/>
                <a:gd name="connsiteY2" fmla="*/ 47878 h 748918"/>
                <a:gd name="connsiteX3" fmla="*/ 493871 w 952976"/>
                <a:gd name="connsiteY3" fmla="*/ 55498 h 748918"/>
                <a:gd name="connsiteX4" fmla="*/ 496729 w 952976"/>
                <a:gd name="connsiteY4" fmla="*/ 66928 h 748918"/>
                <a:gd name="connsiteX5" fmla="*/ 612934 w 952976"/>
                <a:gd name="connsiteY5" fmla="*/ 184086 h 748918"/>
                <a:gd name="connsiteX6" fmla="*/ 552926 w 952976"/>
                <a:gd name="connsiteY6" fmla="*/ 244093 h 748918"/>
                <a:gd name="connsiteX7" fmla="*/ 474821 w 952976"/>
                <a:gd name="connsiteY7" fmla="*/ 87883 h 748918"/>
                <a:gd name="connsiteX8" fmla="*/ 81439 w 952976"/>
                <a:gd name="connsiteY8" fmla="*/ 87883 h 748918"/>
                <a:gd name="connsiteX9" fmla="*/ 81439 w 952976"/>
                <a:gd name="connsiteY9" fmla="*/ 480313 h 748918"/>
                <a:gd name="connsiteX10" fmla="*/ 237649 w 952976"/>
                <a:gd name="connsiteY10" fmla="*/ 558418 h 748918"/>
                <a:gd name="connsiteX11" fmla="*/ 206216 w 952976"/>
                <a:gd name="connsiteY11" fmla="*/ 589851 h 748918"/>
                <a:gd name="connsiteX12" fmla="*/ 206216 w 952976"/>
                <a:gd name="connsiteY12" fmla="*/ 605091 h 748918"/>
                <a:gd name="connsiteX13" fmla="*/ 347186 w 952976"/>
                <a:gd name="connsiteY13" fmla="*/ 746061 h 748918"/>
                <a:gd name="connsiteX14" fmla="*/ 354806 w 952976"/>
                <a:gd name="connsiteY14" fmla="*/ 748918 h 748918"/>
                <a:gd name="connsiteX15" fmla="*/ 362426 w 952976"/>
                <a:gd name="connsiteY15" fmla="*/ 746061 h 748918"/>
                <a:gd name="connsiteX16" fmla="*/ 769144 w 952976"/>
                <a:gd name="connsiteY16" fmla="*/ 340296 h 748918"/>
                <a:gd name="connsiteX17" fmla="*/ 886301 w 952976"/>
                <a:gd name="connsiteY17" fmla="*/ 457453 h 748918"/>
                <a:gd name="connsiteX18" fmla="*/ 897731 w 952976"/>
                <a:gd name="connsiteY18" fmla="*/ 460311 h 748918"/>
                <a:gd name="connsiteX19" fmla="*/ 905351 w 952976"/>
                <a:gd name="connsiteY19" fmla="*/ 450786 h 748918"/>
                <a:gd name="connsiteX20" fmla="*/ 952976 w 952976"/>
                <a:gd name="connsiteY20" fmla="*/ 12636 h 748918"/>
                <a:gd name="connsiteX21" fmla="*/ 950119 w 952976"/>
                <a:gd name="connsiteY21" fmla="*/ 3111 h 748918"/>
                <a:gd name="connsiteX22" fmla="*/ 97631 w 952976"/>
                <a:gd name="connsiteY22" fmla="*/ 103123 h 748918"/>
                <a:gd name="connsiteX23" fmla="*/ 97631 w 952976"/>
                <a:gd name="connsiteY23" fmla="*/ 103123 h 748918"/>
                <a:gd name="connsiteX24" fmla="*/ 459581 w 952976"/>
                <a:gd name="connsiteY24" fmla="*/ 103123 h 748918"/>
                <a:gd name="connsiteX25" fmla="*/ 459581 w 952976"/>
                <a:gd name="connsiteY25" fmla="*/ 465073 h 748918"/>
                <a:gd name="connsiteX26" fmla="*/ 278606 w 952976"/>
                <a:gd name="connsiteY26" fmla="*/ 539368 h 748918"/>
                <a:gd name="connsiteX27" fmla="*/ 97631 w 952976"/>
                <a:gd name="connsiteY27" fmla="*/ 465073 h 748918"/>
                <a:gd name="connsiteX28" fmla="*/ 97631 w 952976"/>
                <a:gd name="connsiteY28" fmla="*/ 103123 h 748918"/>
                <a:gd name="connsiteX29" fmla="*/ 885349 w 952976"/>
                <a:gd name="connsiteY29" fmla="*/ 425068 h 748918"/>
                <a:gd name="connsiteX30" fmla="*/ 776764 w 952976"/>
                <a:gd name="connsiteY30" fmla="*/ 316483 h 748918"/>
                <a:gd name="connsiteX31" fmla="*/ 761524 w 952976"/>
                <a:gd name="connsiteY31" fmla="*/ 316483 h 748918"/>
                <a:gd name="connsiteX32" fmla="*/ 354806 w 952976"/>
                <a:gd name="connsiteY32" fmla="*/ 723201 h 748918"/>
                <a:gd name="connsiteX33" fmla="*/ 230029 w 952976"/>
                <a:gd name="connsiteY33" fmla="*/ 597471 h 748918"/>
                <a:gd name="connsiteX34" fmla="*/ 266224 w 952976"/>
                <a:gd name="connsiteY34" fmla="*/ 561276 h 748918"/>
                <a:gd name="connsiteX35" fmla="*/ 277654 w 952976"/>
                <a:gd name="connsiteY35" fmla="*/ 561276 h 748918"/>
                <a:gd name="connsiteX36" fmla="*/ 473869 w 952976"/>
                <a:gd name="connsiteY36" fmla="*/ 480313 h 748918"/>
                <a:gd name="connsiteX37" fmla="*/ 554831 w 952976"/>
                <a:gd name="connsiteY37" fmla="*/ 272668 h 748918"/>
                <a:gd name="connsiteX38" fmla="*/ 635794 w 952976"/>
                <a:gd name="connsiteY38" fmla="*/ 191706 h 748918"/>
                <a:gd name="connsiteX39" fmla="*/ 638651 w 952976"/>
                <a:gd name="connsiteY39" fmla="*/ 184086 h 748918"/>
                <a:gd name="connsiteX40" fmla="*/ 635794 w 952976"/>
                <a:gd name="connsiteY40" fmla="*/ 176466 h 748918"/>
                <a:gd name="connsiteX41" fmla="*/ 527209 w 952976"/>
                <a:gd name="connsiteY41" fmla="*/ 66928 h 748918"/>
                <a:gd name="connsiteX42" fmla="*/ 929164 w 952976"/>
                <a:gd name="connsiteY42" fmla="*/ 23113 h 748918"/>
                <a:gd name="connsiteX43" fmla="*/ 885349 w 952976"/>
                <a:gd name="connsiteY43" fmla="*/ 425068 h 74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952976" h="748918">
                  <a:moveTo>
                    <a:pt x="950119" y="3111"/>
                  </a:moveTo>
                  <a:cubicBezTo>
                    <a:pt x="948214" y="1206"/>
                    <a:pt x="944404" y="-699"/>
                    <a:pt x="941546" y="253"/>
                  </a:cubicBezTo>
                  <a:lnTo>
                    <a:pt x="503396" y="47878"/>
                  </a:lnTo>
                  <a:cubicBezTo>
                    <a:pt x="499586" y="47878"/>
                    <a:pt x="495776" y="50736"/>
                    <a:pt x="493871" y="55498"/>
                  </a:cubicBezTo>
                  <a:cubicBezTo>
                    <a:pt x="492919" y="59308"/>
                    <a:pt x="493871" y="64071"/>
                    <a:pt x="496729" y="66928"/>
                  </a:cubicBezTo>
                  <a:lnTo>
                    <a:pt x="612934" y="184086"/>
                  </a:lnTo>
                  <a:lnTo>
                    <a:pt x="552926" y="244093"/>
                  </a:lnTo>
                  <a:cubicBezTo>
                    <a:pt x="544354" y="186943"/>
                    <a:pt x="518636" y="131698"/>
                    <a:pt x="474821" y="87883"/>
                  </a:cubicBezTo>
                  <a:cubicBezTo>
                    <a:pt x="366236" y="-20702"/>
                    <a:pt x="190024" y="-20702"/>
                    <a:pt x="81439" y="87883"/>
                  </a:cubicBezTo>
                  <a:cubicBezTo>
                    <a:pt x="-27146" y="196468"/>
                    <a:pt x="-27146" y="372681"/>
                    <a:pt x="81439" y="480313"/>
                  </a:cubicBezTo>
                  <a:cubicBezTo>
                    <a:pt x="125254" y="524128"/>
                    <a:pt x="180499" y="549846"/>
                    <a:pt x="237649" y="558418"/>
                  </a:cubicBezTo>
                  <a:lnTo>
                    <a:pt x="206216" y="589851"/>
                  </a:lnTo>
                  <a:cubicBezTo>
                    <a:pt x="201454" y="594613"/>
                    <a:pt x="201454" y="601281"/>
                    <a:pt x="206216" y="605091"/>
                  </a:cubicBezTo>
                  <a:lnTo>
                    <a:pt x="347186" y="746061"/>
                  </a:lnTo>
                  <a:cubicBezTo>
                    <a:pt x="349091" y="747966"/>
                    <a:pt x="351949" y="748918"/>
                    <a:pt x="354806" y="748918"/>
                  </a:cubicBezTo>
                  <a:cubicBezTo>
                    <a:pt x="357664" y="748918"/>
                    <a:pt x="360521" y="747966"/>
                    <a:pt x="362426" y="746061"/>
                  </a:cubicBezTo>
                  <a:lnTo>
                    <a:pt x="769144" y="340296"/>
                  </a:lnTo>
                  <a:lnTo>
                    <a:pt x="886301" y="457453"/>
                  </a:lnTo>
                  <a:cubicBezTo>
                    <a:pt x="889159" y="460311"/>
                    <a:pt x="893921" y="461263"/>
                    <a:pt x="897731" y="460311"/>
                  </a:cubicBezTo>
                  <a:cubicBezTo>
                    <a:pt x="901541" y="459358"/>
                    <a:pt x="904399" y="455548"/>
                    <a:pt x="905351" y="450786"/>
                  </a:cubicBezTo>
                  <a:lnTo>
                    <a:pt x="952976" y="12636"/>
                  </a:lnTo>
                  <a:cubicBezTo>
                    <a:pt x="952976" y="8826"/>
                    <a:pt x="952024" y="5016"/>
                    <a:pt x="950119" y="3111"/>
                  </a:cubicBezTo>
                  <a:close/>
                  <a:moveTo>
                    <a:pt x="97631" y="103123"/>
                  </a:moveTo>
                  <a:lnTo>
                    <a:pt x="97631" y="103123"/>
                  </a:lnTo>
                  <a:cubicBezTo>
                    <a:pt x="197644" y="3111"/>
                    <a:pt x="359569" y="3111"/>
                    <a:pt x="459581" y="103123"/>
                  </a:cubicBezTo>
                  <a:cubicBezTo>
                    <a:pt x="559594" y="203136"/>
                    <a:pt x="559594" y="365061"/>
                    <a:pt x="459581" y="465073"/>
                  </a:cubicBezTo>
                  <a:cubicBezTo>
                    <a:pt x="410051" y="514603"/>
                    <a:pt x="344329" y="539368"/>
                    <a:pt x="278606" y="539368"/>
                  </a:cubicBezTo>
                  <a:cubicBezTo>
                    <a:pt x="212884" y="539368"/>
                    <a:pt x="148114" y="514603"/>
                    <a:pt x="97631" y="465073"/>
                  </a:cubicBezTo>
                  <a:cubicBezTo>
                    <a:pt x="-2381" y="365061"/>
                    <a:pt x="-2381" y="203136"/>
                    <a:pt x="97631" y="103123"/>
                  </a:cubicBezTo>
                  <a:close/>
                  <a:moveTo>
                    <a:pt x="885349" y="425068"/>
                  </a:moveTo>
                  <a:lnTo>
                    <a:pt x="776764" y="316483"/>
                  </a:lnTo>
                  <a:cubicBezTo>
                    <a:pt x="772954" y="312673"/>
                    <a:pt x="765334" y="312673"/>
                    <a:pt x="761524" y="316483"/>
                  </a:cubicBezTo>
                  <a:lnTo>
                    <a:pt x="354806" y="723201"/>
                  </a:lnTo>
                  <a:lnTo>
                    <a:pt x="230029" y="597471"/>
                  </a:lnTo>
                  <a:lnTo>
                    <a:pt x="266224" y="561276"/>
                  </a:lnTo>
                  <a:cubicBezTo>
                    <a:pt x="270034" y="561276"/>
                    <a:pt x="273844" y="561276"/>
                    <a:pt x="277654" y="561276"/>
                  </a:cubicBezTo>
                  <a:cubicBezTo>
                    <a:pt x="349091" y="561276"/>
                    <a:pt x="419576" y="534606"/>
                    <a:pt x="473869" y="480313"/>
                  </a:cubicBezTo>
                  <a:cubicBezTo>
                    <a:pt x="531019" y="423163"/>
                    <a:pt x="557689" y="346963"/>
                    <a:pt x="554831" y="272668"/>
                  </a:cubicBezTo>
                  <a:lnTo>
                    <a:pt x="635794" y="191706"/>
                  </a:lnTo>
                  <a:cubicBezTo>
                    <a:pt x="637699" y="189801"/>
                    <a:pt x="638651" y="186943"/>
                    <a:pt x="638651" y="184086"/>
                  </a:cubicBezTo>
                  <a:cubicBezTo>
                    <a:pt x="638651" y="181228"/>
                    <a:pt x="637699" y="178371"/>
                    <a:pt x="635794" y="176466"/>
                  </a:cubicBezTo>
                  <a:lnTo>
                    <a:pt x="527209" y="66928"/>
                  </a:lnTo>
                  <a:lnTo>
                    <a:pt x="929164" y="23113"/>
                  </a:lnTo>
                  <a:lnTo>
                    <a:pt x="885349" y="42506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2" name="Freeform: Shape 171">
              <a:extLst>
                <a:ext uri="{FF2B5EF4-FFF2-40B4-BE49-F238E27FC236}">
                  <a16:creationId xmlns:a16="http://schemas.microsoft.com/office/drawing/2014/main" id="{EFABAFC8-3C1A-700B-ED9A-E1BBF61DB0E1}"/>
                </a:ext>
              </a:extLst>
            </p:cNvPr>
            <p:cNvSpPr/>
            <p:nvPr/>
          </p:nvSpPr>
          <p:spPr>
            <a:xfrm>
              <a:off x="-1670140" y="2484721"/>
              <a:ext cx="134540" cy="135255"/>
            </a:xfrm>
            <a:custGeom>
              <a:avLst/>
              <a:gdLst>
                <a:gd name="connsiteX0" fmla="*/ 115252 w 134540"/>
                <a:gd name="connsiteY0" fmla="*/ 20003 h 135255"/>
                <a:gd name="connsiteX1" fmla="*/ 67627 w 134540"/>
                <a:gd name="connsiteY1" fmla="*/ 0 h 135255"/>
                <a:gd name="connsiteX2" fmla="*/ 20002 w 134540"/>
                <a:gd name="connsiteY2" fmla="*/ 20003 h 135255"/>
                <a:gd name="connsiteX3" fmla="*/ 0 w 134540"/>
                <a:gd name="connsiteY3" fmla="*/ 67628 h 135255"/>
                <a:gd name="connsiteX4" fmla="*/ 20002 w 134540"/>
                <a:gd name="connsiteY4" fmla="*/ 115253 h 135255"/>
                <a:gd name="connsiteX5" fmla="*/ 67627 w 134540"/>
                <a:gd name="connsiteY5" fmla="*/ 135255 h 135255"/>
                <a:gd name="connsiteX6" fmla="*/ 115252 w 134540"/>
                <a:gd name="connsiteY6" fmla="*/ 115253 h 135255"/>
                <a:gd name="connsiteX7" fmla="*/ 115252 w 134540"/>
                <a:gd name="connsiteY7" fmla="*/ 20003 h 135255"/>
                <a:gd name="connsiteX8" fmla="*/ 115252 w 134540"/>
                <a:gd name="connsiteY8" fmla="*/ 20003 h 135255"/>
                <a:gd name="connsiteX9" fmla="*/ 100012 w 134540"/>
                <a:gd name="connsiteY9" fmla="*/ 100013 h 135255"/>
                <a:gd name="connsiteX10" fmla="*/ 36195 w 134540"/>
                <a:gd name="connsiteY10" fmla="*/ 100013 h 135255"/>
                <a:gd name="connsiteX11" fmla="*/ 22860 w 134540"/>
                <a:gd name="connsiteY11" fmla="*/ 68580 h 135255"/>
                <a:gd name="connsiteX12" fmla="*/ 36195 w 134540"/>
                <a:gd name="connsiteY12" fmla="*/ 37148 h 135255"/>
                <a:gd name="connsiteX13" fmla="*/ 67627 w 134540"/>
                <a:gd name="connsiteY13" fmla="*/ 23813 h 135255"/>
                <a:gd name="connsiteX14" fmla="*/ 99060 w 134540"/>
                <a:gd name="connsiteY14" fmla="*/ 37148 h 135255"/>
                <a:gd name="connsiteX15" fmla="*/ 99060 w 134540"/>
                <a:gd name="connsiteY15" fmla="*/ 37148 h 135255"/>
                <a:gd name="connsiteX16" fmla="*/ 100012 w 134540"/>
                <a:gd name="connsiteY16" fmla="*/ 100013 h 135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4540" h="135255">
                  <a:moveTo>
                    <a:pt x="115252" y="20003"/>
                  </a:moveTo>
                  <a:cubicBezTo>
                    <a:pt x="102870" y="7620"/>
                    <a:pt x="85725" y="0"/>
                    <a:pt x="67627" y="0"/>
                  </a:cubicBezTo>
                  <a:cubicBezTo>
                    <a:pt x="49530" y="0"/>
                    <a:pt x="33337" y="6668"/>
                    <a:pt x="20002" y="20003"/>
                  </a:cubicBezTo>
                  <a:cubicBezTo>
                    <a:pt x="7620" y="32385"/>
                    <a:pt x="0" y="49530"/>
                    <a:pt x="0" y="67628"/>
                  </a:cubicBezTo>
                  <a:cubicBezTo>
                    <a:pt x="0" y="85725"/>
                    <a:pt x="6667" y="101918"/>
                    <a:pt x="20002" y="115253"/>
                  </a:cubicBezTo>
                  <a:cubicBezTo>
                    <a:pt x="33337" y="128588"/>
                    <a:pt x="50483" y="135255"/>
                    <a:pt x="67627" y="135255"/>
                  </a:cubicBezTo>
                  <a:cubicBezTo>
                    <a:pt x="84773" y="135255"/>
                    <a:pt x="101918" y="128588"/>
                    <a:pt x="115252" y="115253"/>
                  </a:cubicBezTo>
                  <a:cubicBezTo>
                    <a:pt x="140970" y="88583"/>
                    <a:pt x="140970" y="46673"/>
                    <a:pt x="115252" y="20003"/>
                  </a:cubicBezTo>
                  <a:lnTo>
                    <a:pt x="115252" y="20003"/>
                  </a:lnTo>
                  <a:close/>
                  <a:moveTo>
                    <a:pt x="100012" y="100013"/>
                  </a:moveTo>
                  <a:cubicBezTo>
                    <a:pt x="82868" y="117158"/>
                    <a:pt x="54293" y="117158"/>
                    <a:pt x="36195" y="100013"/>
                  </a:cubicBezTo>
                  <a:cubicBezTo>
                    <a:pt x="27623" y="91440"/>
                    <a:pt x="22860" y="80010"/>
                    <a:pt x="22860" y="68580"/>
                  </a:cubicBezTo>
                  <a:cubicBezTo>
                    <a:pt x="22860" y="56198"/>
                    <a:pt x="27623" y="45720"/>
                    <a:pt x="36195" y="37148"/>
                  </a:cubicBezTo>
                  <a:cubicBezTo>
                    <a:pt x="44768" y="28575"/>
                    <a:pt x="56198" y="23813"/>
                    <a:pt x="67627" y="23813"/>
                  </a:cubicBezTo>
                  <a:cubicBezTo>
                    <a:pt x="79058" y="23813"/>
                    <a:pt x="90487" y="28575"/>
                    <a:pt x="99060" y="37148"/>
                  </a:cubicBezTo>
                  <a:cubicBezTo>
                    <a:pt x="99060" y="37148"/>
                    <a:pt x="99060" y="37148"/>
                    <a:pt x="99060" y="37148"/>
                  </a:cubicBezTo>
                  <a:cubicBezTo>
                    <a:pt x="117158" y="53340"/>
                    <a:pt x="117158" y="81915"/>
                    <a:pt x="100012" y="1000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3" name="Freeform: Shape 172">
              <a:extLst>
                <a:ext uri="{FF2B5EF4-FFF2-40B4-BE49-F238E27FC236}">
                  <a16:creationId xmlns:a16="http://schemas.microsoft.com/office/drawing/2014/main" id="{2FCC9FB2-2FA6-D853-01A6-7C2ABB2EFCE3}"/>
                </a:ext>
              </a:extLst>
            </p:cNvPr>
            <p:cNvSpPr/>
            <p:nvPr/>
          </p:nvSpPr>
          <p:spPr>
            <a:xfrm>
              <a:off x="-1512264" y="2328273"/>
              <a:ext cx="133588" cy="134540"/>
            </a:xfrm>
            <a:custGeom>
              <a:avLst/>
              <a:gdLst>
                <a:gd name="connsiteX0" fmla="*/ 65961 w 133588"/>
                <a:gd name="connsiteY0" fmla="*/ 134541 h 134540"/>
                <a:gd name="connsiteX1" fmla="*/ 113586 w 133588"/>
                <a:gd name="connsiteY1" fmla="*/ 114538 h 134540"/>
                <a:gd name="connsiteX2" fmla="*/ 133588 w 133588"/>
                <a:gd name="connsiteY2" fmla="*/ 66913 h 134540"/>
                <a:gd name="connsiteX3" fmla="*/ 113586 w 133588"/>
                <a:gd name="connsiteY3" fmla="*/ 19288 h 134540"/>
                <a:gd name="connsiteX4" fmla="*/ 19288 w 133588"/>
                <a:gd name="connsiteY4" fmla="*/ 19288 h 134540"/>
                <a:gd name="connsiteX5" fmla="*/ 19288 w 133588"/>
                <a:gd name="connsiteY5" fmla="*/ 113586 h 134540"/>
                <a:gd name="connsiteX6" fmla="*/ 65961 w 133588"/>
                <a:gd name="connsiteY6" fmla="*/ 134541 h 134540"/>
                <a:gd name="connsiteX7" fmla="*/ 34528 w 133588"/>
                <a:gd name="connsiteY7" fmla="*/ 35481 h 134540"/>
                <a:gd name="connsiteX8" fmla="*/ 65961 w 133588"/>
                <a:gd name="connsiteY8" fmla="*/ 22146 h 134540"/>
                <a:gd name="connsiteX9" fmla="*/ 97393 w 133588"/>
                <a:gd name="connsiteY9" fmla="*/ 35481 h 134540"/>
                <a:gd name="connsiteX10" fmla="*/ 97393 w 133588"/>
                <a:gd name="connsiteY10" fmla="*/ 35481 h 134540"/>
                <a:gd name="connsiteX11" fmla="*/ 110728 w 133588"/>
                <a:gd name="connsiteY11" fmla="*/ 66913 h 134540"/>
                <a:gd name="connsiteX12" fmla="*/ 97393 w 133588"/>
                <a:gd name="connsiteY12" fmla="*/ 98346 h 134540"/>
                <a:gd name="connsiteX13" fmla="*/ 65961 w 133588"/>
                <a:gd name="connsiteY13" fmla="*/ 111681 h 134540"/>
                <a:gd name="connsiteX14" fmla="*/ 34528 w 133588"/>
                <a:gd name="connsiteY14" fmla="*/ 98346 h 134540"/>
                <a:gd name="connsiteX15" fmla="*/ 34528 w 133588"/>
                <a:gd name="connsiteY15" fmla="*/ 35481 h 1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3588" h="134540">
                  <a:moveTo>
                    <a:pt x="65961" y="134541"/>
                  </a:moveTo>
                  <a:cubicBezTo>
                    <a:pt x="84058" y="134541"/>
                    <a:pt x="100251" y="127873"/>
                    <a:pt x="113586" y="114538"/>
                  </a:cubicBezTo>
                  <a:cubicBezTo>
                    <a:pt x="125968" y="102156"/>
                    <a:pt x="133588" y="85011"/>
                    <a:pt x="133588" y="66913"/>
                  </a:cubicBezTo>
                  <a:cubicBezTo>
                    <a:pt x="133588" y="48816"/>
                    <a:pt x="126921" y="32623"/>
                    <a:pt x="113586" y="19288"/>
                  </a:cubicBezTo>
                  <a:cubicBezTo>
                    <a:pt x="87868" y="-6429"/>
                    <a:pt x="45006" y="-6429"/>
                    <a:pt x="19288" y="19288"/>
                  </a:cubicBezTo>
                  <a:cubicBezTo>
                    <a:pt x="-6429" y="45006"/>
                    <a:pt x="-6429" y="87868"/>
                    <a:pt x="19288" y="113586"/>
                  </a:cubicBezTo>
                  <a:cubicBezTo>
                    <a:pt x="31671" y="127873"/>
                    <a:pt x="48816" y="134541"/>
                    <a:pt x="65961" y="134541"/>
                  </a:cubicBezTo>
                  <a:close/>
                  <a:moveTo>
                    <a:pt x="34528" y="35481"/>
                  </a:moveTo>
                  <a:cubicBezTo>
                    <a:pt x="43101" y="26908"/>
                    <a:pt x="54531" y="22146"/>
                    <a:pt x="65961" y="22146"/>
                  </a:cubicBezTo>
                  <a:cubicBezTo>
                    <a:pt x="77391" y="22146"/>
                    <a:pt x="88821" y="26908"/>
                    <a:pt x="97393" y="35481"/>
                  </a:cubicBezTo>
                  <a:cubicBezTo>
                    <a:pt x="97393" y="35481"/>
                    <a:pt x="97393" y="35481"/>
                    <a:pt x="97393" y="35481"/>
                  </a:cubicBezTo>
                  <a:cubicBezTo>
                    <a:pt x="105966" y="44053"/>
                    <a:pt x="110728" y="55483"/>
                    <a:pt x="110728" y="66913"/>
                  </a:cubicBezTo>
                  <a:cubicBezTo>
                    <a:pt x="110728" y="79296"/>
                    <a:pt x="105966" y="89773"/>
                    <a:pt x="97393" y="98346"/>
                  </a:cubicBezTo>
                  <a:cubicBezTo>
                    <a:pt x="88821" y="106918"/>
                    <a:pt x="77391" y="111681"/>
                    <a:pt x="65961" y="111681"/>
                  </a:cubicBezTo>
                  <a:cubicBezTo>
                    <a:pt x="54531" y="111681"/>
                    <a:pt x="43101" y="106918"/>
                    <a:pt x="34528" y="98346"/>
                  </a:cubicBezTo>
                  <a:cubicBezTo>
                    <a:pt x="17383" y="82153"/>
                    <a:pt x="17383" y="53578"/>
                    <a:pt x="34528" y="354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4" name="Freeform: Shape 173">
              <a:extLst>
                <a:ext uri="{FF2B5EF4-FFF2-40B4-BE49-F238E27FC236}">
                  <a16:creationId xmlns:a16="http://schemas.microsoft.com/office/drawing/2014/main" id="{441B7AA7-9C49-72C1-AB5D-5C9A31579C72}"/>
                </a:ext>
              </a:extLst>
            </p:cNvPr>
            <p:cNvSpPr/>
            <p:nvPr/>
          </p:nvSpPr>
          <p:spPr>
            <a:xfrm>
              <a:off x="-1634660" y="2363040"/>
              <a:ext cx="221456" cy="221694"/>
            </a:xfrm>
            <a:custGeom>
              <a:avLst/>
              <a:gdLst>
                <a:gd name="connsiteX0" fmla="*/ 202644 w 221456"/>
                <a:gd name="connsiteY0" fmla="*/ 218837 h 221694"/>
                <a:gd name="connsiteX1" fmla="*/ 210264 w 221456"/>
                <a:gd name="connsiteY1" fmla="*/ 221694 h 221694"/>
                <a:gd name="connsiteX2" fmla="*/ 217884 w 221456"/>
                <a:gd name="connsiteY2" fmla="*/ 218837 h 221694"/>
                <a:gd name="connsiteX3" fmla="*/ 217884 w 221456"/>
                <a:gd name="connsiteY3" fmla="*/ 203597 h 221694"/>
                <a:gd name="connsiteX4" fmla="*/ 18812 w 221456"/>
                <a:gd name="connsiteY4" fmla="*/ 3572 h 221694"/>
                <a:gd name="connsiteX5" fmla="*/ 3572 w 221456"/>
                <a:gd name="connsiteY5" fmla="*/ 3572 h 221694"/>
                <a:gd name="connsiteX6" fmla="*/ 3572 w 221456"/>
                <a:gd name="connsiteY6" fmla="*/ 18812 h 221694"/>
                <a:gd name="connsiteX7" fmla="*/ 202644 w 221456"/>
                <a:gd name="connsiteY7" fmla="*/ 218837 h 221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1456" h="221694">
                  <a:moveTo>
                    <a:pt x="202644" y="218837"/>
                  </a:moveTo>
                  <a:cubicBezTo>
                    <a:pt x="204549" y="220742"/>
                    <a:pt x="207407" y="221694"/>
                    <a:pt x="210264" y="221694"/>
                  </a:cubicBezTo>
                  <a:cubicBezTo>
                    <a:pt x="213122" y="221694"/>
                    <a:pt x="215979" y="220742"/>
                    <a:pt x="217884" y="218837"/>
                  </a:cubicBezTo>
                  <a:cubicBezTo>
                    <a:pt x="222647" y="214074"/>
                    <a:pt x="222647" y="207407"/>
                    <a:pt x="217884" y="203597"/>
                  </a:cubicBezTo>
                  <a:lnTo>
                    <a:pt x="18812" y="3572"/>
                  </a:lnTo>
                  <a:cubicBezTo>
                    <a:pt x="14049" y="-1191"/>
                    <a:pt x="7382" y="-1191"/>
                    <a:pt x="3572" y="3572"/>
                  </a:cubicBezTo>
                  <a:cubicBezTo>
                    <a:pt x="-1191" y="8334"/>
                    <a:pt x="-1191" y="15002"/>
                    <a:pt x="3572" y="18812"/>
                  </a:cubicBezTo>
                  <a:lnTo>
                    <a:pt x="202644" y="21883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77" name="Freeform: Shape 176">
            <a:extLst>
              <a:ext uri="{FF2B5EF4-FFF2-40B4-BE49-F238E27FC236}">
                <a16:creationId xmlns:a16="http://schemas.microsoft.com/office/drawing/2014/main" id="{3C1B836F-5B24-FD04-5BBD-B600D90E4DA8}"/>
              </a:ext>
            </a:extLst>
          </p:cNvPr>
          <p:cNvSpPr/>
          <p:nvPr/>
        </p:nvSpPr>
        <p:spPr>
          <a:xfrm>
            <a:off x="6456147" y="1468453"/>
            <a:ext cx="338210" cy="338233"/>
          </a:xfrm>
          <a:custGeom>
            <a:avLst/>
            <a:gdLst>
              <a:gd name="connsiteX0" fmla="*/ 34975 w 868575"/>
              <a:gd name="connsiteY0" fmla="*/ 327318 h 868635"/>
              <a:gd name="connsiteX1" fmla="*/ 26194 w 868575"/>
              <a:gd name="connsiteY1" fmla="*/ 501187 h 868635"/>
              <a:gd name="connsiteX2" fmla="*/ 17673 w 868575"/>
              <a:gd name="connsiteY2" fmla="*/ 513094 h 868635"/>
              <a:gd name="connsiteX3" fmla="*/ 15962 w 868575"/>
              <a:gd name="connsiteY3" fmla="*/ 513242 h 868635"/>
              <a:gd name="connsiteX4" fmla="*/ 5767 w 868575"/>
              <a:gd name="connsiteY4" fmla="*/ 504574 h 868635"/>
              <a:gd name="connsiteX5" fmla="*/ 14957 w 868575"/>
              <a:gd name="connsiteY5" fmla="*/ 321960 h 868635"/>
              <a:gd name="connsiteX6" fmla="*/ 217211 w 868575"/>
              <a:gd name="connsiteY6" fmla="*/ 58346 h 868635"/>
              <a:gd name="connsiteX7" fmla="*/ 546680 w 868575"/>
              <a:gd name="connsiteY7" fmla="*/ 14962 h 868635"/>
              <a:gd name="connsiteX8" fmla="*/ 785025 w 868575"/>
              <a:gd name="connsiteY8" fmla="*/ 178374 h 868635"/>
              <a:gd name="connsiteX9" fmla="*/ 780783 w 868575"/>
              <a:gd name="connsiteY9" fmla="*/ 146450 h 868635"/>
              <a:gd name="connsiteX10" fmla="*/ 789676 w 868575"/>
              <a:gd name="connsiteY10" fmla="*/ 134804 h 868635"/>
              <a:gd name="connsiteX11" fmla="*/ 801322 w 868575"/>
              <a:gd name="connsiteY11" fmla="*/ 143696 h 868635"/>
              <a:gd name="connsiteX12" fmla="*/ 811591 w 868575"/>
              <a:gd name="connsiteY12" fmla="*/ 221012 h 868635"/>
              <a:gd name="connsiteX13" fmla="*/ 811665 w 868575"/>
              <a:gd name="connsiteY13" fmla="*/ 222352 h 868635"/>
              <a:gd name="connsiteX14" fmla="*/ 811665 w 868575"/>
              <a:gd name="connsiteY14" fmla="*/ 222649 h 868635"/>
              <a:gd name="connsiteX15" fmla="*/ 811591 w 868575"/>
              <a:gd name="connsiteY15" fmla="*/ 223728 h 868635"/>
              <a:gd name="connsiteX16" fmla="*/ 811554 w 868575"/>
              <a:gd name="connsiteY16" fmla="*/ 223988 h 868635"/>
              <a:gd name="connsiteX17" fmla="*/ 811294 w 868575"/>
              <a:gd name="connsiteY17" fmla="*/ 225217 h 868635"/>
              <a:gd name="connsiteX18" fmla="*/ 811182 w 868575"/>
              <a:gd name="connsiteY18" fmla="*/ 225514 h 868635"/>
              <a:gd name="connsiteX19" fmla="*/ 810847 w 868575"/>
              <a:gd name="connsiteY19" fmla="*/ 226482 h 868635"/>
              <a:gd name="connsiteX20" fmla="*/ 810735 w 868575"/>
              <a:gd name="connsiteY20" fmla="*/ 226742 h 868635"/>
              <a:gd name="connsiteX21" fmla="*/ 810140 w 868575"/>
              <a:gd name="connsiteY21" fmla="*/ 227858 h 868635"/>
              <a:gd name="connsiteX22" fmla="*/ 810066 w 868575"/>
              <a:gd name="connsiteY22" fmla="*/ 227969 h 868635"/>
              <a:gd name="connsiteX23" fmla="*/ 809358 w 868575"/>
              <a:gd name="connsiteY23" fmla="*/ 228937 h 868635"/>
              <a:gd name="connsiteX24" fmla="*/ 809172 w 868575"/>
              <a:gd name="connsiteY24" fmla="*/ 229160 h 868635"/>
              <a:gd name="connsiteX25" fmla="*/ 808280 w 868575"/>
              <a:gd name="connsiteY25" fmla="*/ 230091 h 868635"/>
              <a:gd name="connsiteX26" fmla="*/ 808243 w 868575"/>
              <a:gd name="connsiteY26" fmla="*/ 230128 h 868635"/>
              <a:gd name="connsiteX27" fmla="*/ 807201 w 868575"/>
              <a:gd name="connsiteY27" fmla="*/ 230946 h 868635"/>
              <a:gd name="connsiteX28" fmla="*/ 807089 w 868575"/>
              <a:gd name="connsiteY28" fmla="*/ 231020 h 868635"/>
              <a:gd name="connsiteX29" fmla="*/ 806903 w 868575"/>
              <a:gd name="connsiteY29" fmla="*/ 231132 h 868635"/>
              <a:gd name="connsiteX30" fmla="*/ 806494 w 868575"/>
              <a:gd name="connsiteY30" fmla="*/ 231393 h 868635"/>
              <a:gd name="connsiteX31" fmla="*/ 805899 w 868575"/>
              <a:gd name="connsiteY31" fmla="*/ 231690 h 868635"/>
              <a:gd name="connsiteX32" fmla="*/ 805675 w 868575"/>
              <a:gd name="connsiteY32" fmla="*/ 231802 h 868635"/>
              <a:gd name="connsiteX33" fmla="*/ 804373 w 868575"/>
              <a:gd name="connsiteY33" fmla="*/ 232285 h 868635"/>
              <a:gd name="connsiteX34" fmla="*/ 804150 w 868575"/>
              <a:gd name="connsiteY34" fmla="*/ 232360 h 868635"/>
              <a:gd name="connsiteX35" fmla="*/ 802922 w 868575"/>
              <a:gd name="connsiteY35" fmla="*/ 232621 h 868635"/>
              <a:gd name="connsiteX36" fmla="*/ 802772 w 868575"/>
              <a:gd name="connsiteY36" fmla="*/ 232658 h 868635"/>
              <a:gd name="connsiteX37" fmla="*/ 801396 w 868575"/>
              <a:gd name="connsiteY37" fmla="*/ 232769 h 868635"/>
              <a:gd name="connsiteX38" fmla="*/ 801322 w 868575"/>
              <a:gd name="connsiteY38" fmla="*/ 232769 h 868635"/>
              <a:gd name="connsiteX39" fmla="*/ 801173 w 868575"/>
              <a:gd name="connsiteY39" fmla="*/ 232769 h 868635"/>
              <a:gd name="connsiteX40" fmla="*/ 800168 w 868575"/>
              <a:gd name="connsiteY40" fmla="*/ 232695 h 868635"/>
              <a:gd name="connsiteX41" fmla="*/ 799871 w 868575"/>
              <a:gd name="connsiteY41" fmla="*/ 232658 h 868635"/>
              <a:gd name="connsiteX42" fmla="*/ 798755 w 868575"/>
              <a:gd name="connsiteY42" fmla="*/ 232435 h 868635"/>
              <a:gd name="connsiteX43" fmla="*/ 798681 w 868575"/>
              <a:gd name="connsiteY43" fmla="*/ 232435 h 868635"/>
              <a:gd name="connsiteX44" fmla="*/ 797527 w 868575"/>
              <a:gd name="connsiteY44" fmla="*/ 232062 h 868635"/>
              <a:gd name="connsiteX45" fmla="*/ 797266 w 868575"/>
              <a:gd name="connsiteY45" fmla="*/ 231951 h 868635"/>
              <a:gd name="connsiteX46" fmla="*/ 796336 w 868575"/>
              <a:gd name="connsiteY46" fmla="*/ 231504 h 868635"/>
              <a:gd name="connsiteX47" fmla="*/ 796187 w 868575"/>
              <a:gd name="connsiteY47" fmla="*/ 231430 h 868635"/>
              <a:gd name="connsiteX48" fmla="*/ 728470 w 868575"/>
              <a:gd name="connsiteY48" fmla="*/ 192660 h 868635"/>
              <a:gd name="connsiteX49" fmla="*/ 724638 w 868575"/>
              <a:gd name="connsiteY49" fmla="*/ 178521 h 868635"/>
              <a:gd name="connsiteX50" fmla="*/ 738777 w 868575"/>
              <a:gd name="connsiteY50" fmla="*/ 174689 h 868635"/>
              <a:gd name="connsiteX51" fmla="*/ 769547 w 868575"/>
              <a:gd name="connsiteY51" fmla="*/ 192326 h 868635"/>
              <a:gd name="connsiteX52" fmla="*/ 541319 w 868575"/>
              <a:gd name="connsiteY52" fmla="*/ 35049 h 868635"/>
              <a:gd name="connsiteX53" fmla="*/ 227584 w 868575"/>
              <a:gd name="connsiteY53" fmla="*/ 76349 h 868635"/>
              <a:gd name="connsiteX54" fmla="*/ 34960 w 868575"/>
              <a:gd name="connsiteY54" fmla="*/ 327380 h 868635"/>
              <a:gd name="connsiteX55" fmla="*/ 862830 w 868575"/>
              <a:gd name="connsiteY55" fmla="*/ 364042 h 868635"/>
              <a:gd name="connsiteX56" fmla="*/ 850924 w 868575"/>
              <a:gd name="connsiteY56" fmla="*/ 355522 h 868635"/>
              <a:gd name="connsiteX57" fmla="*/ 842404 w 868575"/>
              <a:gd name="connsiteY57" fmla="*/ 367428 h 868635"/>
              <a:gd name="connsiteX58" fmla="*/ 833697 w 868575"/>
              <a:gd name="connsiteY58" fmla="*/ 541335 h 868635"/>
              <a:gd name="connsiteX59" fmla="*/ 641073 w 868575"/>
              <a:gd name="connsiteY59" fmla="*/ 792367 h 868635"/>
              <a:gd name="connsiteX60" fmla="*/ 435019 w 868575"/>
              <a:gd name="connsiteY60" fmla="*/ 847954 h 868635"/>
              <a:gd name="connsiteX61" fmla="*/ 327377 w 868575"/>
              <a:gd name="connsiteY61" fmla="*/ 833703 h 868635"/>
              <a:gd name="connsiteX62" fmla="*/ 99186 w 868575"/>
              <a:gd name="connsiteY62" fmla="*/ 676388 h 868635"/>
              <a:gd name="connsiteX63" fmla="*/ 129920 w 868575"/>
              <a:gd name="connsiteY63" fmla="*/ 694025 h 868635"/>
              <a:gd name="connsiteX64" fmla="*/ 144059 w 868575"/>
              <a:gd name="connsiteY64" fmla="*/ 690192 h 868635"/>
              <a:gd name="connsiteX65" fmla="*/ 140227 w 868575"/>
              <a:gd name="connsiteY65" fmla="*/ 676053 h 868635"/>
              <a:gd name="connsiteX66" fmla="*/ 72510 w 868575"/>
              <a:gd name="connsiteY66" fmla="*/ 637209 h 868635"/>
              <a:gd name="connsiteX67" fmla="*/ 72360 w 868575"/>
              <a:gd name="connsiteY67" fmla="*/ 637135 h 868635"/>
              <a:gd name="connsiteX68" fmla="*/ 71356 w 868575"/>
              <a:gd name="connsiteY68" fmla="*/ 636651 h 868635"/>
              <a:gd name="connsiteX69" fmla="*/ 71132 w 868575"/>
              <a:gd name="connsiteY69" fmla="*/ 636540 h 868635"/>
              <a:gd name="connsiteX70" fmla="*/ 69905 w 868575"/>
              <a:gd name="connsiteY70" fmla="*/ 636168 h 868635"/>
              <a:gd name="connsiteX71" fmla="*/ 69645 w 868575"/>
              <a:gd name="connsiteY71" fmla="*/ 636093 h 868635"/>
              <a:gd name="connsiteX72" fmla="*/ 68565 w 868575"/>
              <a:gd name="connsiteY72" fmla="*/ 635907 h 868635"/>
              <a:gd name="connsiteX73" fmla="*/ 68305 w 868575"/>
              <a:gd name="connsiteY73" fmla="*/ 635870 h 868635"/>
              <a:gd name="connsiteX74" fmla="*/ 67002 w 868575"/>
              <a:gd name="connsiteY74" fmla="*/ 635833 h 868635"/>
              <a:gd name="connsiteX75" fmla="*/ 66965 w 868575"/>
              <a:gd name="connsiteY75" fmla="*/ 635833 h 868635"/>
              <a:gd name="connsiteX76" fmla="*/ 65663 w 868575"/>
              <a:gd name="connsiteY76" fmla="*/ 635981 h 868635"/>
              <a:gd name="connsiteX77" fmla="*/ 65440 w 868575"/>
              <a:gd name="connsiteY77" fmla="*/ 636019 h 868635"/>
              <a:gd name="connsiteX78" fmla="*/ 64213 w 868575"/>
              <a:gd name="connsiteY78" fmla="*/ 636317 h 868635"/>
              <a:gd name="connsiteX79" fmla="*/ 64138 w 868575"/>
              <a:gd name="connsiteY79" fmla="*/ 636354 h 868635"/>
              <a:gd name="connsiteX80" fmla="*/ 62909 w 868575"/>
              <a:gd name="connsiteY80" fmla="*/ 636838 h 868635"/>
              <a:gd name="connsiteX81" fmla="*/ 62649 w 868575"/>
              <a:gd name="connsiteY81" fmla="*/ 636986 h 868635"/>
              <a:gd name="connsiteX82" fmla="*/ 62166 w 868575"/>
              <a:gd name="connsiteY82" fmla="*/ 637246 h 868635"/>
              <a:gd name="connsiteX83" fmla="*/ 61757 w 868575"/>
              <a:gd name="connsiteY83" fmla="*/ 637507 h 868635"/>
              <a:gd name="connsiteX84" fmla="*/ 61570 w 868575"/>
              <a:gd name="connsiteY84" fmla="*/ 637619 h 868635"/>
              <a:gd name="connsiteX85" fmla="*/ 61459 w 868575"/>
              <a:gd name="connsiteY85" fmla="*/ 637693 h 868635"/>
              <a:gd name="connsiteX86" fmla="*/ 60417 w 868575"/>
              <a:gd name="connsiteY86" fmla="*/ 638511 h 868635"/>
              <a:gd name="connsiteX87" fmla="*/ 60380 w 868575"/>
              <a:gd name="connsiteY87" fmla="*/ 638549 h 868635"/>
              <a:gd name="connsiteX88" fmla="*/ 59487 w 868575"/>
              <a:gd name="connsiteY88" fmla="*/ 639479 h 868635"/>
              <a:gd name="connsiteX89" fmla="*/ 59300 w 868575"/>
              <a:gd name="connsiteY89" fmla="*/ 639702 h 868635"/>
              <a:gd name="connsiteX90" fmla="*/ 58594 w 868575"/>
              <a:gd name="connsiteY90" fmla="*/ 640670 h 868635"/>
              <a:gd name="connsiteX91" fmla="*/ 58519 w 868575"/>
              <a:gd name="connsiteY91" fmla="*/ 640781 h 868635"/>
              <a:gd name="connsiteX92" fmla="*/ 57924 w 868575"/>
              <a:gd name="connsiteY92" fmla="*/ 641897 h 868635"/>
              <a:gd name="connsiteX93" fmla="*/ 57813 w 868575"/>
              <a:gd name="connsiteY93" fmla="*/ 642158 h 868635"/>
              <a:gd name="connsiteX94" fmla="*/ 57440 w 868575"/>
              <a:gd name="connsiteY94" fmla="*/ 643125 h 868635"/>
              <a:gd name="connsiteX95" fmla="*/ 57329 w 868575"/>
              <a:gd name="connsiteY95" fmla="*/ 643423 h 868635"/>
              <a:gd name="connsiteX96" fmla="*/ 57069 w 868575"/>
              <a:gd name="connsiteY96" fmla="*/ 644651 h 868635"/>
              <a:gd name="connsiteX97" fmla="*/ 57032 w 868575"/>
              <a:gd name="connsiteY97" fmla="*/ 644911 h 868635"/>
              <a:gd name="connsiteX98" fmla="*/ 56956 w 868575"/>
              <a:gd name="connsiteY98" fmla="*/ 645990 h 868635"/>
              <a:gd name="connsiteX99" fmla="*/ 56956 w 868575"/>
              <a:gd name="connsiteY99" fmla="*/ 646288 h 868635"/>
              <a:gd name="connsiteX100" fmla="*/ 57032 w 868575"/>
              <a:gd name="connsiteY100" fmla="*/ 647628 h 868635"/>
              <a:gd name="connsiteX101" fmla="*/ 67301 w 868575"/>
              <a:gd name="connsiteY101" fmla="*/ 724981 h 868635"/>
              <a:gd name="connsiteX102" fmla="*/ 77532 w 868575"/>
              <a:gd name="connsiteY102" fmla="*/ 733985 h 868635"/>
              <a:gd name="connsiteX103" fmla="*/ 78909 w 868575"/>
              <a:gd name="connsiteY103" fmla="*/ 733874 h 868635"/>
              <a:gd name="connsiteX104" fmla="*/ 87801 w 868575"/>
              <a:gd name="connsiteY104" fmla="*/ 722227 h 868635"/>
              <a:gd name="connsiteX105" fmla="*/ 83560 w 868575"/>
              <a:gd name="connsiteY105" fmla="*/ 690229 h 868635"/>
              <a:gd name="connsiteX106" fmla="*/ 321904 w 868575"/>
              <a:gd name="connsiteY106" fmla="*/ 853678 h 868635"/>
              <a:gd name="connsiteX107" fmla="*/ 434937 w 868575"/>
              <a:gd name="connsiteY107" fmla="*/ 868635 h 868635"/>
              <a:gd name="connsiteX108" fmla="*/ 651335 w 868575"/>
              <a:gd name="connsiteY108" fmla="*/ 810258 h 868635"/>
              <a:gd name="connsiteX109" fmla="*/ 853627 w 868575"/>
              <a:gd name="connsiteY109" fmla="*/ 546644 h 868635"/>
              <a:gd name="connsiteX110" fmla="*/ 862780 w 868575"/>
              <a:gd name="connsiteY110" fmla="*/ 363992 h 868635"/>
              <a:gd name="connsiteX111" fmla="*/ 690638 w 868575"/>
              <a:gd name="connsiteY111" fmla="*/ 469264 h 868635"/>
              <a:gd name="connsiteX112" fmla="*/ 759136 w 868575"/>
              <a:gd name="connsiteY112" fmla="*/ 578173 h 868635"/>
              <a:gd name="connsiteX113" fmla="*/ 638282 w 868575"/>
              <a:gd name="connsiteY113" fmla="*/ 699026 h 868635"/>
              <a:gd name="connsiteX114" fmla="*/ 583067 w 868575"/>
              <a:gd name="connsiteY114" fmla="*/ 685632 h 868635"/>
              <a:gd name="connsiteX115" fmla="*/ 434315 w 868575"/>
              <a:gd name="connsiteY115" fmla="*/ 699026 h 868635"/>
              <a:gd name="connsiteX116" fmla="*/ 178035 w 868575"/>
              <a:gd name="connsiteY116" fmla="*/ 621933 h 868635"/>
              <a:gd name="connsiteX117" fmla="*/ 177998 w 868575"/>
              <a:gd name="connsiteY117" fmla="*/ 246696 h 868635"/>
              <a:gd name="connsiteX118" fmla="*/ 434278 w 868575"/>
              <a:gd name="connsiteY118" fmla="*/ 169677 h 868635"/>
              <a:gd name="connsiteX119" fmla="*/ 690596 w 868575"/>
              <a:gd name="connsiteY119" fmla="*/ 246696 h 868635"/>
              <a:gd name="connsiteX120" fmla="*/ 690596 w 868575"/>
              <a:gd name="connsiteY120" fmla="*/ 469266 h 868635"/>
              <a:gd name="connsiteX121" fmla="*/ 198719 w 868575"/>
              <a:gd name="connsiteY121" fmla="*/ 246694 h 868635"/>
              <a:gd name="connsiteX122" fmla="*/ 263124 w 868575"/>
              <a:gd name="connsiteY122" fmla="*/ 283900 h 868635"/>
              <a:gd name="connsiteX123" fmla="*/ 434317 w 868575"/>
              <a:gd name="connsiteY123" fmla="*/ 303062 h 868635"/>
              <a:gd name="connsiteX124" fmla="*/ 605548 w 868575"/>
              <a:gd name="connsiteY124" fmla="*/ 283900 h 868635"/>
              <a:gd name="connsiteX125" fmla="*/ 669953 w 868575"/>
              <a:gd name="connsiteY125" fmla="*/ 246694 h 868635"/>
              <a:gd name="connsiteX126" fmla="*/ 605548 w 868575"/>
              <a:gd name="connsiteY126" fmla="*/ 209524 h 868635"/>
              <a:gd name="connsiteX127" fmla="*/ 434317 w 868575"/>
              <a:gd name="connsiteY127" fmla="*/ 190363 h 868635"/>
              <a:gd name="connsiteX128" fmla="*/ 263124 w 868575"/>
              <a:gd name="connsiteY128" fmla="*/ 209524 h 868635"/>
              <a:gd name="connsiteX129" fmla="*/ 198756 w 868575"/>
              <a:gd name="connsiteY129" fmla="*/ 246694 h 868635"/>
              <a:gd name="connsiteX130" fmla="*/ 558735 w 868575"/>
              <a:gd name="connsiteY130" fmla="*/ 668994 h 868635"/>
              <a:gd name="connsiteX131" fmla="*/ 517436 w 868575"/>
              <a:gd name="connsiteY131" fmla="*/ 578171 h 868635"/>
              <a:gd name="connsiteX132" fmla="*/ 517733 w 868575"/>
              <a:gd name="connsiteY132" fmla="*/ 570060 h 868635"/>
              <a:gd name="connsiteX133" fmla="*/ 434278 w 868575"/>
              <a:gd name="connsiteY133" fmla="*/ 573930 h 868635"/>
              <a:gd name="connsiteX134" fmla="*/ 198687 w 868575"/>
              <a:gd name="connsiteY134" fmla="*/ 529281 h 868635"/>
              <a:gd name="connsiteX135" fmla="*/ 198687 w 868575"/>
              <a:gd name="connsiteY135" fmla="*/ 621964 h 868635"/>
              <a:gd name="connsiteX136" fmla="*/ 263092 w 868575"/>
              <a:gd name="connsiteY136" fmla="*/ 659171 h 868635"/>
              <a:gd name="connsiteX137" fmla="*/ 434285 w 868575"/>
              <a:gd name="connsiteY137" fmla="*/ 678332 h 868635"/>
              <a:gd name="connsiteX138" fmla="*/ 558701 w 868575"/>
              <a:gd name="connsiteY138" fmla="*/ 669030 h 868635"/>
              <a:gd name="connsiteX139" fmla="*/ 638284 w 868575"/>
              <a:gd name="connsiteY139" fmla="*/ 478008 h 868635"/>
              <a:gd name="connsiteX140" fmla="*/ 538157 w 868575"/>
              <a:gd name="connsiteY140" fmla="*/ 578135 h 868635"/>
              <a:gd name="connsiteX141" fmla="*/ 638284 w 868575"/>
              <a:gd name="connsiteY141" fmla="*/ 678262 h 868635"/>
              <a:gd name="connsiteX142" fmla="*/ 738411 w 868575"/>
              <a:gd name="connsiteY142" fmla="*/ 578135 h 868635"/>
              <a:gd name="connsiteX143" fmla="*/ 638284 w 868575"/>
              <a:gd name="connsiteY143" fmla="*/ 478008 h 868635"/>
              <a:gd name="connsiteX144" fmla="*/ 669947 w 868575"/>
              <a:gd name="connsiteY144" fmla="*/ 461525 h 868635"/>
              <a:gd name="connsiteX145" fmla="*/ 669947 w 868575"/>
              <a:gd name="connsiteY145" fmla="*/ 404152 h 868635"/>
              <a:gd name="connsiteX146" fmla="*/ 434318 w 868575"/>
              <a:gd name="connsiteY146" fmla="*/ 448838 h 868635"/>
              <a:gd name="connsiteX147" fmla="*/ 198726 w 868575"/>
              <a:gd name="connsiteY147" fmla="*/ 404152 h 868635"/>
              <a:gd name="connsiteX148" fmla="*/ 198726 w 868575"/>
              <a:gd name="connsiteY148" fmla="*/ 496873 h 868635"/>
              <a:gd name="connsiteX149" fmla="*/ 263095 w 868575"/>
              <a:gd name="connsiteY149" fmla="*/ 534042 h 868635"/>
              <a:gd name="connsiteX150" fmla="*/ 434287 w 868575"/>
              <a:gd name="connsiteY150" fmla="*/ 553203 h 868635"/>
              <a:gd name="connsiteX151" fmla="*/ 521017 w 868575"/>
              <a:gd name="connsiteY151" fmla="*/ 548888 h 868635"/>
              <a:gd name="connsiteX152" fmla="*/ 638260 w 868575"/>
              <a:gd name="connsiteY152" fmla="*/ 457321 h 868635"/>
              <a:gd name="connsiteX153" fmla="*/ 669923 w 868575"/>
              <a:gd name="connsiteY153" fmla="*/ 461563 h 868635"/>
              <a:gd name="connsiteX154" fmla="*/ 669947 w 868575"/>
              <a:gd name="connsiteY154" fmla="*/ 371745 h 868635"/>
              <a:gd name="connsiteX155" fmla="*/ 669947 w 868575"/>
              <a:gd name="connsiteY155" fmla="*/ 279024 h 868635"/>
              <a:gd name="connsiteX156" fmla="*/ 434318 w 868575"/>
              <a:gd name="connsiteY156" fmla="*/ 323710 h 868635"/>
              <a:gd name="connsiteX157" fmla="*/ 198726 w 868575"/>
              <a:gd name="connsiteY157" fmla="*/ 279024 h 868635"/>
              <a:gd name="connsiteX158" fmla="*/ 198726 w 868575"/>
              <a:gd name="connsiteY158" fmla="*/ 371745 h 868635"/>
              <a:gd name="connsiteX159" fmla="*/ 263132 w 868575"/>
              <a:gd name="connsiteY159" fmla="*/ 408914 h 868635"/>
              <a:gd name="connsiteX160" fmla="*/ 434325 w 868575"/>
              <a:gd name="connsiteY160" fmla="*/ 428113 h 868635"/>
              <a:gd name="connsiteX161" fmla="*/ 605555 w 868575"/>
              <a:gd name="connsiteY161" fmla="*/ 408914 h 868635"/>
              <a:gd name="connsiteX162" fmla="*/ 669961 w 868575"/>
              <a:gd name="connsiteY162" fmla="*/ 371745 h 868635"/>
              <a:gd name="connsiteX163" fmla="*/ 279203 w 868575"/>
              <a:gd name="connsiteY163" fmla="*/ 355969 h 868635"/>
              <a:gd name="connsiteX164" fmla="*/ 251856 w 868575"/>
              <a:gd name="connsiteY164" fmla="*/ 383317 h 868635"/>
              <a:gd name="connsiteX165" fmla="*/ 224509 w 868575"/>
              <a:gd name="connsiteY165" fmla="*/ 355969 h 868635"/>
              <a:gd name="connsiteX166" fmla="*/ 251856 w 868575"/>
              <a:gd name="connsiteY166" fmla="*/ 328622 h 868635"/>
              <a:gd name="connsiteX167" fmla="*/ 279203 w 868575"/>
              <a:gd name="connsiteY167" fmla="*/ 355969 h 868635"/>
              <a:gd name="connsiteX168" fmla="*/ 258479 w 868575"/>
              <a:gd name="connsiteY168" fmla="*/ 355969 h 868635"/>
              <a:gd name="connsiteX169" fmla="*/ 251856 w 868575"/>
              <a:gd name="connsiteY169" fmla="*/ 349347 h 868635"/>
              <a:gd name="connsiteX170" fmla="*/ 245233 w 868575"/>
              <a:gd name="connsiteY170" fmla="*/ 355969 h 868635"/>
              <a:gd name="connsiteX171" fmla="*/ 251856 w 868575"/>
              <a:gd name="connsiteY171" fmla="*/ 362592 h 868635"/>
              <a:gd name="connsiteX172" fmla="*/ 258479 w 868575"/>
              <a:gd name="connsiteY172" fmla="*/ 355969 h 868635"/>
              <a:gd name="connsiteX173" fmla="*/ 355624 w 868575"/>
              <a:gd name="connsiteY173" fmla="*/ 371001 h 868635"/>
              <a:gd name="connsiteX174" fmla="*/ 328277 w 868575"/>
              <a:gd name="connsiteY174" fmla="*/ 398348 h 868635"/>
              <a:gd name="connsiteX175" fmla="*/ 300930 w 868575"/>
              <a:gd name="connsiteY175" fmla="*/ 371001 h 868635"/>
              <a:gd name="connsiteX176" fmla="*/ 328277 w 868575"/>
              <a:gd name="connsiteY176" fmla="*/ 343653 h 868635"/>
              <a:gd name="connsiteX177" fmla="*/ 355624 w 868575"/>
              <a:gd name="connsiteY177" fmla="*/ 371001 h 868635"/>
              <a:gd name="connsiteX178" fmla="*/ 334900 w 868575"/>
              <a:gd name="connsiteY178" fmla="*/ 371001 h 868635"/>
              <a:gd name="connsiteX179" fmla="*/ 328277 w 868575"/>
              <a:gd name="connsiteY179" fmla="*/ 364378 h 868635"/>
              <a:gd name="connsiteX180" fmla="*/ 321654 w 868575"/>
              <a:gd name="connsiteY180" fmla="*/ 371001 h 868635"/>
              <a:gd name="connsiteX181" fmla="*/ 328277 w 868575"/>
              <a:gd name="connsiteY181" fmla="*/ 377623 h 868635"/>
              <a:gd name="connsiteX182" fmla="*/ 334900 w 868575"/>
              <a:gd name="connsiteY182" fmla="*/ 371001 h 868635"/>
              <a:gd name="connsiteX183" fmla="*/ 355624 w 868575"/>
              <a:gd name="connsiteY183" fmla="*/ 495159 h 868635"/>
              <a:gd name="connsiteX184" fmla="*/ 328277 w 868575"/>
              <a:gd name="connsiteY184" fmla="*/ 522506 h 868635"/>
              <a:gd name="connsiteX185" fmla="*/ 300930 w 868575"/>
              <a:gd name="connsiteY185" fmla="*/ 495159 h 868635"/>
              <a:gd name="connsiteX186" fmla="*/ 328277 w 868575"/>
              <a:gd name="connsiteY186" fmla="*/ 467849 h 868635"/>
              <a:gd name="connsiteX187" fmla="*/ 355624 w 868575"/>
              <a:gd name="connsiteY187" fmla="*/ 495159 h 868635"/>
              <a:gd name="connsiteX188" fmla="*/ 334900 w 868575"/>
              <a:gd name="connsiteY188" fmla="*/ 495159 h 868635"/>
              <a:gd name="connsiteX189" fmla="*/ 328277 w 868575"/>
              <a:gd name="connsiteY189" fmla="*/ 488573 h 868635"/>
              <a:gd name="connsiteX190" fmla="*/ 321654 w 868575"/>
              <a:gd name="connsiteY190" fmla="*/ 495159 h 868635"/>
              <a:gd name="connsiteX191" fmla="*/ 328277 w 868575"/>
              <a:gd name="connsiteY191" fmla="*/ 501782 h 868635"/>
              <a:gd name="connsiteX192" fmla="*/ 334900 w 868575"/>
              <a:gd name="connsiteY192" fmla="*/ 495159 h 868635"/>
              <a:gd name="connsiteX193" fmla="*/ 279163 w 868575"/>
              <a:gd name="connsiteY193" fmla="*/ 480165 h 868635"/>
              <a:gd name="connsiteX194" fmla="*/ 251816 w 868575"/>
              <a:gd name="connsiteY194" fmla="*/ 507512 h 868635"/>
              <a:gd name="connsiteX195" fmla="*/ 224469 w 868575"/>
              <a:gd name="connsiteY195" fmla="*/ 480165 h 868635"/>
              <a:gd name="connsiteX196" fmla="*/ 251816 w 868575"/>
              <a:gd name="connsiteY196" fmla="*/ 452818 h 868635"/>
              <a:gd name="connsiteX197" fmla="*/ 279163 w 868575"/>
              <a:gd name="connsiteY197" fmla="*/ 480165 h 868635"/>
              <a:gd name="connsiteX198" fmla="*/ 258439 w 868575"/>
              <a:gd name="connsiteY198" fmla="*/ 480165 h 868635"/>
              <a:gd name="connsiteX199" fmla="*/ 251816 w 868575"/>
              <a:gd name="connsiteY199" fmla="*/ 473542 h 868635"/>
              <a:gd name="connsiteX200" fmla="*/ 245193 w 868575"/>
              <a:gd name="connsiteY200" fmla="*/ 480165 h 868635"/>
              <a:gd name="connsiteX201" fmla="*/ 251816 w 868575"/>
              <a:gd name="connsiteY201" fmla="*/ 486788 h 868635"/>
              <a:gd name="connsiteX202" fmla="*/ 258439 w 868575"/>
              <a:gd name="connsiteY202" fmla="*/ 480165 h 868635"/>
              <a:gd name="connsiteX203" fmla="*/ 355584 w 868575"/>
              <a:gd name="connsiteY203" fmla="*/ 623078 h 868635"/>
              <a:gd name="connsiteX204" fmla="*/ 328237 w 868575"/>
              <a:gd name="connsiteY204" fmla="*/ 650425 h 868635"/>
              <a:gd name="connsiteX205" fmla="*/ 300890 w 868575"/>
              <a:gd name="connsiteY205" fmla="*/ 623078 h 868635"/>
              <a:gd name="connsiteX206" fmla="*/ 328237 w 868575"/>
              <a:gd name="connsiteY206" fmla="*/ 595731 h 868635"/>
              <a:gd name="connsiteX207" fmla="*/ 355584 w 868575"/>
              <a:gd name="connsiteY207" fmla="*/ 623078 h 868635"/>
              <a:gd name="connsiteX208" fmla="*/ 334860 w 868575"/>
              <a:gd name="connsiteY208" fmla="*/ 623078 h 868635"/>
              <a:gd name="connsiteX209" fmla="*/ 328237 w 868575"/>
              <a:gd name="connsiteY209" fmla="*/ 616455 h 868635"/>
              <a:gd name="connsiteX210" fmla="*/ 321614 w 868575"/>
              <a:gd name="connsiteY210" fmla="*/ 623078 h 868635"/>
              <a:gd name="connsiteX211" fmla="*/ 328237 w 868575"/>
              <a:gd name="connsiteY211" fmla="*/ 629701 h 868635"/>
              <a:gd name="connsiteX212" fmla="*/ 334860 w 868575"/>
              <a:gd name="connsiteY212" fmla="*/ 623078 h 868635"/>
              <a:gd name="connsiteX213" fmla="*/ 279123 w 868575"/>
              <a:gd name="connsiteY213" fmla="*/ 608047 h 868635"/>
              <a:gd name="connsiteX214" fmla="*/ 251776 w 868575"/>
              <a:gd name="connsiteY214" fmla="*/ 635394 h 868635"/>
              <a:gd name="connsiteX215" fmla="*/ 224429 w 868575"/>
              <a:gd name="connsiteY215" fmla="*/ 608047 h 868635"/>
              <a:gd name="connsiteX216" fmla="*/ 251776 w 868575"/>
              <a:gd name="connsiteY216" fmla="*/ 580699 h 868635"/>
              <a:gd name="connsiteX217" fmla="*/ 279123 w 868575"/>
              <a:gd name="connsiteY217" fmla="*/ 608047 h 868635"/>
              <a:gd name="connsiteX218" fmla="*/ 258399 w 868575"/>
              <a:gd name="connsiteY218" fmla="*/ 608047 h 868635"/>
              <a:gd name="connsiteX219" fmla="*/ 251776 w 868575"/>
              <a:gd name="connsiteY219" fmla="*/ 601424 h 868635"/>
              <a:gd name="connsiteX220" fmla="*/ 245153 w 868575"/>
              <a:gd name="connsiteY220" fmla="*/ 608047 h 868635"/>
              <a:gd name="connsiteX221" fmla="*/ 251776 w 868575"/>
              <a:gd name="connsiteY221" fmla="*/ 614669 h 868635"/>
              <a:gd name="connsiteX222" fmla="*/ 258399 w 868575"/>
              <a:gd name="connsiteY222" fmla="*/ 608047 h 868635"/>
              <a:gd name="connsiteX223" fmla="*/ 638208 w 868575"/>
              <a:gd name="connsiteY223" fmla="*/ 495194 h 868635"/>
              <a:gd name="connsiteX224" fmla="*/ 721105 w 868575"/>
              <a:gd name="connsiteY224" fmla="*/ 578091 h 868635"/>
              <a:gd name="connsiteX225" fmla="*/ 638208 w 868575"/>
              <a:gd name="connsiteY225" fmla="*/ 660914 h 868635"/>
              <a:gd name="connsiteX226" fmla="*/ 555385 w 868575"/>
              <a:gd name="connsiteY226" fmla="*/ 578091 h 868635"/>
              <a:gd name="connsiteX227" fmla="*/ 638208 w 868575"/>
              <a:gd name="connsiteY227" fmla="*/ 495194 h 868635"/>
              <a:gd name="connsiteX228" fmla="*/ 638208 w 868575"/>
              <a:gd name="connsiteY228" fmla="*/ 515919 h 868635"/>
              <a:gd name="connsiteX229" fmla="*/ 576073 w 868575"/>
              <a:gd name="connsiteY229" fmla="*/ 578091 h 868635"/>
              <a:gd name="connsiteX230" fmla="*/ 638208 w 868575"/>
              <a:gd name="connsiteY230" fmla="*/ 640227 h 868635"/>
              <a:gd name="connsiteX231" fmla="*/ 700381 w 868575"/>
              <a:gd name="connsiteY231" fmla="*/ 578091 h 868635"/>
              <a:gd name="connsiteX232" fmla="*/ 638208 w 868575"/>
              <a:gd name="connsiteY232" fmla="*/ 515919 h 868635"/>
              <a:gd name="connsiteX233" fmla="*/ 617186 w 868575"/>
              <a:gd name="connsiteY233" fmla="*/ 564734 h 868635"/>
              <a:gd name="connsiteX234" fmla="*/ 603048 w 868575"/>
              <a:gd name="connsiteY234" fmla="*/ 560940 h 868635"/>
              <a:gd name="connsiteX235" fmla="*/ 599253 w 868575"/>
              <a:gd name="connsiteY235" fmla="*/ 575079 h 868635"/>
              <a:gd name="connsiteX236" fmla="*/ 616368 w 868575"/>
              <a:gd name="connsiteY236" fmla="*/ 604733 h 868635"/>
              <a:gd name="connsiteX237" fmla="*/ 623995 w 868575"/>
              <a:gd name="connsiteY237" fmla="*/ 609830 h 868635"/>
              <a:gd name="connsiteX238" fmla="*/ 625372 w 868575"/>
              <a:gd name="connsiteY238" fmla="*/ 609904 h 868635"/>
              <a:gd name="connsiteX239" fmla="*/ 632702 w 868575"/>
              <a:gd name="connsiteY239" fmla="*/ 606890 h 868635"/>
              <a:gd name="connsiteX240" fmla="*/ 675638 w 868575"/>
              <a:gd name="connsiteY240" fmla="*/ 563991 h 868635"/>
              <a:gd name="connsiteX241" fmla="*/ 675638 w 868575"/>
              <a:gd name="connsiteY241" fmla="*/ 549368 h 868635"/>
              <a:gd name="connsiteX242" fmla="*/ 661016 w 868575"/>
              <a:gd name="connsiteY242" fmla="*/ 549368 h 868635"/>
              <a:gd name="connsiteX243" fmla="*/ 627641 w 868575"/>
              <a:gd name="connsiteY243" fmla="*/ 582705 h 868635"/>
              <a:gd name="connsiteX244" fmla="*/ 617298 w 868575"/>
              <a:gd name="connsiteY244" fmla="*/ 564734 h 86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868575" h="868635">
                <a:moveTo>
                  <a:pt x="34975" y="327318"/>
                </a:moveTo>
                <a:cubicBezTo>
                  <a:pt x="19608" y="384617"/>
                  <a:pt x="16631" y="443104"/>
                  <a:pt x="26194" y="501187"/>
                </a:cubicBezTo>
                <a:cubicBezTo>
                  <a:pt x="27124" y="506843"/>
                  <a:pt x="23291" y="512163"/>
                  <a:pt x="17673" y="513094"/>
                </a:cubicBezTo>
                <a:cubicBezTo>
                  <a:pt x="17115" y="513205"/>
                  <a:pt x="16557" y="513242"/>
                  <a:pt x="15962" y="513242"/>
                </a:cubicBezTo>
                <a:cubicBezTo>
                  <a:pt x="10976" y="513242"/>
                  <a:pt x="6585" y="509633"/>
                  <a:pt x="5767" y="504574"/>
                </a:cubicBezTo>
                <a:cubicBezTo>
                  <a:pt x="-4279" y="443592"/>
                  <a:pt x="-1191" y="382130"/>
                  <a:pt x="14957" y="321960"/>
                </a:cubicBezTo>
                <a:cubicBezTo>
                  <a:pt x="44946" y="209927"/>
                  <a:pt x="116789" y="116316"/>
                  <a:pt x="217211" y="58346"/>
                </a:cubicBezTo>
                <a:cubicBezTo>
                  <a:pt x="317633" y="378"/>
                  <a:pt x="434609" y="-15026"/>
                  <a:pt x="546680" y="14962"/>
                </a:cubicBezTo>
                <a:cubicBezTo>
                  <a:pt x="643683" y="40933"/>
                  <a:pt x="726836" y="98269"/>
                  <a:pt x="785025" y="178374"/>
                </a:cubicBezTo>
                <a:lnTo>
                  <a:pt x="780783" y="146450"/>
                </a:lnTo>
                <a:cubicBezTo>
                  <a:pt x="780039" y="140794"/>
                  <a:pt x="784021" y="135586"/>
                  <a:pt x="789676" y="134804"/>
                </a:cubicBezTo>
                <a:cubicBezTo>
                  <a:pt x="795332" y="134059"/>
                  <a:pt x="800540" y="138040"/>
                  <a:pt x="801322" y="143696"/>
                </a:cubicBezTo>
                <a:lnTo>
                  <a:pt x="811591" y="221012"/>
                </a:lnTo>
                <a:cubicBezTo>
                  <a:pt x="811665" y="221458"/>
                  <a:pt x="811665" y="221905"/>
                  <a:pt x="811665" y="222352"/>
                </a:cubicBezTo>
                <a:lnTo>
                  <a:pt x="811665" y="222649"/>
                </a:lnTo>
                <a:cubicBezTo>
                  <a:pt x="811665" y="223021"/>
                  <a:pt x="811628" y="223356"/>
                  <a:pt x="811591" y="223728"/>
                </a:cubicBezTo>
                <a:cubicBezTo>
                  <a:pt x="811591" y="223802"/>
                  <a:pt x="811554" y="223877"/>
                  <a:pt x="811554" y="223988"/>
                </a:cubicBezTo>
                <a:cubicBezTo>
                  <a:pt x="811479" y="224398"/>
                  <a:pt x="811405" y="224807"/>
                  <a:pt x="811294" y="225217"/>
                </a:cubicBezTo>
                <a:cubicBezTo>
                  <a:pt x="811256" y="225328"/>
                  <a:pt x="811219" y="225402"/>
                  <a:pt x="811182" y="225514"/>
                </a:cubicBezTo>
                <a:cubicBezTo>
                  <a:pt x="811070" y="225849"/>
                  <a:pt x="810958" y="226146"/>
                  <a:pt x="810847" y="226482"/>
                </a:cubicBezTo>
                <a:cubicBezTo>
                  <a:pt x="810810" y="226593"/>
                  <a:pt x="810772" y="226667"/>
                  <a:pt x="810735" y="226742"/>
                </a:cubicBezTo>
                <a:cubicBezTo>
                  <a:pt x="810549" y="227114"/>
                  <a:pt x="810363" y="227486"/>
                  <a:pt x="810140" y="227858"/>
                </a:cubicBezTo>
                <a:cubicBezTo>
                  <a:pt x="810103" y="227895"/>
                  <a:pt x="810103" y="227932"/>
                  <a:pt x="810066" y="227969"/>
                </a:cubicBezTo>
                <a:cubicBezTo>
                  <a:pt x="809842" y="228305"/>
                  <a:pt x="809619" y="228602"/>
                  <a:pt x="809358" y="228937"/>
                </a:cubicBezTo>
                <a:cubicBezTo>
                  <a:pt x="809284" y="229012"/>
                  <a:pt x="809247" y="229086"/>
                  <a:pt x="809172" y="229160"/>
                </a:cubicBezTo>
                <a:cubicBezTo>
                  <a:pt x="808912" y="229458"/>
                  <a:pt x="808614" y="229793"/>
                  <a:pt x="808280" y="230091"/>
                </a:cubicBezTo>
                <a:lnTo>
                  <a:pt x="808243" y="230128"/>
                </a:lnTo>
                <a:cubicBezTo>
                  <a:pt x="807907" y="230425"/>
                  <a:pt x="807572" y="230686"/>
                  <a:pt x="807201" y="230946"/>
                </a:cubicBezTo>
                <a:cubicBezTo>
                  <a:pt x="807163" y="230983"/>
                  <a:pt x="807126" y="231020"/>
                  <a:pt x="807089" y="231020"/>
                </a:cubicBezTo>
                <a:cubicBezTo>
                  <a:pt x="807015" y="231057"/>
                  <a:pt x="806978" y="231095"/>
                  <a:pt x="806903" y="231132"/>
                </a:cubicBezTo>
                <a:cubicBezTo>
                  <a:pt x="806754" y="231244"/>
                  <a:pt x="806642" y="231318"/>
                  <a:pt x="806494" y="231393"/>
                </a:cubicBezTo>
                <a:cubicBezTo>
                  <a:pt x="806307" y="231504"/>
                  <a:pt x="806084" y="231616"/>
                  <a:pt x="805899" y="231690"/>
                </a:cubicBezTo>
                <a:cubicBezTo>
                  <a:pt x="805824" y="231727"/>
                  <a:pt x="805749" y="231765"/>
                  <a:pt x="805675" y="231802"/>
                </a:cubicBezTo>
                <a:cubicBezTo>
                  <a:pt x="805266" y="231988"/>
                  <a:pt x="804819" y="232174"/>
                  <a:pt x="804373" y="232285"/>
                </a:cubicBezTo>
                <a:cubicBezTo>
                  <a:pt x="804298" y="232322"/>
                  <a:pt x="804224" y="232322"/>
                  <a:pt x="804150" y="232360"/>
                </a:cubicBezTo>
                <a:cubicBezTo>
                  <a:pt x="803740" y="232472"/>
                  <a:pt x="803331" y="232583"/>
                  <a:pt x="802922" y="232621"/>
                </a:cubicBezTo>
                <a:cubicBezTo>
                  <a:pt x="802885" y="232621"/>
                  <a:pt x="802810" y="232658"/>
                  <a:pt x="802772" y="232658"/>
                </a:cubicBezTo>
                <a:cubicBezTo>
                  <a:pt x="802290" y="232732"/>
                  <a:pt x="801843" y="232769"/>
                  <a:pt x="801396" y="232769"/>
                </a:cubicBezTo>
                <a:lnTo>
                  <a:pt x="801322" y="232769"/>
                </a:lnTo>
                <a:lnTo>
                  <a:pt x="801173" y="232769"/>
                </a:lnTo>
                <a:cubicBezTo>
                  <a:pt x="800838" y="232769"/>
                  <a:pt x="800504" y="232732"/>
                  <a:pt x="800168" y="232695"/>
                </a:cubicBezTo>
                <a:cubicBezTo>
                  <a:pt x="800057" y="232695"/>
                  <a:pt x="799983" y="232658"/>
                  <a:pt x="799871" y="232658"/>
                </a:cubicBezTo>
                <a:cubicBezTo>
                  <a:pt x="799499" y="232583"/>
                  <a:pt x="799126" y="232546"/>
                  <a:pt x="798755" y="232435"/>
                </a:cubicBezTo>
                <a:lnTo>
                  <a:pt x="798681" y="232435"/>
                </a:lnTo>
                <a:cubicBezTo>
                  <a:pt x="798271" y="232322"/>
                  <a:pt x="797899" y="232211"/>
                  <a:pt x="797527" y="232062"/>
                </a:cubicBezTo>
                <a:cubicBezTo>
                  <a:pt x="797415" y="232025"/>
                  <a:pt x="797340" y="231988"/>
                  <a:pt x="797266" y="231951"/>
                </a:cubicBezTo>
                <a:cubicBezTo>
                  <a:pt x="796969" y="231802"/>
                  <a:pt x="796634" y="231653"/>
                  <a:pt x="796336" y="231504"/>
                </a:cubicBezTo>
                <a:cubicBezTo>
                  <a:pt x="796299" y="231467"/>
                  <a:pt x="796224" y="231467"/>
                  <a:pt x="796187" y="231430"/>
                </a:cubicBezTo>
                <a:lnTo>
                  <a:pt x="728470" y="192660"/>
                </a:lnTo>
                <a:cubicBezTo>
                  <a:pt x="723522" y="189832"/>
                  <a:pt x="721810" y="183471"/>
                  <a:pt x="724638" y="178521"/>
                </a:cubicBezTo>
                <a:cubicBezTo>
                  <a:pt x="727503" y="173573"/>
                  <a:pt x="733828" y="171862"/>
                  <a:pt x="738777" y="174689"/>
                </a:cubicBezTo>
                <a:lnTo>
                  <a:pt x="769547" y="192326"/>
                </a:lnTo>
                <a:cubicBezTo>
                  <a:pt x="714072" y="115195"/>
                  <a:pt x="634378" y="59976"/>
                  <a:pt x="541319" y="35049"/>
                </a:cubicBezTo>
                <a:cubicBezTo>
                  <a:pt x="434648" y="6474"/>
                  <a:pt x="323215" y="21134"/>
                  <a:pt x="227584" y="76349"/>
                </a:cubicBezTo>
                <a:cubicBezTo>
                  <a:pt x="131953" y="131563"/>
                  <a:pt x="63535" y="220710"/>
                  <a:pt x="34960" y="327380"/>
                </a:cubicBezTo>
                <a:close/>
                <a:moveTo>
                  <a:pt x="862830" y="364042"/>
                </a:moveTo>
                <a:cubicBezTo>
                  <a:pt x="861900" y="358386"/>
                  <a:pt x="856579" y="354591"/>
                  <a:pt x="850924" y="355522"/>
                </a:cubicBezTo>
                <a:cubicBezTo>
                  <a:pt x="845268" y="356451"/>
                  <a:pt x="841474" y="361772"/>
                  <a:pt x="842404" y="367428"/>
                </a:cubicBezTo>
                <a:cubicBezTo>
                  <a:pt x="852003" y="425508"/>
                  <a:pt x="849064" y="483995"/>
                  <a:pt x="833697" y="541335"/>
                </a:cubicBezTo>
                <a:cubicBezTo>
                  <a:pt x="805122" y="648006"/>
                  <a:pt x="736695" y="737160"/>
                  <a:pt x="641073" y="792367"/>
                </a:cubicBezTo>
                <a:cubicBezTo>
                  <a:pt x="577375" y="829165"/>
                  <a:pt x="506647" y="847954"/>
                  <a:pt x="435019" y="847954"/>
                </a:cubicBezTo>
                <a:cubicBezTo>
                  <a:pt x="399114" y="847954"/>
                  <a:pt x="362986" y="843228"/>
                  <a:pt x="327377" y="833703"/>
                </a:cubicBezTo>
                <a:cubicBezTo>
                  <a:pt x="234359" y="808774"/>
                  <a:pt x="154660" y="753559"/>
                  <a:pt x="99186" y="676388"/>
                </a:cubicBezTo>
                <a:lnTo>
                  <a:pt x="129920" y="694025"/>
                </a:lnTo>
                <a:cubicBezTo>
                  <a:pt x="134868" y="696852"/>
                  <a:pt x="141194" y="695141"/>
                  <a:pt x="144059" y="690192"/>
                </a:cubicBezTo>
                <a:cubicBezTo>
                  <a:pt x="146924" y="685244"/>
                  <a:pt x="145175" y="678918"/>
                  <a:pt x="140227" y="676053"/>
                </a:cubicBezTo>
                <a:lnTo>
                  <a:pt x="72510" y="637209"/>
                </a:lnTo>
                <a:cubicBezTo>
                  <a:pt x="72510" y="637209"/>
                  <a:pt x="72398" y="637172"/>
                  <a:pt x="72360" y="637135"/>
                </a:cubicBezTo>
                <a:cubicBezTo>
                  <a:pt x="72026" y="636949"/>
                  <a:pt x="71691" y="636801"/>
                  <a:pt x="71356" y="636651"/>
                </a:cubicBezTo>
                <a:cubicBezTo>
                  <a:pt x="71282" y="636614"/>
                  <a:pt x="71207" y="636577"/>
                  <a:pt x="71132" y="636540"/>
                </a:cubicBezTo>
                <a:cubicBezTo>
                  <a:pt x="70724" y="636391"/>
                  <a:pt x="70314" y="636242"/>
                  <a:pt x="69905" y="636168"/>
                </a:cubicBezTo>
                <a:cubicBezTo>
                  <a:pt x="69830" y="636130"/>
                  <a:pt x="69719" y="636130"/>
                  <a:pt x="69645" y="636093"/>
                </a:cubicBezTo>
                <a:cubicBezTo>
                  <a:pt x="69309" y="636019"/>
                  <a:pt x="68938" y="635944"/>
                  <a:pt x="68565" y="635907"/>
                </a:cubicBezTo>
                <a:cubicBezTo>
                  <a:pt x="68491" y="635907"/>
                  <a:pt x="68380" y="635870"/>
                  <a:pt x="68305" y="635870"/>
                </a:cubicBezTo>
                <a:cubicBezTo>
                  <a:pt x="67859" y="635833"/>
                  <a:pt x="67412" y="635796"/>
                  <a:pt x="67002" y="635833"/>
                </a:cubicBezTo>
                <a:lnTo>
                  <a:pt x="66965" y="635833"/>
                </a:lnTo>
                <a:cubicBezTo>
                  <a:pt x="66519" y="635870"/>
                  <a:pt x="66110" y="635907"/>
                  <a:pt x="65663" y="635981"/>
                </a:cubicBezTo>
                <a:cubicBezTo>
                  <a:pt x="65589" y="635981"/>
                  <a:pt x="65515" y="636019"/>
                  <a:pt x="65440" y="636019"/>
                </a:cubicBezTo>
                <a:cubicBezTo>
                  <a:pt x="65031" y="636093"/>
                  <a:pt x="64621" y="636205"/>
                  <a:pt x="64213" y="636317"/>
                </a:cubicBezTo>
                <a:cubicBezTo>
                  <a:pt x="64175" y="636317"/>
                  <a:pt x="64175" y="636317"/>
                  <a:pt x="64138" y="636354"/>
                </a:cubicBezTo>
                <a:cubicBezTo>
                  <a:pt x="63729" y="636502"/>
                  <a:pt x="63319" y="636651"/>
                  <a:pt x="62909" y="636838"/>
                </a:cubicBezTo>
                <a:cubicBezTo>
                  <a:pt x="62798" y="636875"/>
                  <a:pt x="62724" y="636949"/>
                  <a:pt x="62649" y="636986"/>
                </a:cubicBezTo>
                <a:cubicBezTo>
                  <a:pt x="62501" y="637061"/>
                  <a:pt x="62314" y="637135"/>
                  <a:pt x="62166" y="637246"/>
                </a:cubicBezTo>
                <a:cubicBezTo>
                  <a:pt x="62017" y="637321"/>
                  <a:pt x="61906" y="637433"/>
                  <a:pt x="61757" y="637507"/>
                </a:cubicBezTo>
                <a:cubicBezTo>
                  <a:pt x="61682" y="637545"/>
                  <a:pt x="61645" y="637582"/>
                  <a:pt x="61570" y="637619"/>
                </a:cubicBezTo>
                <a:cubicBezTo>
                  <a:pt x="61533" y="637656"/>
                  <a:pt x="61496" y="637693"/>
                  <a:pt x="61459" y="637693"/>
                </a:cubicBezTo>
                <a:cubicBezTo>
                  <a:pt x="61086" y="637954"/>
                  <a:pt x="60752" y="638214"/>
                  <a:pt x="60417" y="638511"/>
                </a:cubicBezTo>
                <a:lnTo>
                  <a:pt x="60380" y="638549"/>
                </a:lnTo>
                <a:cubicBezTo>
                  <a:pt x="60082" y="638847"/>
                  <a:pt x="59784" y="639145"/>
                  <a:pt x="59487" y="639479"/>
                </a:cubicBezTo>
                <a:cubicBezTo>
                  <a:pt x="59413" y="639553"/>
                  <a:pt x="59375" y="639628"/>
                  <a:pt x="59300" y="639702"/>
                </a:cubicBezTo>
                <a:cubicBezTo>
                  <a:pt x="59040" y="640000"/>
                  <a:pt x="58818" y="640335"/>
                  <a:pt x="58594" y="640670"/>
                </a:cubicBezTo>
                <a:cubicBezTo>
                  <a:pt x="58557" y="640707"/>
                  <a:pt x="58557" y="640744"/>
                  <a:pt x="58519" y="640781"/>
                </a:cubicBezTo>
                <a:cubicBezTo>
                  <a:pt x="58297" y="641154"/>
                  <a:pt x="58073" y="641526"/>
                  <a:pt x="57924" y="641897"/>
                </a:cubicBezTo>
                <a:cubicBezTo>
                  <a:pt x="57887" y="641972"/>
                  <a:pt x="57850" y="642083"/>
                  <a:pt x="57813" y="642158"/>
                </a:cubicBezTo>
                <a:cubicBezTo>
                  <a:pt x="57664" y="642456"/>
                  <a:pt x="57552" y="642791"/>
                  <a:pt x="57440" y="643125"/>
                </a:cubicBezTo>
                <a:cubicBezTo>
                  <a:pt x="57403" y="643237"/>
                  <a:pt x="57366" y="643312"/>
                  <a:pt x="57329" y="643423"/>
                </a:cubicBezTo>
                <a:cubicBezTo>
                  <a:pt x="57217" y="643832"/>
                  <a:pt x="57106" y="644242"/>
                  <a:pt x="57069" y="644651"/>
                </a:cubicBezTo>
                <a:cubicBezTo>
                  <a:pt x="57069" y="644725"/>
                  <a:pt x="57032" y="644800"/>
                  <a:pt x="57032" y="644911"/>
                </a:cubicBezTo>
                <a:cubicBezTo>
                  <a:pt x="56994" y="645284"/>
                  <a:pt x="56956" y="645618"/>
                  <a:pt x="56956" y="645990"/>
                </a:cubicBezTo>
                <a:lnTo>
                  <a:pt x="56956" y="646288"/>
                </a:lnTo>
                <a:cubicBezTo>
                  <a:pt x="56956" y="646734"/>
                  <a:pt x="56994" y="647181"/>
                  <a:pt x="57032" y="647628"/>
                </a:cubicBezTo>
                <a:lnTo>
                  <a:pt x="67301" y="724981"/>
                </a:lnTo>
                <a:cubicBezTo>
                  <a:pt x="68007" y="730190"/>
                  <a:pt x="72434" y="733985"/>
                  <a:pt x="77532" y="733985"/>
                </a:cubicBezTo>
                <a:cubicBezTo>
                  <a:pt x="77978" y="733985"/>
                  <a:pt x="78462" y="733948"/>
                  <a:pt x="78909" y="733874"/>
                </a:cubicBezTo>
                <a:cubicBezTo>
                  <a:pt x="84564" y="733129"/>
                  <a:pt x="88582" y="727921"/>
                  <a:pt x="87801" y="722227"/>
                </a:cubicBezTo>
                <a:lnTo>
                  <a:pt x="83560" y="690229"/>
                </a:lnTo>
                <a:cubicBezTo>
                  <a:pt x="141789" y="770336"/>
                  <a:pt x="224949" y="827713"/>
                  <a:pt x="321904" y="853678"/>
                </a:cubicBezTo>
                <a:cubicBezTo>
                  <a:pt x="359297" y="863687"/>
                  <a:pt x="397248" y="868635"/>
                  <a:pt x="434937" y="868635"/>
                </a:cubicBezTo>
                <a:cubicBezTo>
                  <a:pt x="510169" y="868635"/>
                  <a:pt x="584432" y="848916"/>
                  <a:pt x="651335" y="810258"/>
                </a:cubicBezTo>
                <a:cubicBezTo>
                  <a:pt x="751758" y="752252"/>
                  <a:pt x="823605" y="658677"/>
                  <a:pt x="853627" y="546644"/>
                </a:cubicBezTo>
                <a:cubicBezTo>
                  <a:pt x="869775" y="486443"/>
                  <a:pt x="872863" y="424981"/>
                  <a:pt x="862780" y="363992"/>
                </a:cubicBezTo>
                <a:close/>
                <a:moveTo>
                  <a:pt x="690638" y="469264"/>
                </a:moveTo>
                <a:cubicBezTo>
                  <a:pt x="731119" y="488798"/>
                  <a:pt x="759136" y="530283"/>
                  <a:pt x="759136" y="578173"/>
                </a:cubicBezTo>
                <a:cubicBezTo>
                  <a:pt x="759136" y="644811"/>
                  <a:pt x="704925" y="699026"/>
                  <a:pt x="638282" y="699026"/>
                </a:cubicBezTo>
                <a:cubicBezTo>
                  <a:pt x="618377" y="699026"/>
                  <a:pt x="599624" y="694153"/>
                  <a:pt x="583067" y="685632"/>
                </a:cubicBezTo>
                <a:cubicBezTo>
                  <a:pt x="539832" y="694413"/>
                  <a:pt x="488486" y="699026"/>
                  <a:pt x="434315" y="699026"/>
                </a:cubicBezTo>
                <a:cubicBezTo>
                  <a:pt x="306956" y="699026"/>
                  <a:pt x="178035" y="672536"/>
                  <a:pt x="178035" y="621933"/>
                </a:cubicBezTo>
                <a:lnTo>
                  <a:pt x="177998" y="246696"/>
                </a:lnTo>
                <a:cubicBezTo>
                  <a:pt x="177998" y="196131"/>
                  <a:pt x="306919" y="169677"/>
                  <a:pt x="434278" y="169677"/>
                </a:cubicBezTo>
                <a:cubicBezTo>
                  <a:pt x="561637" y="169677"/>
                  <a:pt x="690596" y="196131"/>
                  <a:pt x="690596" y="246696"/>
                </a:cubicBezTo>
                <a:lnTo>
                  <a:pt x="690596" y="469266"/>
                </a:lnTo>
                <a:close/>
                <a:moveTo>
                  <a:pt x="198719" y="246694"/>
                </a:moveTo>
                <a:cubicBezTo>
                  <a:pt x="198719" y="255809"/>
                  <a:pt x="215573" y="270990"/>
                  <a:pt x="263124" y="283900"/>
                </a:cubicBezTo>
                <a:cubicBezTo>
                  <a:pt x="308703" y="296253"/>
                  <a:pt x="369499" y="303062"/>
                  <a:pt x="434317" y="303062"/>
                </a:cubicBezTo>
                <a:cubicBezTo>
                  <a:pt x="499135" y="303062"/>
                  <a:pt x="559961" y="296253"/>
                  <a:pt x="605548" y="283900"/>
                </a:cubicBezTo>
                <a:cubicBezTo>
                  <a:pt x="653061" y="271026"/>
                  <a:pt x="669953" y="255809"/>
                  <a:pt x="669953" y="246694"/>
                </a:cubicBezTo>
                <a:cubicBezTo>
                  <a:pt x="669953" y="237578"/>
                  <a:pt x="653099" y="222435"/>
                  <a:pt x="605548" y="209524"/>
                </a:cubicBezTo>
                <a:cubicBezTo>
                  <a:pt x="559969" y="197171"/>
                  <a:pt x="499135" y="190363"/>
                  <a:pt x="434317" y="190363"/>
                </a:cubicBezTo>
                <a:cubicBezTo>
                  <a:pt x="369499" y="190363"/>
                  <a:pt x="308701" y="197171"/>
                  <a:pt x="263124" y="209524"/>
                </a:cubicBezTo>
                <a:cubicBezTo>
                  <a:pt x="215610" y="222398"/>
                  <a:pt x="198756" y="237578"/>
                  <a:pt x="198756" y="246694"/>
                </a:cubicBezTo>
                <a:close/>
                <a:moveTo>
                  <a:pt x="558735" y="668994"/>
                </a:moveTo>
                <a:cubicBezTo>
                  <a:pt x="533472" y="646819"/>
                  <a:pt x="517436" y="614337"/>
                  <a:pt x="517436" y="578171"/>
                </a:cubicBezTo>
                <a:cubicBezTo>
                  <a:pt x="517436" y="575455"/>
                  <a:pt x="517547" y="572739"/>
                  <a:pt x="517733" y="570060"/>
                </a:cubicBezTo>
                <a:cubicBezTo>
                  <a:pt x="491242" y="572628"/>
                  <a:pt x="463225" y="573930"/>
                  <a:pt x="434278" y="573930"/>
                </a:cubicBezTo>
                <a:cubicBezTo>
                  <a:pt x="337647" y="573930"/>
                  <a:pt x="240131" y="558712"/>
                  <a:pt x="198687" y="529281"/>
                </a:cubicBezTo>
                <a:lnTo>
                  <a:pt x="198687" y="621964"/>
                </a:lnTo>
                <a:cubicBezTo>
                  <a:pt x="198687" y="631080"/>
                  <a:pt x="215541" y="646261"/>
                  <a:pt x="263092" y="659171"/>
                </a:cubicBezTo>
                <a:cubicBezTo>
                  <a:pt x="308672" y="671524"/>
                  <a:pt x="369468" y="678332"/>
                  <a:pt x="434285" y="678332"/>
                </a:cubicBezTo>
                <a:cubicBezTo>
                  <a:pt x="478860" y="678332"/>
                  <a:pt x="521349" y="675133"/>
                  <a:pt x="558701" y="669030"/>
                </a:cubicBezTo>
                <a:close/>
                <a:moveTo>
                  <a:pt x="638284" y="478008"/>
                </a:moveTo>
                <a:cubicBezTo>
                  <a:pt x="583069" y="478008"/>
                  <a:pt x="538157" y="522917"/>
                  <a:pt x="538157" y="578135"/>
                </a:cubicBezTo>
                <a:cubicBezTo>
                  <a:pt x="538157" y="633353"/>
                  <a:pt x="583066" y="678262"/>
                  <a:pt x="638284" y="678262"/>
                </a:cubicBezTo>
                <a:cubicBezTo>
                  <a:pt x="693500" y="678262"/>
                  <a:pt x="738411" y="633353"/>
                  <a:pt x="738411" y="578135"/>
                </a:cubicBezTo>
                <a:cubicBezTo>
                  <a:pt x="738411" y="522917"/>
                  <a:pt x="693503" y="478008"/>
                  <a:pt x="638284" y="478008"/>
                </a:cubicBezTo>
                <a:close/>
                <a:moveTo>
                  <a:pt x="669947" y="461525"/>
                </a:moveTo>
                <a:lnTo>
                  <a:pt x="669947" y="404152"/>
                </a:lnTo>
                <a:cubicBezTo>
                  <a:pt x="628498" y="433621"/>
                  <a:pt x="530978" y="448838"/>
                  <a:pt x="434318" y="448838"/>
                </a:cubicBezTo>
                <a:cubicBezTo>
                  <a:pt x="337658" y="448838"/>
                  <a:pt x="240170" y="433583"/>
                  <a:pt x="198726" y="404152"/>
                </a:cubicBezTo>
                <a:lnTo>
                  <a:pt x="198726" y="496873"/>
                </a:lnTo>
                <a:cubicBezTo>
                  <a:pt x="198726" y="505951"/>
                  <a:pt x="215581" y="521132"/>
                  <a:pt x="263095" y="534042"/>
                </a:cubicBezTo>
                <a:cubicBezTo>
                  <a:pt x="308674" y="546395"/>
                  <a:pt x="369470" y="553203"/>
                  <a:pt x="434287" y="553203"/>
                </a:cubicBezTo>
                <a:cubicBezTo>
                  <a:pt x="464537" y="553203"/>
                  <a:pt x="493633" y="551753"/>
                  <a:pt x="521017" y="548888"/>
                </a:cubicBezTo>
                <a:cubicBezTo>
                  <a:pt x="534151" y="496352"/>
                  <a:pt x="581702" y="457321"/>
                  <a:pt x="638260" y="457321"/>
                </a:cubicBezTo>
                <a:cubicBezTo>
                  <a:pt x="649199" y="457321"/>
                  <a:pt x="659803" y="458809"/>
                  <a:pt x="669923" y="461563"/>
                </a:cubicBezTo>
                <a:close/>
                <a:moveTo>
                  <a:pt x="669947" y="371745"/>
                </a:moveTo>
                <a:lnTo>
                  <a:pt x="669947" y="279024"/>
                </a:lnTo>
                <a:cubicBezTo>
                  <a:pt x="628498" y="308493"/>
                  <a:pt x="530978" y="323710"/>
                  <a:pt x="434318" y="323710"/>
                </a:cubicBezTo>
                <a:cubicBezTo>
                  <a:pt x="337658" y="323710"/>
                  <a:pt x="240170" y="308455"/>
                  <a:pt x="198726" y="279024"/>
                </a:cubicBezTo>
                <a:lnTo>
                  <a:pt x="198726" y="371745"/>
                </a:lnTo>
                <a:cubicBezTo>
                  <a:pt x="198726" y="380823"/>
                  <a:pt x="215581" y="396041"/>
                  <a:pt x="263132" y="408914"/>
                </a:cubicBezTo>
                <a:cubicBezTo>
                  <a:pt x="308711" y="421304"/>
                  <a:pt x="369545" y="428113"/>
                  <a:pt x="434325" y="428113"/>
                </a:cubicBezTo>
                <a:cubicBezTo>
                  <a:pt x="499139" y="428113"/>
                  <a:pt x="559969" y="421304"/>
                  <a:pt x="605555" y="408914"/>
                </a:cubicBezTo>
                <a:cubicBezTo>
                  <a:pt x="653069" y="396003"/>
                  <a:pt x="669961" y="380823"/>
                  <a:pt x="669961" y="371745"/>
                </a:cubicBezTo>
                <a:close/>
                <a:moveTo>
                  <a:pt x="279203" y="355969"/>
                </a:moveTo>
                <a:cubicBezTo>
                  <a:pt x="279203" y="371038"/>
                  <a:pt x="266925" y="383317"/>
                  <a:pt x="251856" y="383317"/>
                </a:cubicBezTo>
                <a:cubicBezTo>
                  <a:pt x="236750" y="383317"/>
                  <a:pt x="224509" y="371038"/>
                  <a:pt x="224509" y="355969"/>
                </a:cubicBezTo>
                <a:cubicBezTo>
                  <a:pt x="224509" y="340864"/>
                  <a:pt x="236787" y="328622"/>
                  <a:pt x="251856" y="328622"/>
                </a:cubicBezTo>
                <a:cubicBezTo>
                  <a:pt x="266962" y="328622"/>
                  <a:pt x="279203" y="340901"/>
                  <a:pt x="279203" y="355969"/>
                </a:cubicBezTo>
                <a:close/>
                <a:moveTo>
                  <a:pt x="258479" y="355969"/>
                </a:moveTo>
                <a:cubicBezTo>
                  <a:pt x="258479" y="352286"/>
                  <a:pt x="255502" y="349347"/>
                  <a:pt x="251856" y="349347"/>
                </a:cubicBezTo>
                <a:cubicBezTo>
                  <a:pt x="248210" y="349347"/>
                  <a:pt x="245233" y="352323"/>
                  <a:pt x="245233" y="355969"/>
                </a:cubicBezTo>
                <a:cubicBezTo>
                  <a:pt x="245233" y="359615"/>
                  <a:pt x="248210" y="362592"/>
                  <a:pt x="251856" y="362592"/>
                </a:cubicBezTo>
                <a:cubicBezTo>
                  <a:pt x="255502" y="362592"/>
                  <a:pt x="258479" y="359615"/>
                  <a:pt x="258479" y="355969"/>
                </a:cubicBezTo>
                <a:close/>
                <a:moveTo>
                  <a:pt x="355624" y="371001"/>
                </a:moveTo>
                <a:cubicBezTo>
                  <a:pt x="355624" y="386069"/>
                  <a:pt x="343346" y="398348"/>
                  <a:pt x="328277" y="398348"/>
                </a:cubicBezTo>
                <a:cubicBezTo>
                  <a:pt x="313171" y="398348"/>
                  <a:pt x="300930" y="386069"/>
                  <a:pt x="300930" y="371001"/>
                </a:cubicBezTo>
                <a:cubicBezTo>
                  <a:pt x="300930" y="355895"/>
                  <a:pt x="313208" y="343653"/>
                  <a:pt x="328277" y="343653"/>
                </a:cubicBezTo>
                <a:cubicBezTo>
                  <a:pt x="343383" y="343653"/>
                  <a:pt x="355624" y="355932"/>
                  <a:pt x="355624" y="371001"/>
                </a:cubicBezTo>
                <a:close/>
                <a:moveTo>
                  <a:pt x="334900" y="371001"/>
                </a:moveTo>
                <a:cubicBezTo>
                  <a:pt x="334900" y="367317"/>
                  <a:pt x="331923" y="364378"/>
                  <a:pt x="328277" y="364378"/>
                </a:cubicBezTo>
                <a:cubicBezTo>
                  <a:pt x="324631" y="364378"/>
                  <a:pt x="321654" y="367355"/>
                  <a:pt x="321654" y="371001"/>
                </a:cubicBezTo>
                <a:cubicBezTo>
                  <a:pt x="321654" y="374647"/>
                  <a:pt x="324631" y="377623"/>
                  <a:pt x="328277" y="377623"/>
                </a:cubicBezTo>
                <a:cubicBezTo>
                  <a:pt x="331923" y="377623"/>
                  <a:pt x="334900" y="374647"/>
                  <a:pt x="334900" y="371001"/>
                </a:cubicBezTo>
                <a:close/>
                <a:moveTo>
                  <a:pt x="355624" y="495159"/>
                </a:moveTo>
                <a:cubicBezTo>
                  <a:pt x="355624" y="510228"/>
                  <a:pt x="343346" y="522506"/>
                  <a:pt x="328277" y="522506"/>
                </a:cubicBezTo>
                <a:cubicBezTo>
                  <a:pt x="313171" y="522506"/>
                  <a:pt x="300930" y="510228"/>
                  <a:pt x="300930" y="495159"/>
                </a:cubicBezTo>
                <a:cubicBezTo>
                  <a:pt x="300930" y="480053"/>
                  <a:pt x="313208" y="467849"/>
                  <a:pt x="328277" y="467849"/>
                </a:cubicBezTo>
                <a:cubicBezTo>
                  <a:pt x="343383" y="467849"/>
                  <a:pt x="355624" y="480091"/>
                  <a:pt x="355624" y="495159"/>
                </a:cubicBezTo>
                <a:close/>
                <a:moveTo>
                  <a:pt x="334900" y="495159"/>
                </a:moveTo>
                <a:cubicBezTo>
                  <a:pt x="334900" y="491513"/>
                  <a:pt x="331923" y="488573"/>
                  <a:pt x="328277" y="488573"/>
                </a:cubicBezTo>
                <a:cubicBezTo>
                  <a:pt x="324631" y="488573"/>
                  <a:pt x="321654" y="491550"/>
                  <a:pt x="321654" y="495159"/>
                </a:cubicBezTo>
                <a:cubicBezTo>
                  <a:pt x="321654" y="498842"/>
                  <a:pt x="324631" y="501782"/>
                  <a:pt x="328277" y="501782"/>
                </a:cubicBezTo>
                <a:cubicBezTo>
                  <a:pt x="331923" y="501782"/>
                  <a:pt x="334900" y="498805"/>
                  <a:pt x="334900" y="495159"/>
                </a:cubicBezTo>
                <a:close/>
                <a:moveTo>
                  <a:pt x="279163" y="480165"/>
                </a:moveTo>
                <a:cubicBezTo>
                  <a:pt x="279163" y="495233"/>
                  <a:pt x="266885" y="507512"/>
                  <a:pt x="251816" y="507512"/>
                </a:cubicBezTo>
                <a:cubicBezTo>
                  <a:pt x="236710" y="507512"/>
                  <a:pt x="224469" y="495233"/>
                  <a:pt x="224469" y="480165"/>
                </a:cubicBezTo>
                <a:cubicBezTo>
                  <a:pt x="224469" y="465059"/>
                  <a:pt x="236747" y="452818"/>
                  <a:pt x="251816" y="452818"/>
                </a:cubicBezTo>
                <a:cubicBezTo>
                  <a:pt x="266922" y="452818"/>
                  <a:pt x="279163" y="465096"/>
                  <a:pt x="279163" y="480165"/>
                </a:cubicBezTo>
                <a:close/>
                <a:moveTo>
                  <a:pt x="258439" y="480165"/>
                </a:moveTo>
                <a:cubicBezTo>
                  <a:pt x="258439" y="476482"/>
                  <a:pt x="255462" y="473542"/>
                  <a:pt x="251816" y="473542"/>
                </a:cubicBezTo>
                <a:cubicBezTo>
                  <a:pt x="248170" y="473542"/>
                  <a:pt x="245193" y="476519"/>
                  <a:pt x="245193" y="480165"/>
                </a:cubicBezTo>
                <a:cubicBezTo>
                  <a:pt x="245193" y="483811"/>
                  <a:pt x="248170" y="486788"/>
                  <a:pt x="251816" y="486788"/>
                </a:cubicBezTo>
                <a:cubicBezTo>
                  <a:pt x="255462" y="486788"/>
                  <a:pt x="258439" y="483811"/>
                  <a:pt x="258439" y="480165"/>
                </a:cubicBezTo>
                <a:close/>
                <a:moveTo>
                  <a:pt x="355584" y="623078"/>
                </a:moveTo>
                <a:cubicBezTo>
                  <a:pt x="355584" y="638147"/>
                  <a:pt x="343305" y="650425"/>
                  <a:pt x="328237" y="650425"/>
                </a:cubicBezTo>
                <a:cubicBezTo>
                  <a:pt x="313131" y="650425"/>
                  <a:pt x="300890" y="638147"/>
                  <a:pt x="300890" y="623078"/>
                </a:cubicBezTo>
                <a:cubicBezTo>
                  <a:pt x="300890" y="607972"/>
                  <a:pt x="313168" y="595731"/>
                  <a:pt x="328237" y="595731"/>
                </a:cubicBezTo>
                <a:cubicBezTo>
                  <a:pt x="343343" y="595731"/>
                  <a:pt x="355584" y="608009"/>
                  <a:pt x="355584" y="623078"/>
                </a:cubicBezTo>
                <a:close/>
                <a:moveTo>
                  <a:pt x="334860" y="623078"/>
                </a:moveTo>
                <a:cubicBezTo>
                  <a:pt x="334860" y="619395"/>
                  <a:pt x="331883" y="616455"/>
                  <a:pt x="328237" y="616455"/>
                </a:cubicBezTo>
                <a:cubicBezTo>
                  <a:pt x="324591" y="616455"/>
                  <a:pt x="321614" y="619432"/>
                  <a:pt x="321614" y="623078"/>
                </a:cubicBezTo>
                <a:cubicBezTo>
                  <a:pt x="321614" y="626724"/>
                  <a:pt x="324591" y="629701"/>
                  <a:pt x="328237" y="629701"/>
                </a:cubicBezTo>
                <a:cubicBezTo>
                  <a:pt x="331883" y="629701"/>
                  <a:pt x="334860" y="626724"/>
                  <a:pt x="334860" y="623078"/>
                </a:cubicBezTo>
                <a:close/>
                <a:moveTo>
                  <a:pt x="279123" y="608047"/>
                </a:moveTo>
                <a:cubicBezTo>
                  <a:pt x="279123" y="623115"/>
                  <a:pt x="266845" y="635394"/>
                  <a:pt x="251776" y="635394"/>
                </a:cubicBezTo>
                <a:cubicBezTo>
                  <a:pt x="236670" y="635394"/>
                  <a:pt x="224429" y="623115"/>
                  <a:pt x="224429" y="608047"/>
                </a:cubicBezTo>
                <a:cubicBezTo>
                  <a:pt x="224429" y="592941"/>
                  <a:pt x="236707" y="580699"/>
                  <a:pt x="251776" y="580699"/>
                </a:cubicBezTo>
                <a:cubicBezTo>
                  <a:pt x="266882" y="580699"/>
                  <a:pt x="279123" y="592978"/>
                  <a:pt x="279123" y="608047"/>
                </a:cubicBezTo>
                <a:close/>
                <a:moveTo>
                  <a:pt x="258399" y="608047"/>
                </a:moveTo>
                <a:cubicBezTo>
                  <a:pt x="258399" y="604363"/>
                  <a:pt x="255422" y="601424"/>
                  <a:pt x="251776" y="601424"/>
                </a:cubicBezTo>
                <a:cubicBezTo>
                  <a:pt x="248130" y="601424"/>
                  <a:pt x="245153" y="604400"/>
                  <a:pt x="245153" y="608047"/>
                </a:cubicBezTo>
                <a:cubicBezTo>
                  <a:pt x="245153" y="611693"/>
                  <a:pt x="248130" y="614669"/>
                  <a:pt x="251776" y="614669"/>
                </a:cubicBezTo>
                <a:cubicBezTo>
                  <a:pt x="255422" y="614669"/>
                  <a:pt x="258399" y="611693"/>
                  <a:pt x="258399" y="608047"/>
                </a:cubicBezTo>
                <a:close/>
                <a:moveTo>
                  <a:pt x="638208" y="495194"/>
                </a:moveTo>
                <a:cubicBezTo>
                  <a:pt x="683936" y="495194"/>
                  <a:pt x="721105" y="532364"/>
                  <a:pt x="721105" y="578091"/>
                </a:cubicBezTo>
                <a:cubicBezTo>
                  <a:pt x="721105" y="623782"/>
                  <a:pt x="683936" y="660914"/>
                  <a:pt x="638208" y="660914"/>
                </a:cubicBezTo>
                <a:cubicBezTo>
                  <a:pt x="592518" y="660914"/>
                  <a:pt x="555385" y="623745"/>
                  <a:pt x="555385" y="578091"/>
                </a:cubicBezTo>
                <a:cubicBezTo>
                  <a:pt x="555385" y="532401"/>
                  <a:pt x="592555" y="495194"/>
                  <a:pt x="638208" y="495194"/>
                </a:cubicBezTo>
                <a:close/>
                <a:moveTo>
                  <a:pt x="638208" y="515919"/>
                </a:moveTo>
                <a:cubicBezTo>
                  <a:pt x="603940" y="515919"/>
                  <a:pt x="576073" y="543824"/>
                  <a:pt x="576073" y="578091"/>
                </a:cubicBezTo>
                <a:cubicBezTo>
                  <a:pt x="576073" y="612358"/>
                  <a:pt x="603941" y="640227"/>
                  <a:pt x="638208" y="640227"/>
                </a:cubicBezTo>
                <a:cubicBezTo>
                  <a:pt x="672475" y="640227"/>
                  <a:pt x="700381" y="612358"/>
                  <a:pt x="700381" y="578091"/>
                </a:cubicBezTo>
                <a:cubicBezTo>
                  <a:pt x="700381" y="543824"/>
                  <a:pt x="672475" y="515919"/>
                  <a:pt x="638208" y="515919"/>
                </a:cubicBezTo>
                <a:close/>
                <a:moveTo>
                  <a:pt x="617186" y="564734"/>
                </a:moveTo>
                <a:cubicBezTo>
                  <a:pt x="614321" y="559786"/>
                  <a:pt x="607997" y="558075"/>
                  <a:pt x="603048" y="560940"/>
                </a:cubicBezTo>
                <a:cubicBezTo>
                  <a:pt x="598099" y="563804"/>
                  <a:pt x="596388" y="570129"/>
                  <a:pt x="599253" y="575079"/>
                </a:cubicBezTo>
                <a:lnTo>
                  <a:pt x="616368" y="604733"/>
                </a:lnTo>
                <a:cubicBezTo>
                  <a:pt x="617967" y="607523"/>
                  <a:pt x="620795" y="609383"/>
                  <a:pt x="623995" y="609830"/>
                </a:cubicBezTo>
                <a:cubicBezTo>
                  <a:pt x="624442" y="609904"/>
                  <a:pt x="624888" y="609904"/>
                  <a:pt x="625372" y="609904"/>
                </a:cubicBezTo>
                <a:cubicBezTo>
                  <a:pt x="628088" y="609904"/>
                  <a:pt x="630730" y="608826"/>
                  <a:pt x="632702" y="606890"/>
                </a:cubicBezTo>
                <a:lnTo>
                  <a:pt x="675638" y="563991"/>
                </a:lnTo>
                <a:cubicBezTo>
                  <a:pt x="679694" y="559935"/>
                  <a:pt x="679694" y="553386"/>
                  <a:pt x="675638" y="549368"/>
                </a:cubicBezTo>
                <a:cubicBezTo>
                  <a:pt x="671583" y="545312"/>
                  <a:pt x="665034" y="545312"/>
                  <a:pt x="661016" y="549368"/>
                </a:cubicBezTo>
                <a:lnTo>
                  <a:pt x="627641" y="582705"/>
                </a:lnTo>
                <a:lnTo>
                  <a:pt x="617298" y="564734"/>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8" name="Freeform: Shape 177">
            <a:extLst>
              <a:ext uri="{FF2B5EF4-FFF2-40B4-BE49-F238E27FC236}">
                <a16:creationId xmlns:a16="http://schemas.microsoft.com/office/drawing/2014/main" id="{0F07CE0E-86DE-5459-827D-1A5E7F0B7949}"/>
              </a:ext>
            </a:extLst>
          </p:cNvPr>
          <p:cNvSpPr/>
          <p:nvPr/>
        </p:nvSpPr>
        <p:spPr>
          <a:xfrm>
            <a:off x="6456147" y="3112846"/>
            <a:ext cx="447747" cy="277465"/>
          </a:xfrm>
          <a:custGeom>
            <a:avLst/>
            <a:gdLst>
              <a:gd name="connsiteX0" fmla="*/ 869161 w 904389"/>
              <a:gd name="connsiteY0" fmla="*/ 273731 h 560443"/>
              <a:gd name="connsiteX1" fmla="*/ 703997 w 904389"/>
              <a:gd name="connsiteY1" fmla="*/ 74563 h 560443"/>
              <a:gd name="connsiteX2" fmla="*/ 456233 w 904389"/>
              <a:gd name="connsiteY2" fmla="*/ 0 h 560443"/>
              <a:gd name="connsiteX3" fmla="*/ 447676 w 904389"/>
              <a:gd name="connsiteY3" fmla="*/ 0 h 560443"/>
              <a:gd name="connsiteX4" fmla="*/ 130893 w 904389"/>
              <a:gd name="connsiteY4" fmla="*/ 131302 h 560443"/>
              <a:gd name="connsiteX5" fmla="*/ 0 w 904389"/>
              <a:gd name="connsiteY5" fmla="*/ 448228 h 560443"/>
              <a:gd name="connsiteX6" fmla="*/ 2940 w 904389"/>
              <a:gd name="connsiteY6" fmla="*/ 455334 h 560443"/>
              <a:gd name="connsiteX7" fmla="*/ 10083 w 904389"/>
              <a:gd name="connsiteY7" fmla="*/ 458237 h 560443"/>
              <a:gd name="connsiteX8" fmla="*/ 340038 w 904389"/>
              <a:gd name="connsiteY8" fmla="*/ 458237 h 560443"/>
              <a:gd name="connsiteX9" fmla="*/ 413189 w 904389"/>
              <a:gd name="connsiteY9" fmla="*/ 553487 h 560443"/>
              <a:gd name="connsiteX10" fmla="*/ 452069 w 904389"/>
              <a:gd name="connsiteY10" fmla="*/ 560444 h 560443"/>
              <a:gd name="connsiteX11" fmla="*/ 563874 w 904389"/>
              <a:gd name="connsiteY11" fmla="*/ 458241 h 560443"/>
              <a:gd name="connsiteX12" fmla="*/ 894305 w 904389"/>
              <a:gd name="connsiteY12" fmla="*/ 458241 h 560443"/>
              <a:gd name="connsiteX13" fmla="*/ 901412 w 904389"/>
              <a:gd name="connsiteY13" fmla="*/ 455339 h 560443"/>
              <a:gd name="connsiteX14" fmla="*/ 904388 w 904389"/>
              <a:gd name="connsiteY14" fmla="*/ 448232 h 560443"/>
              <a:gd name="connsiteX15" fmla="*/ 869153 w 904389"/>
              <a:gd name="connsiteY15" fmla="*/ 273734 h 560443"/>
              <a:gd name="connsiteX16" fmla="*/ 538539 w 904389"/>
              <a:gd name="connsiteY16" fmla="*/ 480337 h 560443"/>
              <a:gd name="connsiteX17" fmla="*/ 420143 w 904389"/>
              <a:gd name="connsiteY17" fmla="*/ 535106 h 560443"/>
              <a:gd name="connsiteX18" fmla="*/ 359644 w 904389"/>
              <a:gd name="connsiteY18" fmla="*/ 448526 h 560443"/>
              <a:gd name="connsiteX19" fmla="*/ 365374 w 904389"/>
              <a:gd name="connsiteY19" fmla="*/ 416602 h 560443"/>
              <a:gd name="connsiteX20" fmla="*/ 368127 w 904389"/>
              <a:gd name="connsiteY20" fmla="*/ 409942 h 560443"/>
              <a:gd name="connsiteX21" fmla="*/ 369280 w 904389"/>
              <a:gd name="connsiteY21" fmla="*/ 407672 h 560443"/>
              <a:gd name="connsiteX22" fmla="*/ 371364 w 904389"/>
              <a:gd name="connsiteY22" fmla="*/ 403468 h 560443"/>
              <a:gd name="connsiteX23" fmla="*/ 373076 w 904389"/>
              <a:gd name="connsiteY23" fmla="*/ 400788 h 560443"/>
              <a:gd name="connsiteX24" fmla="*/ 375159 w 904389"/>
              <a:gd name="connsiteY24" fmla="*/ 397366 h 560443"/>
              <a:gd name="connsiteX25" fmla="*/ 377056 w 904389"/>
              <a:gd name="connsiteY25" fmla="*/ 394612 h 560443"/>
              <a:gd name="connsiteX26" fmla="*/ 379252 w 904389"/>
              <a:gd name="connsiteY26" fmla="*/ 391673 h 560443"/>
              <a:gd name="connsiteX27" fmla="*/ 381522 w 904389"/>
              <a:gd name="connsiteY27" fmla="*/ 388920 h 560443"/>
              <a:gd name="connsiteX28" fmla="*/ 383792 w 904389"/>
              <a:gd name="connsiteY28" fmla="*/ 386352 h 560443"/>
              <a:gd name="connsiteX29" fmla="*/ 383866 w 904389"/>
              <a:gd name="connsiteY29" fmla="*/ 386315 h 560443"/>
              <a:gd name="connsiteX30" fmla="*/ 386321 w 904389"/>
              <a:gd name="connsiteY30" fmla="*/ 383748 h 560443"/>
              <a:gd name="connsiteX31" fmla="*/ 388703 w 904389"/>
              <a:gd name="connsiteY31" fmla="*/ 381255 h 560443"/>
              <a:gd name="connsiteX32" fmla="*/ 391455 w 904389"/>
              <a:gd name="connsiteY32" fmla="*/ 378874 h 560443"/>
              <a:gd name="connsiteX33" fmla="*/ 394023 w 904389"/>
              <a:gd name="connsiteY33" fmla="*/ 376679 h 560443"/>
              <a:gd name="connsiteX34" fmla="*/ 396887 w 904389"/>
              <a:gd name="connsiteY34" fmla="*/ 374483 h 560443"/>
              <a:gd name="connsiteX35" fmla="*/ 399641 w 904389"/>
              <a:gd name="connsiteY35" fmla="*/ 372474 h 560443"/>
              <a:gd name="connsiteX36" fmla="*/ 402692 w 904389"/>
              <a:gd name="connsiteY36" fmla="*/ 370465 h 560443"/>
              <a:gd name="connsiteX37" fmla="*/ 405557 w 904389"/>
              <a:gd name="connsiteY37" fmla="*/ 368754 h 560443"/>
              <a:gd name="connsiteX38" fmla="*/ 405557 w 904389"/>
              <a:gd name="connsiteY38" fmla="*/ 368791 h 560443"/>
              <a:gd name="connsiteX39" fmla="*/ 408719 w 904389"/>
              <a:gd name="connsiteY39" fmla="*/ 367079 h 560443"/>
              <a:gd name="connsiteX40" fmla="*/ 411770 w 904389"/>
              <a:gd name="connsiteY40" fmla="*/ 365442 h 560443"/>
              <a:gd name="connsiteX41" fmla="*/ 415008 w 904389"/>
              <a:gd name="connsiteY41" fmla="*/ 364029 h 560443"/>
              <a:gd name="connsiteX42" fmla="*/ 418133 w 904389"/>
              <a:gd name="connsiteY42" fmla="*/ 362614 h 560443"/>
              <a:gd name="connsiteX43" fmla="*/ 424830 w 904389"/>
              <a:gd name="connsiteY43" fmla="*/ 360307 h 560443"/>
              <a:gd name="connsiteX44" fmla="*/ 428179 w 904389"/>
              <a:gd name="connsiteY44" fmla="*/ 359340 h 560443"/>
              <a:gd name="connsiteX45" fmla="*/ 431714 w 904389"/>
              <a:gd name="connsiteY45" fmla="*/ 358484 h 560443"/>
              <a:gd name="connsiteX46" fmla="*/ 435136 w 904389"/>
              <a:gd name="connsiteY46" fmla="*/ 357814 h 560443"/>
              <a:gd name="connsiteX47" fmla="*/ 438076 w 904389"/>
              <a:gd name="connsiteY47" fmla="*/ 357256 h 560443"/>
              <a:gd name="connsiteX48" fmla="*/ 438745 w 904389"/>
              <a:gd name="connsiteY48" fmla="*/ 357256 h 560443"/>
              <a:gd name="connsiteX49" fmla="*/ 442429 w 904389"/>
              <a:gd name="connsiteY49" fmla="*/ 356512 h 560443"/>
              <a:gd name="connsiteX50" fmla="*/ 455080 w 904389"/>
              <a:gd name="connsiteY50" fmla="*/ 356512 h 560443"/>
              <a:gd name="connsiteX51" fmla="*/ 462149 w 904389"/>
              <a:gd name="connsiteY51" fmla="*/ 353833 h 560443"/>
              <a:gd name="connsiteX52" fmla="*/ 463860 w 904389"/>
              <a:gd name="connsiteY52" fmla="*/ 351861 h 560443"/>
              <a:gd name="connsiteX53" fmla="*/ 522907 w 904389"/>
              <a:gd name="connsiteY53" fmla="*/ 257951 h 560443"/>
              <a:gd name="connsiteX54" fmla="*/ 506238 w 904389"/>
              <a:gd name="connsiteY54" fmla="*/ 367078 h 560443"/>
              <a:gd name="connsiteX55" fmla="*/ 509960 w 904389"/>
              <a:gd name="connsiteY55" fmla="*/ 376603 h 560443"/>
              <a:gd name="connsiteX56" fmla="*/ 544265 w 904389"/>
              <a:gd name="connsiteY56" fmla="*/ 448413 h 560443"/>
              <a:gd name="connsiteX57" fmla="*/ 538535 w 904389"/>
              <a:gd name="connsiteY57" fmla="*/ 480337 h 560443"/>
              <a:gd name="connsiteX58" fmla="*/ 563877 w 904389"/>
              <a:gd name="connsiteY58" fmla="*/ 438443 h 560443"/>
              <a:gd name="connsiteX59" fmla="*/ 563877 w 904389"/>
              <a:gd name="connsiteY59" fmla="*/ 437475 h 560443"/>
              <a:gd name="connsiteX60" fmla="*/ 563207 w 904389"/>
              <a:gd name="connsiteY60" fmla="*/ 432712 h 560443"/>
              <a:gd name="connsiteX61" fmla="*/ 562463 w 904389"/>
              <a:gd name="connsiteY61" fmla="*/ 427280 h 560443"/>
              <a:gd name="connsiteX62" fmla="*/ 562463 w 904389"/>
              <a:gd name="connsiteY62" fmla="*/ 425755 h 560443"/>
              <a:gd name="connsiteX63" fmla="*/ 561421 w 904389"/>
              <a:gd name="connsiteY63" fmla="*/ 421290 h 560443"/>
              <a:gd name="connsiteX64" fmla="*/ 559598 w 904389"/>
              <a:gd name="connsiteY64" fmla="*/ 414890 h 560443"/>
              <a:gd name="connsiteX65" fmla="*/ 558072 w 904389"/>
              <a:gd name="connsiteY65" fmla="*/ 410426 h 560443"/>
              <a:gd name="connsiteX66" fmla="*/ 555691 w 904389"/>
              <a:gd name="connsiteY66" fmla="*/ 404324 h 560443"/>
              <a:gd name="connsiteX67" fmla="*/ 553794 w 904389"/>
              <a:gd name="connsiteY67" fmla="*/ 400045 h 560443"/>
              <a:gd name="connsiteX68" fmla="*/ 550854 w 904389"/>
              <a:gd name="connsiteY68" fmla="*/ 394129 h 560443"/>
              <a:gd name="connsiteX69" fmla="*/ 548585 w 904389"/>
              <a:gd name="connsiteY69" fmla="*/ 390111 h 560443"/>
              <a:gd name="connsiteX70" fmla="*/ 548547 w 904389"/>
              <a:gd name="connsiteY70" fmla="*/ 390148 h 560443"/>
              <a:gd name="connsiteX71" fmla="*/ 544827 w 904389"/>
              <a:gd name="connsiteY71" fmla="*/ 384418 h 560443"/>
              <a:gd name="connsiteX72" fmla="*/ 542334 w 904389"/>
              <a:gd name="connsiteY72" fmla="*/ 380809 h 560443"/>
              <a:gd name="connsiteX73" fmla="*/ 537683 w 904389"/>
              <a:gd name="connsiteY73" fmla="*/ 374893 h 560443"/>
              <a:gd name="connsiteX74" fmla="*/ 535302 w 904389"/>
              <a:gd name="connsiteY74" fmla="*/ 372140 h 560443"/>
              <a:gd name="connsiteX75" fmla="*/ 527414 w 904389"/>
              <a:gd name="connsiteY75" fmla="*/ 364140 h 560443"/>
              <a:gd name="connsiteX76" fmla="*/ 548846 w 904389"/>
              <a:gd name="connsiteY76" fmla="*/ 213635 h 560443"/>
              <a:gd name="connsiteX77" fmla="*/ 545311 w 904389"/>
              <a:gd name="connsiteY77" fmla="*/ 204110 h 560443"/>
              <a:gd name="connsiteX78" fmla="*/ 542334 w 904389"/>
              <a:gd name="connsiteY78" fmla="*/ 202399 h 560443"/>
              <a:gd name="connsiteX79" fmla="*/ 530354 w 904389"/>
              <a:gd name="connsiteY79" fmla="*/ 206492 h 560443"/>
              <a:gd name="connsiteX80" fmla="*/ 449019 w 904389"/>
              <a:gd name="connsiteY80" fmla="*/ 335822 h 560443"/>
              <a:gd name="connsiteX81" fmla="*/ 423941 w 904389"/>
              <a:gd name="connsiteY81" fmla="*/ 339357 h 560443"/>
              <a:gd name="connsiteX82" fmla="*/ 415942 w 904389"/>
              <a:gd name="connsiteY82" fmla="*/ 341738 h 560443"/>
              <a:gd name="connsiteX83" fmla="*/ 400613 w 904389"/>
              <a:gd name="connsiteY83" fmla="*/ 348212 h 560443"/>
              <a:gd name="connsiteX84" fmla="*/ 346514 w 904389"/>
              <a:gd name="connsiteY84" fmla="*/ 409455 h 560443"/>
              <a:gd name="connsiteX85" fmla="*/ 342792 w 904389"/>
              <a:gd name="connsiteY85" fmla="*/ 422031 h 560443"/>
              <a:gd name="connsiteX86" fmla="*/ 342048 w 904389"/>
              <a:gd name="connsiteY86" fmla="*/ 425268 h 560443"/>
              <a:gd name="connsiteX87" fmla="*/ 340151 w 904389"/>
              <a:gd name="connsiteY87" fmla="*/ 437769 h 560443"/>
              <a:gd name="connsiteX88" fmla="*/ 92501 w 904389"/>
              <a:gd name="connsiteY88" fmla="*/ 437769 h 560443"/>
              <a:gd name="connsiteX89" fmla="*/ 96184 w 904389"/>
              <a:gd name="connsiteY89" fmla="*/ 396246 h 560443"/>
              <a:gd name="connsiteX90" fmla="*/ 149427 w 904389"/>
              <a:gd name="connsiteY90" fmla="*/ 405771 h 560443"/>
              <a:gd name="connsiteX91" fmla="*/ 151176 w 904389"/>
              <a:gd name="connsiteY91" fmla="*/ 405771 h 560443"/>
              <a:gd name="connsiteX92" fmla="*/ 161519 w 904389"/>
              <a:gd name="connsiteY92" fmla="*/ 396618 h 560443"/>
              <a:gd name="connsiteX93" fmla="*/ 152887 w 904389"/>
              <a:gd name="connsiteY93" fmla="*/ 385828 h 560443"/>
              <a:gd name="connsiteX94" fmla="*/ 99644 w 904389"/>
              <a:gd name="connsiteY94" fmla="*/ 376303 h 560443"/>
              <a:gd name="connsiteX95" fmla="*/ 135921 w 904389"/>
              <a:gd name="connsiteY95" fmla="*/ 278415 h 560443"/>
              <a:gd name="connsiteX96" fmla="*/ 182392 w 904389"/>
              <a:gd name="connsiteY96" fmla="*/ 305167 h 560443"/>
              <a:gd name="connsiteX97" fmla="*/ 187341 w 904389"/>
              <a:gd name="connsiteY97" fmla="*/ 306506 h 560443"/>
              <a:gd name="connsiteX98" fmla="*/ 197908 w 904389"/>
              <a:gd name="connsiteY98" fmla="*/ 299102 h 560443"/>
              <a:gd name="connsiteX99" fmla="*/ 192402 w 904389"/>
              <a:gd name="connsiteY99" fmla="*/ 287456 h 560443"/>
              <a:gd name="connsiteX100" fmla="*/ 146005 w 904389"/>
              <a:gd name="connsiteY100" fmla="*/ 261262 h 560443"/>
              <a:gd name="connsiteX101" fmla="*/ 213833 w 904389"/>
              <a:gd name="connsiteY101" fmla="*/ 181155 h 560443"/>
              <a:gd name="connsiteX102" fmla="*/ 247729 w 904389"/>
              <a:gd name="connsiteY102" fmla="*/ 221525 h 560443"/>
              <a:gd name="connsiteX103" fmla="*/ 255468 w 904389"/>
              <a:gd name="connsiteY103" fmla="*/ 225171 h 560443"/>
              <a:gd name="connsiteX104" fmla="*/ 261458 w 904389"/>
              <a:gd name="connsiteY104" fmla="*/ 223162 h 560443"/>
              <a:gd name="connsiteX105" fmla="*/ 265030 w 904389"/>
              <a:gd name="connsiteY105" fmla="*/ 216316 h 560443"/>
              <a:gd name="connsiteX106" fmla="*/ 262686 w 904389"/>
              <a:gd name="connsiteY106" fmla="*/ 208986 h 560443"/>
              <a:gd name="connsiteX107" fmla="*/ 229088 w 904389"/>
              <a:gd name="connsiteY107" fmla="*/ 168394 h 560443"/>
              <a:gd name="connsiteX108" fmla="*/ 319650 w 904389"/>
              <a:gd name="connsiteY108" fmla="*/ 116676 h 560443"/>
              <a:gd name="connsiteX109" fmla="*/ 337658 w 904389"/>
              <a:gd name="connsiteY109" fmla="*/ 165343 h 560443"/>
              <a:gd name="connsiteX110" fmla="*/ 347183 w 904389"/>
              <a:gd name="connsiteY110" fmla="*/ 171928 h 560443"/>
              <a:gd name="connsiteX111" fmla="*/ 350606 w 904389"/>
              <a:gd name="connsiteY111" fmla="*/ 171333 h 560443"/>
              <a:gd name="connsiteX112" fmla="*/ 356560 w 904389"/>
              <a:gd name="connsiteY112" fmla="*/ 166272 h 560443"/>
              <a:gd name="connsiteX113" fmla="*/ 356708 w 904389"/>
              <a:gd name="connsiteY113" fmla="*/ 158496 h 560443"/>
              <a:gd name="connsiteX114" fmla="*/ 339072 w 904389"/>
              <a:gd name="connsiteY114" fmla="*/ 109903 h 560443"/>
              <a:gd name="connsiteX115" fmla="*/ 441465 w 904389"/>
              <a:gd name="connsiteY115" fmla="*/ 92565 h 560443"/>
              <a:gd name="connsiteX116" fmla="*/ 441465 w 904389"/>
              <a:gd name="connsiteY116" fmla="*/ 143241 h 560443"/>
              <a:gd name="connsiteX117" fmla="*/ 451511 w 904389"/>
              <a:gd name="connsiteY117" fmla="*/ 152357 h 560443"/>
              <a:gd name="connsiteX118" fmla="*/ 461595 w 904389"/>
              <a:gd name="connsiteY118" fmla="*/ 143241 h 560443"/>
              <a:gd name="connsiteX119" fmla="*/ 461595 w 904389"/>
              <a:gd name="connsiteY119" fmla="*/ 92565 h 560443"/>
              <a:gd name="connsiteX120" fmla="*/ 563693 w 904389"/>
              <a:gd name="connsiteY120" fmla="*/ 108861 h 560443"/>
              <a:gd name="connsiteX121" fmla="*/ 545982 w 904389"/>
              <a:gd name="connsiteY121" fmla="*/ 157528 h 560443"/>
              <a:gd name="connsiteX122" fmla="*/ 551973 w 904389"/>
              <a:gd name="connsiteY122" fmla="*/ 170477 h 560443"/>
              <a:gd name="connsiteX123" fmla="*/ 555396 w 904389"/>
              <a:gd name="connsiteY123" fmla="*/ 171072 h 560443"/>
              <a:gd name="connsiteX124" fmla="*/ 564921 w 904389"/>
              <a:gd name="connsiteY124" fmla="*/ 164486 h 560443"/>
              <a:gd name="connsiteX125" fmla="*/ 582632 w 904389"/>
              <a:gd name="connsiteY125" fmla="*/ 115522 h 560443"/>
              <a:gd name="connsiteX126" fmla="*/ 673529 w 904389"/>
              <a:gd name="connsiteY126" fmla="*/ 166868 h 560443"/>
              <a:gd name="connsiteX127" fmla="*/ 639596 w 904389"/>
              <a:gd name="connsiteY127" fmla="*/ 207535 h 560443"/>
              <a:gd name="connsiteX128" fmla="*/ 640824 w 904389"/>
              <a:gd name="connsiteY128" fmla="*/ 221748 h 560443"/>
              <a:gd name="connsiteX129" fmla="*/ 655037 w 904389"/>
              <a:gd name="connsiteY129" fmla="*/ 220483 h 560443"/>
              <a:gd name="connsiteX130" fmla="*/ 689044 w 904389"/>
              <a:gd name="connsiteY130" fmla="*/ 179890 h 560443"/>
              <a:gd name="connsiteX131" fmla="*/ 707052 w 904389"/>
              <a:gd name="connsiteY131" fmla="*/ 196559 h 560443"/>
              <a:gd name="connsiteX132" fmla="*/ 707052 w 904389"/>
              <a:gd name="connsiteY132" fmla="*/ 196596 h 560443"/>
              <a:gd name="connsiteX133" fmla="*/ 756761 w 904389"/>
              <a:gd name="connsiteY133" fmla="*/ 259364 h 560443"/>
              <a:gd name="connsiteX134" fmla="*/ 710290 w 904389"/>
              <a:gd name="connsiteY134" fmla="*/ 286227 h 560443"/>
              <a:gd name="connsiteX135" fmla="*/ 704783 w 904389"/>
              <a:gd name="connsiteY135" fmla="*/ 297798 h 560443"/>
              <a:gd name="connsiteX136" fmla="*/ 715239 w 904389"/>
              <a:gd name="connsiteY136" fmla="*/ 305277 h 560443"/>
              <a:gd name="connsiteX137" fmla="*/ 720298 w 904389"/>
              <a:gd name="connsiteY137" fmla="*/ 303938 h 560443"/>
              <a:gd name="connsiteX138" fmla="*/ 766956 w 904389"/>
              <a:gd name="connsiteY138" fmla="*/ 277001 h 560443"/>
              <a:gd name="connsiteX139" fmla="*/ 766956 w 904389"/>
              <a:gd name="connsiteY139" fmla="*/ 276962 h 560443"/>
              <a:gd name="connsiteX140" fmla="*/ 803716 w 904389"/>
              <a:gd name="connsiteY140" fmla="*/ 375565 h 560443"/>
              <a:gd name="connsiteX141" fmla="*/ 750361 w 904389"/>
              <a:gd name="connsiteY141" fmla="*/ 385090 h 560443"/>
              <a:gd name="connsiteX142" fmla="*/ 742287 w 904389"/>
              <a:gd name="connsiteY142" fmla="*/ 396811 h 560443"/>
              <a:gd name="connsiteX143" fmla="*/ 751812 w 904389"/>
              <a:gd name="connsiteY143" fmla="*/ 405108 h 560443"/>
              <a:gd name="connsiteX144" fmla="*/ 753524 w 904389"/>
              <a:gd name="connsiteY144" fmla="*/ 405108 h 560443"/>
              <a:gd name="connsiteX145" fmla="*/ 806879 w 904389"/>
              <a:gd name="connsiteY145" fmla="*/ 395583 h 560443"/>
              <a:gd name="connsiteX146" fmla="*/ 810786 w 904389"/>
              <a:gd name="connsiteY146" fmla="*/ 438818 h 560443"/>
              <a:gd name="connsiteX147" fmla="*/ 831139 w 904389"/>
              <a:gd name="connsiteY147" fmla="*/ 438443 h 560443"/>
              <a:gd name="connsiteX148" fmla="*/ 717811 w 904389"/>
              <a:gd name="connsiteY148" fmla="*/ 178924 h 560443"/>
              <a:gd name="connsiteX149" fmla="*/ 455502 w 904389"/>
              <a:gd name="connsiteY149" fmla="*/ 72292 h 560443"/>
              <a:gd name="connsiteX150" fmla="*/ 448432 w 904389"/>
              <a:gd name="connsiteY150" fmla="*/ 72292 h 560443"/>
              <a:gd name="connsiteX151" fmla="*/ 186237 w 904389"/>
              <a:gd name="connsiteY151" fmla="*/ 178820 h 560443"/>
              <a:gd name="connsiteX152" fmla="*/ 72795 w 904389"/>
              <a:gd name="connsiteY152" fmla="*/ 438157 h 560443"/>
              <a:gd name="connsiteX153" fmla="*/ 19738 w 904389"/>
              <a:gd name="connsiteY153" fmla="*/ 438157 h 560443"/>
              <a:gd name="connsiteX154" fmla="*/ 148696 w 904389"/>
              <a:gd name="connsiteY154" fmla="*/ 142101 h 560443"/>
              <a:gd name="connsiteX155" fmla="*/ 447696 w 904389"/>
              <a:gd name="connsiteY155" fmla="*/ 20095 h 560443"/>
              <a:gd name="connsiteX156" fmla="*/ 456253 w 904389"/>
              <a:gd name="connsiteY156" fmla="*/ 20095 h 560443"/>
              <a:gd name="connsiteX157" fmla="*/ 755252 w 904389"/>
              <a:gd name="connsiteY157" fmla="*/ 142101 h 560443"/>
              <a:gd name="connsiteX158" fmla="*/ 884211 w 904389"/>
              <a:gd name="connsiteY158" fmla="*/ 438157 h 560443"/>
              <a:gd name="connsiteX159" fmla="*/ 451958 w 904389"/>
              <a:gd name="connsiteY159" fmla="*/ 386055 h 560443"/>
              <a:gd name="connsiteX160" fmla="*/ 394511 w 904389"/>
              <a:gd name="connsiteY160" fmla="*/ 424452 h 560443"/>
              <a:gd name="connsiteX161" fmla="*/ 407980 w 904389"/>
              <a:gd name="connsiteY161" fmla="*/ 492206 h 560443"/>
              <a:gd name="connsiteX162" fmla="*/ 475772 w 904389"/>
              <a:gd name="connsiteY162" fmla="*/ 505713 h 560443"/>
              <a:gd name="connsiteX163" fmla="*/ 514169 w 904389"/>
              <a:gd name="connsiteY163" fmla="*/ 448228 h 560443"/>
              <a:gd name="connsiteX164" fmla="*/ 451959 w 904389"/>
              <a:gd name="connsiteY164" fmla="*/ 386055 h 560443"/>
              <a:gd name="connsiteX165" fmla="*/ 451958 w 904389"/>
              <a:gd name="connsiteY165" fmla="*/ 489859 h 560443"/>
              <a:gd name="connsiteX166" fmla="*/ 413040 w 904389"/>
              <a:gd name="connsiteY166" fmla="*/ 463850 h 560443"/>
              <a:gd name="connsiteX167" fmla="*/ 422230 w 904389"/>
              <a:gd name="connsiteY167" fmla="*/ 417937 h 560443"/>
              <a:gd name="connsiteX168" fmla="*/ 468143 w 904389"/>
              <a:gd name="connsiteY168" fmla="*/ 408896 h 560443"/>
              <a:gd name="connsiteX169" fmla="*/ 494077 w 904389"/>
              <a:gd name="connsiteY169" fmla="*/ 447851 h 560443"/>
              <a:gd name="connsiteX170" fmla="*/ 451958 w 904389"/>
              <a:gd name="connsiteY170" fmla="*/ 489859 h 56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904389" h="560443">
                <a:moveTo>
                  <a:pt x="869161" y="273731"/>
                </a:moveTo>
                <a:cubicBezTo>
                  <a:pt x="834930" y="192545"/>
                  <a:pt x="777483" y="123226"/>
                  <a:pt x="703997" y="74563"/>
                </a:cubicBezTo>
                <a:cubicBezTo>
                  <a:pt x="630551" y="25859"/>
                  <a:pt x="544377" y="-74"/>
                  <a:pt x="456233" y="0"/>
                </a:cubicBezTo>
                <a:lnTo>
                  <a:pt x="447676" y="0"/>
                </a:lnTo>
                <a:cubicBezTo>
                  <a:pt x="328832" y="0"/>
                  <a:pt x="214875" y="47253"/>
                  <a:pt x="130893" y="131302"/>
                </a:cubicBezTo>
                <a:cubicBezTo>
                  <a:pt x="46954" y="215390"/>
                  <a:pt x="-152" y="329432"/>
                  <a:pt x="0" y="448228"/>
                </a:cubicBezTo>
                <a:cubicBezTo>
                  <a:pt x="0" y="450906"/>
                  <a:pt x="1042" y="453474"/>
                  <a:pt x="2940" y="455334"/>
                </a:cubicBezTo>
                <a:cubicBezTo>
                  <a:pt x="4837" y="457232"/>
                  <a:pt x="7405" y="458274"/>
                  <a:pt x="10083" y="458237"/>
                </a:cubicBezTo>
                <a:lnTo>
                  <a:pt x="340038" y="458237"/>
                </a:lnTo>
                <a:cubicBezTo>
                  <a:pt x="344131" y="501396"/>
                  <a:pt x="372558" y="538418"/>
                  <a:pt x="413189" y="553487"/>
                </a:cubicBezTo>
                <a:cubicBezTo>
                  <a:pt x="425652" y="558025"/>
                  <a:pt x="438787" y="560406"/>
                  <a:pt x="452069" y="560444"/>
                </a:cubicBezTo>
                <a:cubicBezTo>
                  <a:pt x="510113" y="560332"/>
                  <a:pt x="558558" y="516055"/>
                  <a:pt x="563874" y="458241"/>
                </a:cubicBezTo>
                <a:lnTo>
                  <a:pt x="894305" y="458241"/>
                </a:lnTo>
                <a:cubicBezTo>
                  <a:pt x="896947" y="458278"/>
                  <a:pt x="899514" y="457236"/>
                  <a:pt x="901412" y="455339"/>
                </a:cubicBezTo>
                <a:cubicBezTo>
                  <a:pt x="903310" y="453479"/>
                  <a:pt x="904388" y="450911"/>
                  <a:pt x="904388" y="448232"/>
                </a:cubicBezTo>
                <a:cubicBezTo>
                  <a:pt x="904538" y="388292"/>
                  <a:pt x="892556" y="328951"/>
                  <a:pt x="869153" y="273734"/>
                </a:cubicBezTo>
                <a:close/>
                <a:moveTo>
                  <a:pt x="538539" y="480337"/>
                </a:moveTo>
                <a:cubicBezTo>
                  <a:pt x="520939" y="528148"/>
                  <a:pt x="467956" y="552630"/>
                  <a:pt x="420143" y="535106"/>
                </a:cubicBezTo>
                <a:cubicBezTo>
                  <a:pt x="383866" y="521712"/>
                  <a:pt x="359756" y="487184"/>
                  <a:pt x="359644" y="448526"/>
                </a:cubicBezTo>
                <a:cubicBezTo>
                  <a:pt x="359644" y="437624"/>
                  <a:pt x="361578" y="426834"/>
                  <a:pt x="365374" y="416602"/>
                </a:cubicBezTo>
                <a:cubicBezTo>
                  <a:pt x="366229" y="414332"/>
                  <a:pt x="367197" y="412137"/>
                  <a:pt x="368127" y="409942"/>
                </a:cubicBezTo>
                <a:lnTo>
                  <a:pt x="369280" y="407672"/>
                </a:lnTo>
                <a:lnTo>
                  <a:pt x="371364" y="403468"/>
                </a:lnTo>
                <a:lnTo>
                  <a:pt x="373076" y="400788"/>
                </a:lnTo>
                <a:cubicBezTo>
                  <a:pt x="373746" y="399636"/>
                  <a:pt x="374415" y="398519"/>
                  <a:pt x="375159" y="397366"/>
                </a:cubicBezTo>
                <a:cubicBezTo>
                  <a:pt x="375903" y="396213"/>
                  <a:pt x="376387" y="395542"/>
                  <a:pt x="377056" y="394612"/>
                </a:cubicBezTo>
                <a:lnTo>
                  <a:pt x="379252" y="391673"/>
                </a:lnTo>
                <a:lnTo>
                  <a:pt x="381522" y="388920"/>
                </a:lnTo>
                <a:lnTo>
                  <a:pt x="383792" y="386352"/>
                </a:lnTo>
                <a:lnTo>
                  <a:pt x="383866" y="386315"/>
                </a:lnTo>
                <a:cubicBezTo>
                  <a:pt x="384610" y="385385"/>
                  <a:pt x="385428" y="384529"/>
                  <a:pt x="386321" y="383748"/>
                </a:cubicBezTo>
                <a:lnTo>
                  <a:pt x="388703" y="381255"/>
                </a:lnTo>
                <a:lnTo>
                  <a:pt x="391455" y="378874"/>
                </a:lnTo>
                <a:lnTo>
                  <a:pt x="394023" y="376679"/>
                </a:lnTo>
                <a:lnTo>
                  <a:pt x="396887" y="374483"/>
                </a:lnTo>
                <a:lnTo>
                  <a:pt x="399641" y="372474"/>
                </a:lnTo>
                <a:lnTo>
                  <a:pt x="402692" y="370465"/>
                </a:lnTo>
                <a:lnTo>
                  <a:pt x="405557" y="368754"/>
                </a:lnTo>
                <a:lnTo>
                  <a:pt x="405557" y="368791"/>
                </a:lnTo>
                <a:cubicBezTo>
                  <a:pt x="406562" y="368120"/>
                  <a:pt x="407603" y="367562"/>
                  <a:pt x="408719" y="367079"/>
                </a:cubicBezTo>
                <a:lnTo>
                  <a:pt x="411770" y="365442"/>
                </a:lnTo>
                <a:lnTo>
                  <a:pt x="415008" y="364029"/>
                </a:lnTo>
                <a:lnTo>
                  <a:pt x="418133" y="362614"/>
                </a:lnTo>
                <a:lnTo>
                  <a:pt x="424830" y="360307"/>
                </a:lnTo>
                <a:lnTo>
                  <a:pt x="428179" y="359340"/>
                </a:lnTo>
                <a:lnTo>
                  <a:pt x="431714" y="358484"/>
                </a:lnTo>
                <a:lnTo>
                  <a:pt x="435136" y="357814"/>
                </a:lnTo>
                <a:lnTo>
                  <a:pt x="438076" y="357256"/>
                </a:lnTo>
                <a:lnTo>
                  <a:pt x="438745" y="357256"/>
                </a:lnTo>
                <a:lnTo>
                  <a:pt x="442429" y="356512"/>
                </a:lnTo>
                <a:lnTo>
                  <a:pt x="455080" y="356512"/>
                </a:lnTo>
                <a:cubicBezTo>
                  <a:pt x="457721" y="356624"/>
                  <a:pt x="460251" y="355656"/>
                  <a:pt x="462149" y="353833"/>
                </a:cubicBezTo>
                <a:cubicBezTo>
                  <a:pt x="462819" y="353275"/>
                  <a:pt x="463377" y="352605"/>
                  <a:pt x="463860" y="351861"/>
                </a:cubicBezTo>
                <a:lnTo>
                  <a:pt x="522907" y="257951"/>
                </a:lnTo>
                <a:lnTo>
                  <a:pt x="506238" y="367078"/>
                </a:lnTo>
                <a:cubicBezTo>
                  <a:pt x="505718" y="370687"/>
                  <a:pt x="507132" y="374296"/>
                  <a:pt x="509960" y="376603"/>
                </a:cubicBezTo>
                <a:cubicBezTo>
                  <a:pt x="531540" y="394240"/>
                  <a:pt x="544115" y="420582"/>
                  <a:pt x="544265" y="448413"/>
                </a:cubicBezTo>
                <a:cubicBezTo>
                  <a:pt x="544265" y="459315"/>
                  <a:pt x="542330" y="470142"/>
                  <a:pt x="538535" y="480337"/>
                </a:cubicBezTo>
                <a:close/>
                <a:moveTo>
                  <a:pt x="563877" y="438443"/>
                </a:moveTo>
                <a:lnTo>
                  <a:pt x="563877" y="437475"/>
                </a:lnTo>
                <a:lnTo>
                  <a:pt x="563207" y="432712"/>
                </a:lnTo>
                <a:cubicBezTo>
                  <a:pt x="563207" y="430889"/>
                  <a:pt x="563207" y="429103"/>
                  <a:pt x="562463" y="427280"/>
                </a:cubicBezTo>
                <a:cubicBezTo>
                  <a:pt x="562388" y="426759"/>
                  <a:pt x="562388" y="426276"/>
                  <a:pt x="562463" y="425755"/>
                </a:cubicBezTo>
                <a:cubicBezTo>
                  <a:pt x="562463" y="424229"/>
                  <a:pt x="561719" y="422816"/>
                  <a:pt x="561421" y="421290"/>
                </a:cubicBezTo>
                <a:cubicBezTo>
                  <a:pt x="561123" y="419765"/>
                  <a:pt x="560268" y="417011"/>
                  <a:pt x="559598" y="414890"/>
                </a:cubicBezTo>
                <a:cubicBezTo>
                  <a:pt x="558929" y="412807"/>
                  <a:pt x="558631" y="411952"/>
                  <a:pt x="558072" y="410426"/>
                </a:cubicBezTo>
                <a:cubicBezTo>
                  <a:pt x="557514" y="408900"/>
                  <a:pt x="556547" y="406333"/>
                  <a:pt x="555691" y="404324"/>
                </a:cubicBezTo>
                <a:cubicBezTo>
                  <a:pt x="554836" y="402314"/>
                  <a:pt x="554463" y="401459"/>
                  <a:pt x="553794" y="400045"/>
                </a:cubicBezTo>
                <a:cubicBezTo>
                  <a:pt x="553124" y="398631"/>
                  <a:pt x="551896" y="396027"/>
                  <a:pt x="550854" y="394129"/>
                </a:cubicBezTo>
                <a:cubicBezTo>
                  <a:pt x="549812" y="392231"/>
                  <a:pt x="549441" y="391450"/>
                  <a:pt x="548585" y="390111"/>
                </a:cubicBezTo>
                <a:lnTo>
                  <a:pt x="548547" y="390148"/>
                </a:lnTo>
                <a:cubicBezTo>
                  <a:pt x="547431" y="388176"/>
                  <a:pt x="546166" y="386241"/>
                  <a:pt x="544827" y="384418"/>
                </a:cubicBezTo>
                <a:cubicBezTo>
                  <a:pt x="544083" y="383190"/>
                  <a:pt x="543190" y="381925"/>
                  <a:pt x="542334" y="380809"/>
                </a:cubicBezTo>
                <a:cubicBezTo>
                  <a:pt x="541478" y="379655"/>
                  <a:pt x="539283" y="376790"/>
                  <a:pt x="537683" y="374893"/>
                </a:cubicBezTo>
                <a:cubicBezTo>
                  <a:pt x="536046" y="372995"/>
                  <a:pt x="536157" y="372995"/>
                  <a:pt x="535302" y="372140"/>
                </a:cubicBezTo>
                <a:cubicBezTo>
                  <a:pt x="532809" y="369312"/>
                  <a:pt x="530167" y="366670"/>
                  <a:pt x="527414" y="364140"/>
                </a:cubicBezTo>
                <a:lnTo>
                  <a:pt x="548846" y="213635"/>
                </a:lnTo>
                <a:cubicBezTo>
                  <a:pt x="549404" y="210064"/>
                  <a:pt x="548065" y="206455"/>
                  <a:pt x="545311" y="204110"/>
                </a:cubicBezTo>
                <a:cubicBezTo>
                  <a:pt x="544417" y="203404"/>
                  <a:pt x="543413" y="202808"/>
                  <a:pt x="542334" y="202399"/>
                </a:cubicBezTo>
                <a:cubicBezTo>
                  <a:pt x="537869" y="200762"/>
                  <a:pt x="532884" y="202473"/>
                  <a:pt x="530354" y="206492"/>
                </a:cubicBezTo>
                <a:lnTo>
                  <a:pt x="449019" y="335822"/>
                </a:lnTo>
                <a:cubicBezTo>
                  <a:pt x="440536" y="336083"/>
                  <a:pt x="432164" y="337274"/>
                  <a:pt x="423941" y="339357"/>
                </a:cubicBezTo>
                <a:cubicBezTo>
                  <a:pt x="421188" y="340026"/>
                  <a:pt x="418509" y="340883"/>
                  <a:pt x="415942" y="341738"/>
                </a:cubicBezTo>
                <a:cubicBezTo>
                  <a:pt x="410696" y="343524"/>
                  <a:pt x="405562" y="345682"/>
                  <a:pt x="400613" y="348212"/>
                </a:cubicBezTo>
                <a:cubicBezTo>
                  <a:pt x="375535" y="361123"/>
                  <a:pt x="356224" y="383000"/>
                  <a:pt x="346514" y="409455"/>
                </a:cubicBezTo>
                <a:cubicBezTo>
                  <a:pt x="345062" y="413585"/>
                  <a:pt x="343797" y="417789"/>
                  <a:pt x="342792" y="422031"/>
                </a:cubicBezTo>
                <a:cubicBezTo>
                  <a:pt x="342792" y="423073"/>
                  <a:pt x="342792" y="424227"/>
                  <a:pt x="342048" y="425268"/>
                </a:cubicBezTo>
                <a:cubicBezTo>
                  <a:pt x="341156" y="429398"/>
                  <a:pt x="340522" y="433565"/>
                  <a:pt x="340151" y="437769"/>
                </a:cubicBezTo>
                <a:lnTo>
                  <a:pt x="92501" y="437769"/>
                </a:lnTo>
                <a:cubicBezTo>
                  <a:pt x="92910" y="423854"/>
                  <a:pt x="94138" y="409975"/>
                  <a:pt x="96184" y="396246"/>
                </a:cubicBezTo>
                <a:lnTo>
                  <a:pt x="149427" y="405771"/>
                </a:lnTo>
                <a:lnTo>
                  <a:pt x="151176" y="405771"/>
                </a:lnTo>
                <a:cubicBezTo>
                  <a:pt x="156497" y="405958"/>
                  <a:pt x="161073" y="401939"/>
                  <a:pt x="161519" y="396618"/>
                </a:cubicBezTo>
                <a:cubicBezTo>
                  <a:pt x="161966" y="391298"/>
                  <a:pt x="158170" y="386535"/>
                  <a:pt x="152887" y="385828"/>
                </a:cubicBezTo>
                <a:lnTo>
                  <a:pt x="99644" y="376303"/>
                </a:lnTo>
                <a:cubicBezTo>
                  <a:pt x="106787" y="342072"/>
                  <a:pt x="119029" y="309070"/>
                  <a:pt x="135921" y="278415"/>
                </a:cubicBezTo>
                <a:lnTo>
                  <a:pt x="182392" y="305167"/>
                </a:lnTo>
                <a:cubicBezTo>
                  <a:pt x="183881" y="306060"/>
                  <a:pt x="185630" y="306506"/>
                  <a:pt x="187341" y="306506"/>
                </a:cubicBezTo>
                <a:cubicBezTo>
                  <a:pt x="192215" y="306916"/>
                  <a:pt x="196642" y="303791"/>
                  <a:pt x="197908" y="299102"/>
                </a:cubicBezTo>
                <a:cubicBezTo>
                  <a:pt x="199136" y="294414"/>
                  <a:pt x="196829" y="289503"/>
                  <a:pt x="192402" y="287456"/>
                </a:cubicBezTo>
                <a:lnTo>
                  <a:pt x="146005" y="261262"/>
                </a:lnTo>
                <a:cubicBezTo>
                  <a:pt x="164571" y="231385"/>
                  <a:pt x="187417" y="204410"/>
                  <a:pt x="213833" y="181155"/>
                </a:cubicBezTo>
                <a:lnTo>
                  <a:pt x="247729" y="221525"/>
                </a:lnTo>
                <a:cubicBezTo>
                  <a:pt x="249663" y="223832"/>
                  <a:pt x="252491" y="225171"/>
                  <a:pt x="255468" y="225171"/>
                </a:cubicBezTo>
                <a:cubicBezTo>
                  <a:pt x="257625" y="225208"/>
                  <a:pt x="259747" y="224502"/>
                  <a:pt x="261458" y="223162"/>
                </a:cubicBezTo>
                <a:cubicBezTo>
                  <a:pt x="263504" y="221451"/>
                  <a:pt x="264806" y="218995"/>
                  <a:pt x="265030" y="216316"/>
                </a:cubicBezTo>
                <a:cubicBezTo>
                  <a:pt x="265290" y="213674"/>
                  <a:pt x="264435" y="210995"/>
                  <a:pt x="262686" y="208986"/>
                </a:cubicBezTo>
                <a:lnTo>
                  <a:pt x="229088" y="168394"/>
                </a:lnTo>
                <a:cubicBezTo>
                  <a:pt x="256547" y="146777"/>
                  <a:pt x="287094" y="129363"/>
                  <a:pt x="319650" y="116676"/>
                </a:cubicBezTo>
                <a:lnTo>
                  <a:pt x="337658" y="165343"/>
                </a:lnTo>
                <a:cubicBezTo>
                  <a:pt x="339109" y="169323"/>
                  <a:pt x="342942" y="171965"/>
                  <a:pt x="347183" y="171928"/>
                </a:cubicBezTo>
                <a:cubicBezTo>
                  <a:pt x="348337" y="171928"/>
                  <a:pt x="349490" y="171704"/>
                  <a:pt x="350606" y="171333"/>
                </a:cubicBezTo>
                <a:cubicBezTo>
                  <a:pt x="353211" y="170589"/>
                  <a:pt x="355369" y="168728"/>
                  <a:pt x="356560" y="166272"/>
                </a:cubicBezTo>
                <a:cubicBezTo>
                  <a:pt x="357712" y="163817"/>
                  <a:pt x="357787" y="160989"/>
                  <a:pt x="356708" y="158496"/>
                </a:cubicBezTo>
                <a:lnTo>
                  <a:pt x="339072" y="109903"/>
                </a:lnTo>
                <a:cubicBezTo>
                  <a:pt x="372186" y="99113"/>
                  <a:pt x="406677" y="93272"/>
                  <a:pt x="441465" y="92565"/>
                </a:cubicBezTo>
                <a:lnTo>
                  <a:pt x="441465" y="143241"/>
                </a:lnTo>
                <a:cubicBezTo>
                  <a:pt x="441986" y="148413"/>
                  <a:pt x="446339" y="152357"/>
                  <a:pt x="451511" y="152357"/>
                </a:cubicBezTo>
                <a:cubicBezTo>
                  <a:pt x="456721" y="152357"/>
                  <a:pt x="461074" y="148413"/>
                  <a:pt x="461595" y="143241"/>
                </a:cubicBezTo>
                <a:lnTo>
                  <a:pt x="461595" y="92565"/>
                </a:lnTo>
                <a:cubicBezTo>
                  <a:pt x="496234" y="93049"/>
                  <a:pt x="530614" y="98518"/>
                  <a:pt x="563693" y="108861"/>
                </a:cubicBezTo>
                <a:lnTo>
                  <a:pt x="545982" y="157528"/>
                </a:lnTo>
                <a:cubicBezTo>
                  <a:pt x="544122" y="162775"/>
                  <a:pt x="546763" y="168541"/>
                  <a:pt x="551973" y="170477"/>
                </a:cubicBezTo>
                <a:cubicBezTo>
                  <a:pt x="553089" y="170849"/>
                  <a:pt x="554242" y="171072"/>
                  <a:pt x="555396" y="171072"/>
                </a:cubicBezTo>
                <a:cubicBezTo>
                  <a:pt x="559637" y="171035"/>
                  <a:pt x="563395" y="168431"/>
                  <a:pt x="564921" y="164486"/>
                </a:cubicBezTo>
                <a:lnTo>
                  <a:pt x="582632" y="115522"/>
                </a:lnTo>
                <a:cubicBezTo>
                  <a:pt x="615300" y="128061"/>
                  <a:pt x="645921" y="145362"/>
                  <a:pt x="673529" y="166868"/>
                </a:cubicBezTo>
                <a:lnTo>
                  <a:pt x="639596" y="207535"/>
                </a:lnTo>
                <a:cubicBezTo>
                  <a:pt x="636098" y="211813"/>
                  <a:pt x="636657" y="218139"/>
                  <a:pt x="640824" y="221748"/>
                </a:cubicBezTo>
                <a:cubicBezTo>
                  <a:pt x="645140" y="225208"/>
                  <a:pt x="651391" y="224650"/>
                  <a:pt x="655037" y="220483"/>
                </a:cubicBezTo>
                <a:lnTo>
                  <a:pt x="689044" y="179890"/>
                </a:lnTo>
                <a:cubicBezTo>
                  <a:pt x="695220" y="185211"/>
                  <a:pt x="701247" y="190754"/>
                  <a:pt x="707052" y="196559"/>
                </a:cubicBezTo>
                <a:lnTo>
                  <a:pt x="707052" y="196596"/>
                </a:lnTo>
                <a:cubicBezTo>
                  <a:pt x="725879" y="215609"/>
                  <a:pt x="742548" y="236668"/>
                  <a:pt x="756761" y="259364"/>
                </a:cubicBezTo>
                <a:lnTo>
                  <a:pt x="710290" y="286227"/>
                </a:lnTo>
                <a:cubicBezTo>
                  <a:pt x="705899" y="288237"/>
                  <a:pt x="703593" y="293148"/>
                  <a:pt x="704783" y="297798"/>
                </a:cubicBezTo>
                <a:cubicBezTo>
                  <a:pt x="706011" y="302487"/>
                  <a:pt x="710401" y="305649"/>
                  <a:pt x="715239" y="305277"/>
                </a:cubicBezTo>
                <a:cubicBezTo>
                  <a:pt x="716987" y="305240"/>
                  <a:pt x="718735" y="304794"/>
                  <a:pt x="720298" y="303938"/>
                </a:cubicBezTo>
                <a:lnTo>
                  <a:pt x="766956" y="277001"/>
                </a:lnTo>
                <a:lnTo>
                  <a:pt x="766956" y="276962"/>
                </a:lnTo>
                <a:cubicBezTo>
                  <a:pt x="784145" y="307770"/>
                  <a:pt x="796536" y="341033"/>
                  <a:pt x="803716" y="375565"/>
                </a:cubicBezTo>
                <a:lnTo>
                  <a:pt x="750361" y="385090"/>
                </a:lnTo>
                <a:cubicBezTo>
                  <a:pt x="744929" y="386095"/>
                  <a:pt x="741283" y="391341"/>
                  <a:pt x="742287" y="396811"/>
                </a:cubicBezTo>
                <a:cubicBezTo>
                  <a:pt x="743106" y="401462"/>
                  <a:pt x="747088" y="404922"/>
                  <a:pt x="751812" y="405108"/>
                </a:cubicBezTo>
                <a:lnTo>
                  <a:pt x="753524" y="405108"/>
                </a:lnTo>
                <a:lnTo>
                  <a:pt x="806879" y="395583"/>
                </a:lnTo>
                <a:cubicBezTo>
                  <a:pt x="809037" y="409908"/>
                  <a:pt x="810339" y="424344"/>
                  <a:pt x="810786" y="438818"/>
                </a:cubicBezTo>
                <a:close/>
                <a:moveTo>
                  <a:pt x="831139" y="438443"/>
                </a:moveTo>
                <a:cubicBezTo>
                  <a:pt x="828683" y="340440"/>
                  <a:pt x="787979" y="247352"/>
                  <a:pt x="717811" y="178924"/>
                </a:cubicBezTo>
                <a:cubicBezTo>
                  <a:pt x="647638" y="110538"/>
                  <a:pt x="553504" y="72254"/>
                  <a:pt x="455502" y="72292"/>
                </a:cubicBezTo>
                <a:lnTo>
                  <a:pt x="448432" y="72292"/>
                </a:lnTo>
                <a:cubicBezTo>
                  <a:pt x="350506" y="72255"/>
                  <a:pt x="256408" y="110503"/>
                  <a:pt x="186237" y="178820"/>
                </a:cubicBezTo>
                <a:cubicBezTo>
                  <a:pt x="116028" y="247169"/>
                  <a:pt x="75319" y="340221"/>
                  <a:pt x="72795" y="438157"/>
                </a:cubicBezTo>
                <a:lnTo>
                  <a:pt x="19738" y="438157"/>
                </a:lnTo>
                <a:cubicBezTo>
                  <a:pt x="22491" y="326429"/>
                  <a:pt x="68776" y="220196"/>
                  <a:pt x="148696" y="142101"/>
                </a:cubicBezTo>
                <a:cubicBezTo>
                  <a:pt x="228654" y="64041"/>
                  <a:pt x="335920" y="20247"/>
                  <a:pt x="447696" y="20095"/>
                </a:cubicBezTo>
                <a:lnTo>
                  <a:pt x="456253" y="20095"/>
                </a:lnTo>
                <a:cubicBezTo>
                  <a:pt x="568020" y="20244"/>
                  <a:pt x="675291" y="64037"/>
                  <a:pt x="755252" y="142101"/>
                </a:cubicBezTo>
                <a:cubicBezTo>
                  <a:pt x="835173" y="220198"/>
                  <a:pt x="881459" y="326429"/>
                  <a:pt x="884211" y="438157"/>
                </a:cubicBezTo>
                <a:close/>
                <a:moveTo>
                  <a:pt x="451958" y="386055"/>
                </a:moveTo>
                <a:cubicBezTo>
                  <a:pt x="426806" y="386055"/>
                  <a:pt x="404110" y="401198"/>
                  <a:pt x="394511" y="424452"/>
                </a:cubicBezTo>
                <a:cubicBezTo>
                  <a:pt x="384875" y="447669"/>
                  <a:pt x="390195" y="474421"/>
                  <a:pt x="407980" y="492206"/>
                </a:cubicBezTo>
                <a:cubicBezTo>
                  <a:pt x="425765" y="509992"/>
                  <a:pt x="452517" y="515312"/>
                  <a:pt x="475772" y="505713"/>
                </a:cubicBezTo>
                <a:cubicBezTo>
                  <a:pt x="498989" y="496076"/>
                  <a:pt x="514169" y="473380"/>
                  <a:pt x="514169" y="448228"/>
                </a:cubicBezTo>
                <a:cubicBezTo>
                  <a:pt x="514095" y="413922"/>
                  <a:pt x="486301" y="386092"/>
                  <a:pt x="451959" y="386055"/>
                </a:cubicBezTo>
                <a:close/>
                <a:moveTo>
                  <a:pt x="451958" y="489859"/>
                </a:moveTo>
                <a:cubicBezTo>
                  <a:pt x="434917" y="489859"/>
                  <a:pt x="419551" y="479590"/>
                  <a:pt x="413040" y="463850"/>
                </a:cubicBezTo>
                <a:cubicBezTo>
                  <a:pt x="406529" y="448112"/>
                  <a:pt x="410175" y="429992"/>
                  <a:pt x="422230" y="417937"/>
                </a:cubicBezTo>
                <a:cubicBezTo>
                  <a:pt x="434285" y="405919"/>
                  <a:pt x="452405" y="402348"/>
                  <a:pt x="468143" y="408896"/>
                </a:cubicBezTo>
                <a:cubicBezTo>
                  <a:pt x="483881" y="415445"/>
                  <a:pt x="494114" y="430811"/>
                  <a:pt x="494077" y="447851"/>
                </a:cubicBezTo>
                <a:cubicBezTo>
                  <a:pt x="494002" y="471069"/>
                  <a:pt x="475175" y="489859"/>
                  <a:pt x="451958" y="489859"/>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9" name="Freeform: Shape 178">
            <a:extLst>
              <a:ext uri="{FF2B5EF4-FFF2-40B4-BE49-F238E27FC236}">
                <a16:creationId xmlns:a16="http://schemas.microsoft.com/office/drawing/2014/main" id="{AF70D1D2-7DA4-EB67-0560-C9C3143E5B2E}"/>
              </a:ext>
            </a:extLst>
          </p:cNvPr>
          <p:cNvSpPr/>
          <p:nvPr/>
        </p:nvSpPr>
        <p:spPr>
          <a:xfrm>
            <a:off x="6481436" y="4691904"/>
            <a:ext cx="313708" cy="329294"/>
          </a:xfrm>
          <a:custGeom>
            <a:avLst/>
            <a:gdLst>
              <a:gd name="connsiteX0" fmla="*/ 409942 w 876226"/>
              <a:gd name="connsiteY0" fmla="*/ 914239 h 919764"/>
              <a:gd name="connsiteX1" fmla="*/ 178475 w 876226"/>
              <a:gd name="connsiteY1" fmla="*/ 758344 h 919764"/>
              <a:gd name="connsiteX2" fmla="*/ 72 w 876226"/>
              <a:gd name="connsiteY2" fmla="*/ 198226 h 919764"/>
              <a:gd name="connsiteX3" fmla="*/ 59752 w 876226"/>
              <a:gd name="connsiteY3" fmla="*/ 121840 h 919764"/>
              <a:gd name="connsiteX4" fmla="*/ 405966 w 876226"/>
              <a:gd name="connsiteY4" fmla="*/ 7283 h 919764"/>
              <a:gd name="connsiteX5" fmla="*/ 470260 w 876226"/>
              <a:gd name="connsiteY5" fmla="*/ 7283 h 919764"/>
              <a:gd name="connsiteX6" fmla="*/ 816475 w 876226"/>
              <a:gd name="connsiteY6" fmla="*/ 121840 h 919764"/>
              <a:gd name="connsiteX7" fmla="*/ 876155 w 876226"/>
              <a:gd name="connsiteY7" fmla="*/ 198226 h 919764"/>
              <a:gd name="connsiteX8" fmla="*/ 697751 w 876226"/>
              <a:gd name="connsiteY8" fmla="*/ 758344 h 919764"/>
              <a:gd name="connsiteX9" fmla="*/ 466284 w 876226"/>
              <a:gd name="connsiteY9" fmla="*/ 914239 h 919764"/>
              <a:gd name="connsiteX10" fmla="*/ 409953 w 876226"/>
              <a:gd name="connsiteY10" fmla="*/ 914239 h 919764"/>
              <a:gd name="connsiteX11" fmla="*/ 420025 w 876226"/>
              <a:gd name="connsiteY11" fmla="*/ 889422 h 919764"/>
              <a:gd name="connsiteX12" fmla="*/ 456191 w 876226"/>
              <a:gd name="connsiteY12" fmla="*/ 889422 h 919764"/>
              <a:gd name="connsiteX13" fmla="*/ 677761 w 876226"/>
              <a:gd name="connsiteY13" fmla="*/ 740480 h 919764"/>
              <a:gd name="connsiteX14" fmla="*/ 849364 w 876226"/>
              <a:gd name="connsiteY14" fmla="*/ 197069 h 919764"/>
              <a:gd name="connsiteX15" fmla="*/ 811115 w 876226"/>
              <a:gd name="connsiteY15" fmla="*/ 148067 h 919764"/>
              <a:gd name="connsiteX16" fmla="*/ 458728 w 876226"/>
              <a:gd name="connsiteY16" fmla="*/ 31424 h 919764"/>
              <a:gd name="connsiteX17" fmla="*/ 417503 w 876226"/>
              <a:gd name="connsiteY17" fmla="*/ 31424 h 919764"/>
              <a:gd name="connsiteX18" fmla="*/ 65116 w 876226"/>
              <a:gd name="connsiteY18" fmla="*/ 148067 h 919764"/>
              <a:gd name="connsiteX19" fmla="*/ 26868 w 876226"/>
              <a:gd name="connsiteY19" fmla="*/ 197069 h 919764"/>
              <a:gd name="connsiteX20" fmla="*/ 198470 w 876226"/>
              <a:gd name="connsiteY20" fmla="*/ 740480 h 919764"/>
              <a:gd name="connsiteX21" fmla="*/ 420040 w 876226"/>
              <a:gd name="connsiteY21" fmla="*/ 889422 h 919764"/>
              <a:gd name="connsiteX22" fmla="*/ 433048 w 876226"/>
              <a:gd name="connsiteY22" fmla="*/ 857461 h 919764"/>
              <a:gd name="connsiteX23" fmla="*/ 224203 w 876226"/>
              <a:gd name="connsiteY23" fmla="*/ 717529 h 919764"/>
              <a:gd name="connsiteX24" fmla="*/ 61306 w 876226"/>
              <a:gd name="connsiteY24" fmla="*/ 195588 h 919764"/>
              <a:gd name="connsiteX25" fmla="*/ 71985 w 876226"/>
              <a:gd name="connsiteY25" fmla="*/ 181858 h 919764"/>
              <a:gd name="connsiteX26" fmla="*/ 432334 w 876226"/>
              <a:gd name="connsiteY26" fmla="*/ 62577 h 919764"/>
              <a:gd name="connsiteX27" fmla="*/ 443868 w 876226"/>
              <a:gd name="connsiteY27" fmla="*/ 62577 h 919764"/>
              <a:gd name="connsiteX28" fmla="*/ 804218 w 876226"/>
              <a:gd name="connsiteY28" fmla="*/ 181858 h 919764"/>
              <a:gd name="connsiteX29" fmla="*/ 814897 w 876226"/>
              <a:gd name="connsiteY29" fmla="*/ 195588 h 919764"/>
              <a:gd name="connsiteX30" fmla="*/ 652000 w 876226"/>
              <a:gd name="connsiteY30" fmla="*/ 717529 h 919764"/>
              <a:gd name="connsiteX31" fmla="*/ 443155 w 876226"/>
              <a:gd name="connsiteY31" fmla="*/ 857461 h 919764"/>
              <a:gd name="connsiteX32" fmla="*/ 433034 w 876226"/>
              <a:gd name="connsiteY32" fmla="*/ 857461 h 919764"/>
              <a:gd name="connsiteX33" fmla="*/ 438108 w 876226"/>
              <a:gd name="connsiteY33" fmla="*/ 830597 h 919764"/>
              <a:gd name="connsiteX34" fmla="*/ 787628 w 876226"/>
              <a:gd name="connsiteY34" fmla="*/ 205776 h 919764"/>
              <a:gd name="connsiteX35" fmla="*/ 438108 w 876226"/>
              <a:gd name="connsiteY35" fmla="*/ 89505 h 919764"/>
              <a:gd name="connsiteX36" fmla="*/ 88588 w 876226"/>
              <a:gd name="connsiteY36" fmla="*/ 205776 h 919764"/>
              <a:gd name="connsiteX37" fmla="*/ 438108 w 876226"/>
              <a:gd name="connsiteY37" fmla="*/ 830597 h 919764"/>
              <a:gd name="connsiteX38" fmla="*/ 438108 w 876226"/>
              <a:gd name="connsiteY38" fmla="*/ 241800 h 919764"/>
              <a:gd name="connsiteX39" fmla="*/ 630323 w 876226"/>
              <a:gd name="connsiteY39" fmla="*/ 434015 h 919764"/>
              <a:gd name="connsiteX40" fmla="*/ 438108 w 876226"/>
              <a:gd name="connsiteY40" fmla="*/ 626191 h 919764"/>
              <a:gd name="connsiteX41" fmla="*/ 245893 w 876226"/>
              <a:gd name="connsiteY41" fmla="*/ 434015 h 919764"/>
              <a:gd name="connsiteX42" fmla="*/ 438108 w 876226"/>
              <a:gd name="connsiteY42" fmla="*/ 241800 h 919764"/>
              <a:gd name="connsiteX43" fmla="*/ 438108 w 876226"/>
              <a:gd name="connsiteY43" fmla="*/ 268589 h 919764"/>
              <a:gd name="connsiteX44" fmla="*/ 272687 w 876226"/>
              <a:gd name="connsiteY44" fmla="*/ 434010 h 919764"/>
              <a:gd name="connsiteX45" fmla="*/ 438108 w 876226"/>
              <a:gd name="connsiteY45" fmla="*/ 599392 h 919764"/>
              <a:gd name="connsiteX46" fmla="*/ 603529 w 876226"/>
              <a:gd name="connsiteY46" fmla="*/ 434010 h 919764"/>
              <a:gd name="connsiteX47" fmla="*/ 438108 w 876226"/>
              <a:gd name="connsiteY47" fmla="*/ 268589 h 919764"/>
              <a:gd name="connsiteX48" fmla="*/ 361611 w 876226"/>
              <a:gd name="connsiteY48" fmla="*/ 436658 h 919764"/>
              <a:gd name="connsiteX49" fmla="*/ 362690 w 876226"/>
              <a:gd name="connsiteY49" fmla="*/ 417756 h 919764"/>
              <a:gd name="connsiteX50" fmla="*/ 381591 w 876226"/>
              <a:gd name="connsiteY50" fmla="*/ 418835 h 919764"/>
              <a:gd name="connsiteX51" fmla="*/ 415934 w 876226"/>
              <a:gd name="connsiteY51" fmla="*/ 457345 h 919764"/>
              <a:gd name="connsiteX52" fmla="*/ 495408 w 876226"/>
              <a:gd name="connsiteY52" fmla="*/ 381703 h 919764"/>
              <a:gd name="connsiteX53" fmla="*/ 514310 w 876226"/>
              <a:gd name="connsiteY53" fmla="*/ 382187 h 919764"/>
              <a:gd name="connsiteX54" fmla="*/ 513863 w 876226"/>
              <a:gd name="connsiteY54" fmla="*/ 401088 h 919764"/>
              <a:gd name="connsiteX55" fmla="*/ 424418 w 876226"/>
              <a:gd name="connsiteY55" fmla="*/ 486292 h 919764"/>
              <a:gd name="connsiteX56" fmla="*/ 414633 w 876226"/>
              <a:gd name="connsiteY56" fmla="*/ 489976 h 919764"/>
              <a:gd name="connsiteX57" fmla="*/ 405182 w 876226"/>
              <a:gd name="connsiteY57" fmla="*/ 485511 h 919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876226" h="919764">
                <a:moveTo>
                  <a:pt x="409942" y="914239"/>
                </a:moveTo>
                <a:cubicBezTo>
                  <a:pt x="324143" y="879302"/>
                  <a:pt x="244779" y="832644"/>
                  <a:pt x="178475" y="758344"/>
                </a:cubicBezTo>
                <a:cubicBezTo>
                  <a:pt x="82892" y="651225"/>
                  <a:pt x="12530" y="484128"/>
                  <a:pt x="72" y="198226"/>
                </a:cubicBezTo>
                <a:cubicBezTo>
                  <a:pt x="-1528" y="161577"/>
                  <a:pt x="23773" y="129170"/>
                  <a:pt x="59752" y="121840"/>
                </a:cubicBezTo>
                <a:cubicBezTo>
                  <a:pt x="175804" y="98102"/>
                  <a:pt x="291104" y="62049"/>
                  <a:pt x="405966" y="7283"/>
                </a:cubicBezTo>
                <a:cubicBezTo>
                  <a:pt x="426281" y="-2428"/>
                  <a:pt x="449945" y="-2428"/>
                  <a:pt x="470260" y="7283"/>
                </a:cubicBezTo>
                <a:cubicBezTo>
                  <a:pt x="585122" y="62052"/>
                  <a:pt x="700422" y="98106"/>
                  <a:pt x="816475" y="121840"/>
                </a:cubicBezTo>
                <a:cubicBezTo>
                  <a:pt x="852454" y="129170"/>
                  <a:pt x="877755" y="161578"/>
                  <a:pt x="876155" y="198226"/>
                </a:cubicBezTo>
                <a:cubicBezTo>
                  <a:pt x="863690" y="484128"/>
                  <a:pt x="793332" y="651225"/>
                  <a:pt x="697751" y="758344"/>
                </a:cubicBezTo>
                <a:cubicBezTo>
                  <a:pt x="631449" y="832646"/>
                  <a:pt x="552086" y="879302"/>
                  <a:pt x="466284" y="914239"/>
                </a:cubicBezTo>
                <a:cubicBezTo>
                  <a:pt x="448239" y="921606"/>
                  <a:pt x="427999" y="921606"/>
                  <a:pt x="409953" y="914239"/>
                </a:cubicBezTo>
                <a:close/>
                <a:moveTo>
                  <a:pt x="420025" y="889422"/>
                </a:moveTo>
                <a:cubicBezTo>
                  <a:pt x="431634" y="894147"/>
                  <a:pt x="444582" y="894147"/>
                  <a:pt x="456191" y="889422"/>
                </a:cubicBezTo>
                <a:cubicBezTo>
                  <a:pt x="538232" y="855973"/>
                  <a:pt x="614325" y="811585"/>
                  <a:pt x="677761" y="740480"/>
                </a:cubicBezTo>
                <a:cubicBezTo>
                  <a:pt x="770444" y="636676"/>
                  <a:pt x="837305" y="474227"/>
                  <a:pt x="849364" y="197069"/>
                </a:cubicBezTo>
                <a:cubicBezTo>
                  <a:pt x="850406" y="173553"/>
                  <a:pt x="834183" y="152793"/>
                  <a:pt x="811115" y="148067"/>
                </a:cubicBezTo>
                <a:cubicBezTo>
                  <a:pt x="692986" y="123920"/>
                  <a:pt x="575628" y="87197"/>
                  <a:pt x="458728" y="31424"/>
                </a:cubicBezTo>
                <a:cubicBezTo>
                  <a:pt x="445706" y="25211"/>
                  <a:pt x="430526" y="25211"/>
                  <a:pt x="417503" y="31424"/>
                </a:cubicBezTo>
                <a:cubicBezTo>
                  <a:pt x="300603" y="87198"/>
                  <a:pt x="183245" y="123920"/>
                  <a:pt x="65116" y="148067"/>
                </a:cubicBezTo>
                <a:cubicBezTo>
                  <a:pt x="42048" y="152793"/>
                  <a:pt x="25825" y="173554"/>
                  <a:pt x="26868" y="197069"/>
                </a:cubicBezTo>
                <a:cubicBezTo>
                  <a:pt x="38922" y="474227"/>
                  <a:pt x="105784" y="636667"/>
                  <a:pt x="198470" y="740480"/>
                </a:cubicBezTo>
                <a:cubicBezTo>
                  <a:pt x="261908" y="811582"/>
                  <a:pt x="337992" y="855970"/>
                  <a:pt x="420040" y="889422"/>
                </a:cubicBezTo>
                <a:close/>
                <a:moveTo>
                  <a:pt x="433048" y="857461"/>
                </a:moveTo>
                <a:cubicBezTo>
                  <a:pt x="355769" y="825984"/>
                  <a:pt x="283924" y="784460"/>
                  <a:pt x="224203" y="717529"/>
                </a:cubicBezTo>
                <a:cubicBezTo>
                  <a:pt x="135278" y="617926"/>
                  <a:pt x="72879" y="461507"/>
                  <a:pt x="61306" y="195588"/>
                </a:cubicBezTo>
                <a:cubicBezTo>
                  <a:pt x="61008" y="189002"/>
                  <a:pt x="65548" y="183197"/>
                  <a:pt x="71985" y="181858"/>
                </a:cubicBezTo>
                <a:cubicBezTo>
                  <a:pt x="192800" y="157190"/>
                  <a:pt x="312786" y="119573"/>
                  <a:pt x="432334" y="62577"/>
                </a:cubicBezTo>
                <a:cubicBezTo>
                  <a:pt x="435981" y="60865"/>
                  <a:pt x="440222" y="60865"/>
                  <a:pt x="443868" y="62577"/>
                </a:cubicBezTo>
                <a:cubicBezTo>
                  <a:pt x="563417" y="119578"/>
                  <a:pt x="683403" y="157194"/>
                  <a:pt x="804218" y="181858"/>
                </a:cubicBezTo>
                <a:cubicBezTo>
                  <a:pt x="810655" y="183198"/>
                  <a:pt x="815194" y="189002"/>
                  <a:pt x="814897" y="195588"/>
                </a:cubicBezTo>
                <a:cubicBezTo>
                  <a:pt x="803326" y="461507"/>
                  <a:pt x="740929" y="617926"/>
                  <a:pt x="652000" y="717529"/>
                </a:cubicBezTo>
                <a:cubicBezTo>
                  <a:pt x="592283" y="784464"/>
                  <a:pt x="520441" y="825990"/>
                  <a:pt x="443155" y="857461"/>
                </a:cubicBezTo>
                <a:cubicBezTo>
                  <a:pt x="439918" y="858800"/>
                  <a:pt x="436271" y="858800"/>
                  <a:pt x="433034" y="857461"/>
                </a:cubicBezTo>
                <a:close/>
                <a:moveTo>
                  <a:pt x="438108" y="830597"/>
                </a:moveTo>
                <a:cubicBezTo>
                  <a:pt x="619083" y="755514"/>
                  <a:pt x="767016" y="620485"/>
                  <a:pt x="787628" y="205776"/>
                </a:cubicBezTo>
                <a:cubicBezTo>
                  <a:pt x="670461" y="181070"/>
                  <a:pt x="554075" y="144199"/>
                  <a:pt x="438108" y="89505"/>
                </a:cubicBezTo>
                <a:cubicBezTo>
                  <a:pt x="322132" y="144199"/>
                  <a:pt x="205746" y="181071"/>
                  <a:pt x="88588" y="205776"/>
                </a:cubicBezTo>
                <a:cubicBezTo>
                  <a:pt x="109201" y="620485"/>
                  <a:pt x="257133" y="755512"/>
                  <a:pt x="438108" y="830597"/>
                </a:cubicBezTo>
                <a:close/>
                <a:moveTo>
                  <a:pt x="438108" y="241800"/>
                </a:moveTo>
                <a:cubicBezTo>
                  <a:pt x="544188" y="241800"/>
                  <a:pt x="630323" y="327935"/>
                  <a:pt x="630323" y="434015"/>
                </a:cubicBezTo>
                <a:cubicBezTo>
                  <a:pt x="630323" y="540094"/>
                  <a:pt x="544188" y="626191"/>
                  <a:pt x="438108" y="626191"/>
                </a:cubicBezTo>
                <a:cubicBezTo>
                  <a:pt x="332028" y="626191"/>
                  <a:pt x="245893" y="540093"/>
                  <a:pt x="245893" y="434015"/>
                </a:cubicBezTo>
                <a:cubicBezTo>
                  <a:pt x="245893" y="327935"/>
                  <a:pt x="332028" y="241800"/>
                  <a:pt x="438108" y="241800"/>
                </a:cubicBezTo>
                <a:close/>
                <a:moveTo>
                  <a:pt x="438108" y="268589"/>
                </a:moveTo>
                <a:cubicBezTo>
                  <a:pt x="346802" y="268589"/>
                  <a:pt x="272687" y="342705"/>
                  <a:pt x="272687" y="434010"/>
                </a:cubicBezTo>
                <a:cubicBezTo>
                  <a:pt x="272687" y="525278"/>
                  <a:pt x="346803" y="599392"/>
                  <a:pt x="438108" y="599392"/>
                </a:cubicBezTo>
                <a:cubicBezTo>
                  <a:pt x="529413" y="599392"/>
                  <a:pt x="603529" y="525276"/>
                  <a:pt x="603529" y="434010"/>
                </a:cubicBezTo>
                <a:cubicBezTo>
                  <a:pt x="603529" y="342704"/>
                  <a:pt x="529413" y="268589"/>
                  <a:pt x="438108" y="268589"/>
                </a:cubicBezTo>
                <a:close/>
                <a:moveTo>
                  <a:pt x="361611" y="436658"/>
                </a:moveTo>
                <a:cubicBezTo>
                  <a:pt x="356662" y="431151"/>
                  <a:pt x="357146" y="422667"/>
                  <a:pt x="362690" y="417756"/>
                </a:cubicBezTo>
                <a:cubicBezTo>
                  <a:pt x="368196" y="412845"/>
                  <a:pt x="376680" y="413329"/>
                  <a:pt x="381591" y="418835"/>
                </a:cubicBezTo>
                <a:lnTo>
                  <a:pt x="415934" y="457345"/>
                </a:lnTo>
                <a:lnTo>
                  <a:pt x="495408" y="381703"/>
                </a:lnTo>
                <a:cubicBezTo>
                  <a:pt x="500729" y="376606"/>
                  <a:pt x="509212" y="376829"/>
                  <a:pt x="514310" y="382187"/>
                </a:cubicBezTo>
                <a:cubicBezTo>
                  <a:pt x="519444" y="387544"/>
                  <a:pt x="519221" y="396027"/>
                  <a:pt x="513863" y="401088"/>
                </a:cubicBezTo>
                <a:lnTo>
                  <a:pt x="424418" y="486292"/>
                </a:lnTo>
                <a:cubicBezTo>
                  <a:pt x="421776" y="488822"/>
                  <a:pt x="418241" y="490124"/>
                  <a:pt x="414633" y="489976"/>
                </a:cubicBezTo>
                <a:cubicBezTo>
                  <a:pt x="410986" y="489864"/>
                  <a:pt x="407601" y="488227"/>
                  <a:pt x="405182" y="485511"/>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B4965904-0D73-6803-C696-B5780CD540C6}"/>
              </a:ext>
            </a:extLst>
          </p:cNvPr>
          <p:cNvSpPr>
            <a:spLocks/>
          </p:cNvSpPr>
          <p:nvPr/>
        </p:nvSpPr>
        <p:spPr>
          <a:xfrm>
            <a:off x="415595" y="1000700"/>
            <a:ext cx="4148170" cy="33823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561" rIns="0" bIns="45561"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Customer Challenges</a:t>
            </a:r>
          </a:p>
        </p:txBody>
      </p:sp>
      <p:sp>
        <p:nvSpPr>
          <p:cNvPr id="7" name="Rectangle 6">
            <a:extLst>
              <a:ext uri="{FF2B5EF4-FFF2-40B4-BE49-F238E27FC236}">
                <a16:creationId xmlns:a16="http://schemas.microsoft.com/office/drawing/2014/main" id="{4C942B98-628D-6727-F06E-4A0F98E5A9D1}"/>
              </a:ext>
            </a:extLst>
          </p:cNvPr>
          <p:cNvSpPr>
            <a:spLocks/>
          </p:cNvSpPr>
          <p:nvPr/>
        </p:nvSpPr>
        <p:spPr>
          <a:xfrm>
            <a:off x="6283324" y="1000700"/>
            <a:ext cx="4148170" cy="33823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561" rIns="0" bIns="45561"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Commvault Cloud Capability</a:t>
            </a:r>
          </a:p>
        </p:txBody>
      </p:sp>
      <p:sp>
        <p:nvSpPr>
          <p:cNvPr id="18" name="Google Shape;4891;p434">
            <a:extLst>
              <a:ext uri="{FF2B5EF4-FFF2-40B4-BE49-F238E27FC236}">
                <a16:creationId xmlns:a16="http://schemas.microsoft.com/office/drawing/2014/main" id="{515B1BB1-E62D-AF76-6245-E9FCCF40C88E}"/>
              </a:ext>
            </a:extLst>
          </p:cNvPr>
          <p:cNvSpPr txBox="1">
            <a:spLocks/>
          </p:cNvSpPr>
          <p:nvPr/>
        </p:nvSpPr>
        <p:spPr>
          <a:xfrm>
            <a:off x="572432" y="5085021"/>
            <a:ext cx="3418995" cy="215444"/>
          </a:xfrm>
          <a:prstGeom prst="rect">
            <a:avLst/>
          </a:prstGeom>
        </p:spPr>
        <p:txBody>
          <a:bodyPr spcFirstLastPara="1" wrap="square" lIns="0" tIns="0" rIns="0" bIns="0" anchor="b"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kern="1200">
                <a:solidFill>
                  <a:schemeClr val="tx1"/>
                </a:solidFill>
                <a:latin typeface="+mn-lt"/>
                <a:ea typeface="+mn-ea"/>
                <a:cs typeface="+mn-cs"/>
              </a:defRPr>
            </a:lvl1pPr>
            <a:lvl2pPr marL="557784" indent="-283464" algn="l" defTabSz="914400" rtl="0" eaLnBrk="1" latinLnBrk="0" hangingPunct="1">
              <a:lnSpc>
                <a:spcPct val="100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System Font Regular"/>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ct val="0"/>
              </a:spcAft>
              <a:defRPr/>
            </a:pPr>
            <a:r>
              <a:rPr lang="en-US" sz="1400" b="1">
                <a:solidFill>
                  <a:srgbClr val="834895">
                    <a:lumMod val="60000"/>
                    <a:lumOff val="40000"/>
                  </a:srgbClr>
                </a:solidFill>
                <a:latin typeface="Arial" panose="020B0604020202020204"/>
              </a:rPr>
              <a:t>Overexposed Access = Breach Potential</a:t>
            </a:r>
            <a:endParaRPr lang="en-US"/>
          </a:p>
        </p:txBody>
      </p:sp>
      <p:sp>
        <p:nvSpPr>
          <p:cNvPr id="20" name="Rectangle 19">
            <a:extLst>
              <a:ext uri="{FF2B5EF4-FFF2-40B4-BE49-F238E27FC236}">
                <a16:creationId xmlns:a16="http://schemas.microsoft.com/office/drawing/2014/main" id="{94C75E35-B652-8613-B47E-76DB5C5D1B99}"/>
              </a:ext>
            </a:extLst>
          </p:cNvPr>
          <p:cNvSpPr>
            <a:spLocks/>
          </p:cNvSpPr>
          <p:nvPr/>
        </p:nvSpPr>
        <p:spPr>
          <a:xfrm>
            <a:off x="572432" y="5354444"/>
            <a:ext cx="5336559"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ct val="0"/>
              </a:spcAft>
              <a:defRPr/>
            </a:pPr>
            <a:r>
              <a:rPr lang="en-US" sz="1400">
                <a:solidFill>
                  <a:srgbClr val="FFFFFF"/>
                </a:solidFill>
                <a:latin typeface="Arial" panose="020B0604020202020204"/>
              </a:rPr>
              <a:t>Excessive permissions, orphaned data, and lack of access control across environments make it easy for attackers, or even AI systems, to access sensitive data that should remain protected.</a:t>
            </a:r>
            <a:endParaRPr lang="en-US"/>
          </a:p>
        </p:txBody>
      </p:sp>
      <p:cxnSp>
        <p:nvCxnSpPr>
          <p:cNvPr id="21" name="Straight Connector 20">
            <a:extLst>
              <a:ext uri="{FF2B5EF4-FFF2-40B4-BE49-F238E27FC236}">
                <a16:creationId xmlns:a16="http://schemas.microsoft.com/office/drawing/2014/main" id="{3E0E611E-BF70-B2B6-313D-69595549A055}"/>
              </a:ext>
            </a:extLst>
          </p:cNvPr>
          <p:cNvCxnSpPr>
            <a:cxnSpLocks/>
          </p:cNvCxnSpPr>
          <p:nvPr/>
        </p:nvCxnSpPr>
        <p:spPr>
          <a:xfrm>
            <a:off x="415594" y="4603264"/>
            <a:ext cx="0" cy="460164"/>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AE8C0D1-56C3-D7D7-A58C-E24FD8E8982B}"/>
              </a:ext>
            </a:extLst>
          </p:cNvPr>
          <p:cNvCxnSpPr>
            <a:cxnSpLocks/>
          </p:cNvCxnSpPr>
          <p:nvPr/>
        </p:nvCxnSpPr>
        <p:spPr>
          <a:xfrm>
            <a:off x="415594" y="5063428"/>
            <a:ext cx="0" cy="937347"/>
          </a:xfrm>
          <a:prstGeom prst="line">
            <a:avLst/>
          </a:prstGeom>
        </p:spPr>
        <p:style>
          <a:lnRef idx="1">
            <a:schemeClr val="accent1"/>
          </a:lnRef>
          <a:fillRef idx="0">
            <a:schemeClr val="accent1"/>
          </a:fillRef>
          <a:effectRef idx="0">
            <a:schemeClr val="accent1"/>
          </a:effectRef>
          <a:fontRef idx="minor">
            <a:schemeClr val="tx1"/>
          </a:fontRef>
        </p:style>
      </p:cxnSp>
      <p:sp>
        <p:nvSpPr>
          <p:cNvPr id="23" name="Freeform: Shape 175">
            <a:extLst>
              <a:ext uri="{FF2B5EF4-FFF2-40B4-BE49-F238E27FC236}">
                <a16:creationId xmlns:a16="http://schemas.microsoft.com/office/drawing/2014/main" id="{4ACB4B2C-9725-E65D-F048-9A79E7FF498C}"/>
              </a:ext>
            </a:extLst>
          </p:cNvPr>
          <p:cNvSpPr/>
          <p:nvPr/>
        </p:nvSpPr>
        <p:spPr>
          <a:xfrm>
            <a:off x="572432" y="4658893"/>
            <a:ext cx="341665" cy="348907"/>
          </a:xfrm>
          <a:custGeom>
            <a:avLst/>
            <a:gdLst>
              <a:gd name="connsiteX0" fmla="*/ 320283 w 839349"/>
              <a:gd name="connsiteY0" fmla="*/ 310232 h 857141"/>
              <a:gd name="connsiteX1" fmla="*/ 330105 w 839349"/>
              <a:gd name="connsiteY1" fmla="*/ 300410 h 857141"/>
              <a:gd name="connsiteX2" fmla="*/ 339927 w 839349"/>
              <a:gd name="connsiteY2" fmla="*/ 310232 h 857141"/>
              <a:gd name="connsiteX3" fmla="*/ 339927 w 839349"/>
              <a:gd name="connsiteY3" fmla="*/ 317116 h 857141"/>
              <a:gd name="connsiteX4" fmla="*/ 344690 w 839349"/>
              <a:gd name="connsiteY4" fmla="*/ 318529 h 857141"/>
              <a:gd name="connsiteX5" fmla="*/ 367312 w 839349"/>
              <a:gd name="connsiteY5" fmla="*/ 350713 h 857141"/>
              <a:gd name="connsiteX6" fmla="*/ 357490 w 839349"/>
              <a:gd name="connsiteY6" fmla="*/ 360536 h 857141"/>
              <a:gd name="connsiteX7" fmla="*/ 347667 w 839349"/>
              <a:gd name="connsiteY7" fmla="*/ 350713 h 857141"/>
              <a:gd name="connsiteX8" fmla="*/ 337919 w 839349"/>
              <a:gd name="connsiteY8" fmla="*/ 336947 h 857141"/>
              <a:gd name="connsiteX9" fmla="*/ 330106 w 839349"/>
              <a:gd name="connsiteY9" fmla="*/ 335608 h 857141"/>
              <a:gd name="connsiteX10" fmla="*/ 322293 w 839349"/>
              <a:gd name="connsiteY10" fmla="*/ 336947 h 857141"/>
              <a:gd name="connsiteX11" fmla="*/ 312545 w 839349"/>
              <a:gd name="connsiteY11" fmla="*/ 350713 h 857141"/>
              <a:gd name="connsiteX12" fmla="*/ 332153 w 839349"/>
              <a:gd name="connsiteY12" fmla="*/ 366229 h 857141"/>
              <a:gd name="connsiteX13" fmla="*/ 367314 w 839349"/>
              <a:gd name="connsiteY13" fmla="*/ 401054 h 857141"/>
              <a:gd name="connsiteX14" fmla="*/ 344692 w 839349"/>
              <a:gd name="connsiteY14" fmla="*/ 433238 h 857141"/>
              <a:gd name="connsiteX15" fmla="*/ 339929 w 839349"/>
              <a:gd name="connsiteY15" fmla="*/ 434652 h 857141"/>
              <a:gd name="connsiteX16" fmla="*/ 339929 w 839349"/>
              <a:gd name="connsiteY16" fmla="*/ 441535 h 857141"/>
              <a:gd name="connsiteX17" fmla="*/ 330107 w 839349"/>
              <a:gd name="connsiteY17" fmla="*/ 451357 h 857141"/>
              <a:gd name="connsiteX18" fmla="*/ 320285 w 839349"/>
              <a:gd name="connsiteY18" fmla="*/ 441535 h 857141"/>
              <a:gd name="connsiteX19" fmla="*/ 320285 w 839349"/>
              <a:gd name="connsiteY19" fmla="*/ 434652 h 857141"/>
              <a:gd name="connsiteX20" fmla="*/ 315522 w 839349"/>
              <a:gd name="connsiteY20" fmla="*/ 433238 h 857141"/>
              <a:gd name="connsiteX21" fmla="*/ 292901 w 839349"/>
              <a:gd name="connsiteY21" fmla="*/ 401054 h 857141"/>
              <a:gd name="connsiteX22" fmla="*/ 302723 w 839349"/>
              <a:gd name="connsiteY22" fmla="*/ 391232 h 857141"/>
              <a:gd name="connsiteX23" fmla="*/ 312545 w 839349"/>
              <a:gd name="connsiteY23" fmla="*/ 401054 h 857141"/>
              <a:gd name="connsiteX24" fmla="*/ 322293 w 839349"/>
              <a:gd name="connsiteY24" fmla="*/ 414820 h 857141"/>
              <a:gd name="connsiteX25" fmla="*/ 330106 w 839349"/>
              <a:gd name="connsiteY25" fmla="*/ 416160 h 857141"/>
              <a:gd name="connsiteX26" fmla="*/ 337919 w 839349"/>
              <a:gd name="connsiteY26" fmla="*/ 414820 h 857141"/>
              <a:gd name="connsiteX27" fmla="*/ 347667 w 839349"/>
              <a:gd name="connsiteY27" fmla="*/ 401054 h 857141"/>
              <a:gd name="connsiteX28" fmla="*/ 327985 w 839349"/>
              <a:gd name="connsiteY28" fmla="*/ 385390 h 857141"/>
              <a:gd name="connsiteX29" fmla="*/ 292899 w 839349"/>
              <a:gd name="connsiteY29" fmla="*/ 350713 h 857141"/>
              <a:gd name="connsiteX30" fmla="*/ 315521 w 839349"/>
              <a:gd name="connsiteY30" fmla="*/ 318529 h 857141"/>
              <a:gd name="connsiteX31" fmla="*/ 320283 w 839349"/>
              <a:gd name="connsiteY31" fmla="*/ 317116 h 857141"/>
              <a:gd name="connsiteX32" fmla="*/ 736516 w 839349"/>
              <a:gd name="connsiteY32" fmla="*/ 631406 h 857141"/>
              <a:gd name="connsiteX33" fmla="*/ 660130 w 839349"/>
              <a:gd name="connsiteY33" fmla="*/ 499094 h 857141"/>
              <a:gd name="connsiteX34" fmla="*/ 660130 w 839349"/>
              <a:gd name="connsiteY34" fmla="*/ 499057 h 857141"/>
              <a:gd name="connsiteX35" fmla="*/ 642197 w 839349"/>
              <a:gd name="connsiteY35" fmla="*/ 480862 h 857141"/>
              <a:gd name="connsiteX36" fmla="*/ 617453 w 839349"/>
              <a:gd name="connsiteY36" fmla="*/ 474462 h 857141"/>
              <a:gd name="connsiteX37" fmla="*/ 592710 w 839349"/>
              <a:gd name="connsiteY37" fmla="*/ 480862 h 857141"/>
              <a:gd name="connsiteX38" fmla="*/ 574777 w 839349"/>
              <a:gd name="connsiteY38" fmla="*/ 499057 h 857141"/>
              <a:gd name="connsiteX39" fmla="*/ 574777 w 839349"/>
              <a:gd name="connsiteY39" fmla="*/ 499094 h 857141"/>
              <a:gd name="connsiteX40" fmla="*/ 467773 w 839349"/>
              <a:gd name="connsiteY40" fmla="*/ 684422 h 857141"/>
              <a:gd name="connsiteX41" fmla="*/ 467400 w 839349"/>
              <a:gd name="connsiteY41" fmla="*/ 685054 h 857141"/>
              <a:gd name="connsiteX42" fmla="*/ 422008 w 839349"/>
              <a:gd name="connsiteY42" fmla="*/ 763710 h 857141"/>
              <a:gd name="connsiteX43" fmla="*/ 415200 w 839349"/>
              <a:gd name="connsiteY43" fmla="*/ 788340 h 857141"/>
              <a:gd name="connsiteX44" fmla="*/ 422008 w 839349"/>
              <a:gd name="connsiteY44" fmla="*/ 813008 h 857141"/>
              <a:gd name="connsiteX45" fmla="*/ 439905 w 839349"/>
              <a:gd name="connsiteY45" fmla="*/ 831203 h 857141"/>
              <a:gd name="connsiteX46" fmla="*/ 439942 w 839349"/>
              <a:gd name="connsiteY46" fmla="*/ 831203 h 857141"/>
              <a:gd name="connsiteX47" fmla="*/ 464685 w 839349"/>
              <a:gd name="connsiteY47" fmla="*/ 837603 h 857141"/>
              <a:gd name="connsiteX48" fmla="*/ 770228 w 839349"/>
              <a:gd name="connsiteY48" fmla="*/ 837603 h 857141"/>
              <a:gd name="connsiteX49" fmla="*/ 794971 w 839349"/>
              <a:gd name="connsiteY49" fmla="*/ 831203 h 857141"/>
              <a:gd name="connsiteX50" fmla="*/ 795009 w 839349"/>
              <a:gd name="connsiteY50" fmla="*/ 831203 h 857141"/>
              <a:gd name="connsiteX51" fmla="*/ 812906 w 839349"/>
              <a:gd name="connsiteY51" fmla="*/ 813008 h 857141"/>
              <a:gd name="connsiteX52" fmla="*/ 819714 w 839349"/>
              <a:gd name="connsiteY52" fmla="*/ 788340 h 857141"/>
              <a:gd name="connsiteX53" fmla="*/ 812942 w 839349"/>
              <a:gd name="connsiteY53" fmla="*/ 763710 h 857141"/>
              <a:gd name="connsiteX54" fmla="*/ 812905 w 839349"/>
              <a:gd name="connsiteY54" fmla="*/ 763710 h 857141"/>
              <a:gd name="connsiteX55" fmla="*/ 736519 w 839349"/>
              <a:gd name="connsiteY55" fmla="*/ 631398 h 857141"/>
              <a:gd name="connsiteX56" fmla="*/ 451766 w 839349"/>
              <a:gd name="connsiteY56" fmla="*/ 673040 h 857141"/>
              <a:gd name="connsiteX57" fmla="*/ 557884 w 839349"/>
              <a:gd name="connsiteY57" fmla="*/ 489275 h 857141"/>
              <a:gd name="connsiteX58" fmla="*/ 557921 w 839349"/>
              <a:gd name="connsiteY58" fmla="*/ 489275 h 857141"/>
              <a:gd name="connsiteX59" fmla="*/ 582962 w 839349"/>
              <a:gd name="connsiteY59" fmla="*/ 463899 h 857141"/>
              <a:gd name="connsiteX60" fmla="*/ 616746 w 839349"/>
              <a:gd name="connsiteY60" fmla="*/ 454858 h 857141"/>
              <a:gd name="connsiteX61" fmla="*/ 634010 w 839349"/>
              <a:gd name="connsiteY61" fmla="*/ 388146 h 857141"/>
              <a:gd name="connsiteX62" fmla="*/ 640633 w 839349"/>
              <a:gd name="connsiteY62" fmla="*/ 312467 h 857141"/>
              <a:gd name="connsiteX63" fmla="*/ 640633 w 839349"/>
              <a:gd name="connsiteY63" fmla="*/ 109432 h 857141"/>
              <a:gd name="connsiteX64" fmla="*/ 330099 w 839349"/>
              <a:gd name="connsiteY64" fmla="*/ 19949 h 857141"/>
              <a:gd name="connsiteX65" fmla="*/ 19603 w 839349"/>
              <a:gd name="connsiteY65" fmla="*/ 109395 h 857141"/>
              <a:gd name="connsiteX66" fmla="*/ 19603 w 839349"/>
              <a:gd name="connsiteY66" fmla="*/ 312430 h 857141"/>
              <a:gd name="connsiteX67" fmla="*/ 106965 w 839349"/>
              <a:gd name="connsiteY67" fmla="*/ 574815 h 857141"/>
              <a:gd name="connsiteX68" fmla="*/ 330098 w 839349"/>
              <a:gd name="connsiteY68" fmla="*/ 731787 h 857141"/>
              <a:gd name="connsiteX69" fmla="*/ 392865 w 839349"/>
              <a:gd name="connsiteY69" fmla="*/ 707379 h 857141"/>
              <a:gd name="connsiteX70" fmla="*/ 451764 w 839349"/>
              <a:gd name="connsiteY70" fmla="*/ 672999 h 857141"/>
              <a:gd name="connsiteX71" fmla="*/ 677090 w 839349"/>
              <a:gd name="connsiteY71" fmla="*/ 489275 h 857141"/>
              <a:gd name="connsiteX72" fmla="*/ 677052 w 839349"/>
              <a:gd name="connsiteY72" fmla="*/ 489275 h 857141"/>
              <a:gd name="connsiteX73" fmla="*/ 652012 w 839349"/>
              <a:gd name="connsiteY73" fmla="*/ 463899 h 857141"/>
              <a:gd name="connsiteX74" fmla="*/ 636534 w 839349"/>
              <a:gd name="connsiteY74" fmla="*/ 457388 h 857141"/>
              <a:gd name="connsiteX75" fmla="*/ 653314 w 839349"/>
              <a:gd name="connsiteY75" fmla="*/ 391494 h 857141"/>
              <a:gd name="connsiteX76" fmla="*/ 660235 w 839349"/>
              <a:gd name="connsiteY76" fmla="*/ 312429 h 857141"/>
              <a:gd name="connsiteX77" fmla="*/ 660235 w 839349"/>
              <a:gd name="connsiteY77" fmla="*/ 102059 h 857141"/>
              <a:gd name="connsiteX78" fmla="*/ 652198 w 839349"/>
              <a:gd name="connsiteY78" fmla="*/ 92386 h 857141"/>
              <a:gd name="connsiteX79" fmla="*/ 332815 w 839349"/>
              <a:gd name="connsiteY79" fmla="*/ 373 h 857141"/>
              <a:gd name="connsiteX80" fmla="*/ 327309 w 839349"/>
              <a:gd name="connsiteY80" fmla="*/ 410 h 857141"/>
              <a:gd name="connsiteX81" fmla="*/ 7107 w 839349"/>
              <a:gd name="connsiteY81" fmla="*/ 92683 h 857141"/>
              <a:gd name="connsiteX82" fmla="*/ 37 w 839349"/>
              <a:gd name="connsiteY82" fmla="*/ 102059 h 857141"/>
              <a:gd name="connsiteX83" fmla="*/ 0 w 839349"/>
              <a:gd name="connsiteY83" fmla="*/ 102059 h 857141"/>
              <a:gd name="connsiteX84" fmla="*/ 0 w 839349"/>
              <a:gd name="connsiteY84" fmla="*/ 312467 h 857141"/>
              <a:gd name="connsiteX85" fmla="*/ 91306 w 839349"/>
              <a:gd name="connsiteY85" fmla="*/ 586568 h 857141"/>
              <a:gd name="connsiteX86" fmla="*/ 327383 w 839349"/>
              <a:gd name="connsiteY86" fmla="*/ 751436 h 857141"/>
              <a:gd name="connsiteX87" fmla="*/ 332964 w 839349"/>
              <a:gd name="connsiteY87" fmla="*/ 751399 h 857141"/>
              <a:gd name="connsiteX88" fmla="*/ 401425 w 839349"/>
              <a:gd name="connsiteY88" fmla="*/ 725056 h 857141"/>
              <a:gd name="connsiteX89" fmla="*/ 430706 w 839349"/>
              <a:gd name="connsiteY89" fmla="*/ 709578 h 857141"/>
              <a:gd name="connsiteX90" fmla="*/ 405145 w 839349"/>
              <a:gd name="connsiteY90" fmla="*/ 753891 h 857141"/>
              <a:gd name="connsiteX91" fmla="*/ 395694 w 839349"/>
              <a:gd name="connsiteY91" fmla="*/ 788308 h 857141"/>
              <a:gd name="connsiteX92" fmla="*/ 405145 w 839349"/>
              <a:gd name="connsiteY92" fmla="*/ 822688 h 857141"/>
              <a:gd name="connsiteX93" fmla="*/ 430222 w 839349"/>
              <a:gd name="connsiteY93" fmla="*/ 848063 h 857141"/>
              <a:gd name="connsiteX94" fmla="*/ 430222 w 839349"/>
              <a:gd name="connsiteY94" fmla="*/ 848100 h 857141"/>
              <a:gd name="connsiteX95" fmla="*/ 464751 w 839349"/>
              <a:gd name="connsiteY95" fmla="*/ 857142 h 857141"/>
              <a:gd name="connsiteX96" fmla="*/ 770294 w 839349"/>
              <a:gd name="connsiteY96" fmla="*/ 857142 h 857141"/>
              <a:gd name="connsiteX97" fmla="*/ 804822 w 839349"/>
              <a:gd name="connsiteY97" fmla="*/ 848100 h 857141"/>
              <a:gd name="connsiteX98" fmla="*/ 804822 w 839349"/>
              <a:gd name="connsiteY98" fmla="*/ 848063 h 857141"/>
              <a:gd name="connsiteX99" fmla="*/ 829899 w 839349"/>
              <a:gd name="connsiteY99" fmla="*/ 822688 h 857141"/>
              <a:gd name="connsiteX100" fmla="*/ 839350 w 839349"/>
              <a:gd name="connsiteY100" fmla="*/ 788308 h 857141"/>
              <a:gd name="connsiteX101" fmla="*/ 829899 w 839349"/>
              <a:gd name="connsiteY101" fmla="*/ 753929 h 857141"/>
              <a:gd name="connsiteX102" fmla="*/ 829899 w 839349"/>
              <a:gd name="connsiteY102" fmla="*/ 753891 h 857141"/>
              <a:gd name="connsiteX103" fmla="*/ 677128 w 839349"/>
              <a:gd name="connsiteY103" fmla="*/ 489277 h 857141"/>
              <a:gd name="connsiteX104" fmla="*/ 607661 w 839349"/>
              <a:gd name="connsiteY104" fmla="*/ 600527 h 857141"/>
              <a:gd name="connsiteX105" fmla="*/ 617483 w 839349"/>
              <a:gd name="connsiteY105" fmla="*/ 590704 h 857141"/>
              <a:gd name="connsiteX106" fmla="*/ 627305 w 839349"/>
              <a:gd name="connsiteY106" fmla="*/ 600527 h 857141"/>
              <a:gd name="connsiteX107" fmla="*/ 627305 w 839349"/>
              <a:gd name="connsiteY107" fmla="*/ 709874 h 857141"/>
              <a:gd name="connsiteX108" fmla="*/ 617483 w 839349"/>
              <a:gd name="connsiteY108" fmla="*/ 719696 h 857141"/>
              <a:gd name="connsiteX109" fmla="*/ 607661 w 839349"/>
              <a:gd name="connsiteY109" fmla="*/ 709874 h 857141"/>
              <a:gd name="connsiteX110" fmla="*/ 607661 w 839349"/>
              <a:gd name="connsiteY110" fmla="*/ 757127 h 857141"/>
              <a:gd name="connsiteX111" fmla="*/ 617483 w 839349"/>
              <a:gd name="connsiteY111" fmla="*/ 747305 h 857141"/>
              <a:gd name="connsiteX112" fmla="*/ 627305 w 839349"/>
              <a:gd name="connsiteY112" fmla="*/ 757127 h 857141"/>
              <a:gd name="connsiteX113" fmla="*/ 627305 w 839349"/>
              <a:gd name="connsiteY113" fmla="*/ 757164 h 857141"/>
              <a:gd name="connsiteX114" fmla="*/ 617483 w 839349"/>
              <a:gd name="connsiteY114" fmla="*/ 766986 h 857141"/>
              <a:gd name="connsiteX115" fmla="*/ 607661 w 839349"/>
              <a:gd name="connsiteY115" fmla="*/ 757164 h 857141"/>
              <a:gd name="connsiteX116" fmla="*/ 408531 w 839349"/>
              <a:gd name="connsiteY116" fmla="*/ 297508 h 857141"/>
              <a:gd name="connsiteX117" fmla="*/ 330136 w 839349"/>
              <a:gd name="connsiteY117" fmla="*/ 265026 h 857141"/>
              <a:gd name="connsiteX118" fmla="*/ 251740 w 839349"/>
              <a:gd name="connsiteY118" fmla="*/ 297508 h 857141"/>
              <a:gd name="connsiteX119" fmla="*/ 219258 w 839349"/>
              <a:gd name="connsiteY119" fmla="*/ 375903 h 857141"/>
              <a:gd name="connsiteX120" fmla="*/ 251740 w 839349"/>
              <a:gd name="connsiteY120" fmla="*/ 454299 h 857141"/>
              <a:gd name="connsiteX121" fmla="*/ 330136 w 839349"/>
              <a:gd name="connsiteY121" fmla="*/ 486781 h 857141"/>
              <a:gd name="connsiteX122" fmla="*/ 408531 w 839349"/>
              <a:gd name="connsiteY122" fmla="*/ 454299 h 857141"/>
              <a:gd name="connsiteX123" fmla="*/ 441013 w 839349"/>
              <a:gd name="connsiteY123" fmla="*/ 375903 h 857141"/>
              <a:gd name="connsiteX124" fmla="*/ 408531 w 839349"/>
              <a:gd name="connsiteY124" fmla="*/ 297508 h 857141"/>
              <a:gd name="connsiteX125" fmla="*/ 330136 w 839349"/>
              <a:gd name="connsiteY125" fmla="*/ 245380 h 857141"/>
              <a:gd name="connsiteX126" fmla="*/ 237862 w 839349"/>
              <a:gd name="connsiteY126" fmla="*/ 283592 h 857141"/>
              <a:gd name="connsiteX127" fmla="*/ 199651 w 839349"/>
              <a:gd name="connsiteY127" fmla="*/ 375865 h 857141"/>
              <a:gd name="connsiteX128" fmla="*/ 237862 w 839349"/>
              <a:gd name="connsiteY128" fmla="*/ 468139 h 857141"/>
              <a:gd name="connsiteX129" fmla="*/ 330136 w 839349"/>
              <a:gd name="connsiteY129" fmla="*/ 506350 h 857141"/>
              <a:gd name="connsiteX130" fmla="*/ 422409 w 839349"/>
              <a:gd name="connsiteY130" fmla="*/ 468139 h 857141"/>
              <a:gd name="connsiteX131" fmla="*/ 460621 w 839349"/>
              <a:gd name="connsiteY131" fmla="*/ 375865 h 857141"/>
              <a:gd name="connsiteX132" fmla="*/ 422409 w 839349"/>
              <a:gd name="connsiteY132" fmla="*/ 283592 h 857141"/>
              <a:gd name="connsiteX133" fmla="*/ 330136 w 839349"/>
              <a:gd name="connsiteY133" fmla="*/ 245380 h 857141"/>
              <a:gd name="connsiteX134" fmla="*/ 346321 w 839349"/>
              <a:gd name="connsiteY134" fmla="*/ 157497 h 857141"/>
              <a:gd name="connsiteX135" fmla="*/ 305988 w 839349"/>
              <a:gd name="connsiteY135" fmla="*/ 158241 h 857141"/>
              <a:gd name="connsiteX136" fmla="*/ 298212 w 839349"/>
              <a:gd name="connsiteY136" fmla="*/ 161664 h 857141"/>
              <a:gd name="connsiteX137" fmla="*/ 295049 w 839349"/>
              <a:gd name="connsiteY137" fmla="*/ 169626 h 857141"/>
              <a:gd name="connsiteX138" fmla="*/ 295421 w 839349"/>
              <a:gd name="connsiteY138" fmla="*/ 191132 h 857141"/>
              <a:gd name="connsiteX139" fmla="*/ 287906 w 839349"/>
              <a:gd name="connsiteY139" fmla="*/ 200805 h 857141"/>
              <a:gd name="connsiteX140" fmla="*/ 258214 w 839349"/>
              <a:gd name="connsiteY140" fmla="*/ 210777 h 857141"/>
              <a:gd name="connsiteX141" fmla="*/ 230644 w 839349"/>
              <a:gd name="connsiteY141" fmla="*/ 225771 h 857141"/>
              <a:gd name="connsiteX142" fmla="*/ 218441 w 839349"/>
              <a:gd name="connsiteY142" fmla="*/ 224655 h 857141"/>
              <a:gd name="connsiteX143" fmla="*/ 203446 w 839349"/>
              <a:gd name="connsiteY143" fmla="*/ 210219 h 857141"/>
              <a:gd name="connsiteX144" fmla="*/ 202814 w 839349"/>
              <a:gd name="connsiteY144" fmla="*/ 209623 h 857141"/>
              <a:gd name="connsiteX145" fmla="*/ 202851 w 839349"/>
              <a:gd name="connsiteY145" fmla="*/ 209586 h 857141"/>
              <a:gd name="connsiteX146" fmla="*/ 195000 w 839349"/>
              <a:gd name="connsiteY146" fmla="*/ 206610 h 857141"/>
              <a:gd name="connsiteX147" fmla="*/ 187559 w 839349"/>
              <a:gd name="connsiteY147" fmla="*/ 209661 h 857141"/>
              <a:gd name="connsiteX148" fmla="*/ 187075 w 839349"/>
              <a:gd name="connsiteY148" fmla="*/ 210182 h 857141"/>
              <a:gd name="connsiteX149" fmla="*/ 187038 w 839349"/>
              <a:gd name="connsiteY149" fmla="*/ 210144 h 857141"/>
              <a:gd name="connsiteX150" fmla="*/ 159170 w 839349"/>
              <a:gd name="connsiteY150" fmla="*/ 239055 h 857141"/>
              <a:gd name="connsiteX151" fmla="*/ 156044 w 839349"/>
              <a:gd name="connsiteY151" fmla="*/ 247055 h 857141"/>
              <a:gd name="connsiteX152" fmla="*/ 159431 w 839349"/>
              <a:gd name="connsiteY152" fmla="*/ 254868 h 857141"/>
              <a:gd name="connsiteX153" fmla="*/ 174723 w 839349"/>
              <a:gd name="connsiteY153" fmla="*/ 269639 h 857141"/>
              <a:gd name="connsiteX154" fmla="*/ 176471 w 839349"/>
              <a:gd name="connsiteY154" fmla="*/ 281955 h 857141"/>
              <a:gd name="connsiteX155" fmla="*/ 162480 w 839349"/>
              <a:gd name="connsiteY155" fmla="*/ 310046 h 857141"/>
              <a:gd name="connsiteX156" fmla="*/ 153626 w 839349"/>
              <a:gd name="connsiteY156" fmla="*/ 339849 h 857141"/>
              <a:gd name="connsiteX157" fmla="*/ 144138 w 839349"/>
              <a:gd name="connsiteY157" fmla="*/ 347960 h 857141"/>
              <a:gd name="connsiteX158" fmla="*/ 122633 w 839349"/>
              <a:gd name="connsiteY158" fmla="*/ 348332 h 857141"/>
              <a:gd name="connsiteX159" fmla="*/ 114856 w 839349"/>
              <a:gd name="connsiteY159" fmla="*/ 351755 h 857141"/>
              <a:gd name="connsiteX160" fmla="*/ 111693 w 839349"/>
              <a:gd name="connsiteY160" fmla="*/ 359717 h 857141"/>
              <a:gd name="connsiteX161" fmla="*/ 112400 w 839349"/>
              <a:gd name="connsiteY161" fmla="*/ 399194 h 857141"/>
              <a:gd name="connsiteX162" fmla="*/ 112475 w 839349"/>
              <a:gd name="connsiteY162" fmla="*/ 400236 h 857141"/>
              <a:gd name="connsiteX163" fmla="*/ 112437 w 839349"/>
              <a:gd name="connsiteY163" fmla="*/ 400236 h 857141"/>
              <a:gd name="connsiteX164" fmla="*/ 115860 w 839349"/>
              <a:gd name="connsiteY164" fmla="*/ 407863 h 857141"/>
              <a:gd name="connsiteX165" fmla="*/ 123191 w 839349"/>
              <a:gd name="connsiteY165" fmla="*/ 411026 h 857141"/>
              <a:gd name="connsiteX166" fmla="*/ 123972 w 839349"/>
              <a:gd name="connsiteY166" fmla="*/ 410989 h 857141"/>
              <a:gd name="connsiteX167" fmla="*/ 123972 w 839349"/>
              <a:gd name="connsiteY167" fmla="*/ 411026 h 857141"/>
              <a:gd name="connsiteX168" fmla="*/ 145329 w 839349"/>
              <a:gd name="connsiteY168" fmla="*/ 410654 h 857141"/>
              <a:gd name="connsiteX169" fmla="*/ 155002 w 839349"/>
              <a:gd name="connsiteY169" fmla="*/ 418169 h 857141"/>
              <a:gd name="connsiteX170" fmla="*/ 164974 w 839349"/>
              <a:gd name="connsiteY170" fmla="*/ 447861 h 857141"/>
              <a:gd name="connsiteX171" fmla="*/ 179968 w 839349"/>
              <a:gd name="connsiteY171" fmla="*/ 475394 h 857141"/>
              <a:gd name="connsiteX172" fmla="*/ 178852 w 839349"/>
              <a:gd name="connsiteY172" fmla="*/ 487597 h 857141"/>
              <a:gd name="connsiteX173" fmla="*/ 164416 w 839349"/>
              <a:gd name="connsiteY173" fmla="*/ 502591 h 857141"/>
              <a:gd name="connsiteX174" fmla="*/ 163821 w 839349"/>
              <a:gd name="connsiteY174" fmla="*/ 503224 h 857141"/>
              <a:gd name="connsiteX175" fmla="*/ 163783 w 839349"/>
              <a:gd name="connsiteY175" fmla="*/ 503224 h 857141"/>
              <a:gd name="connsiteX176" fmla="*/ 160807 w 839349"/>
              <a:gd name="connsiteY176" fmla="*/ 511074 h 857141"/>
              <a:gd name="connsiteX177" fmla="*/ 163858 w 839349"/>
              <a:gd name="connsiteY177" fmla="*/ 518516 h 857141"/>
              <a:gd name="connsiteX178" fmla="*/ 164379 w 839349"/>
              <a:gd name="connsiteY178" fmla="*/ 519000 h 857141"/>
              <a:gd name="connsiteX179" fmla="*/ 164342 w 839349"/>
              <a:gd name="connsiteY179" fmla="*/ 519037 h 857141"/>
              <a:gd name="connsiteX180" fmla="*/ 193252 w 839349"/>
              <a:gd name="connsiteY180" fmla="*/ 546906 h 857141"/>
              <a:gd name="connsiteX181" fmla="*/ 201251 w 839349"/>
              <a:gd name="connsiteY181" fmla="*/ 550031 h 857141"/>
              <a:gd name="connsiteX182" fmla="*/ 209064 w 839349"/>
              <a:gd name="connsiteY182" fmla="*/ 546645 h 857141"/>
              <a:gd name="connsiteX183" fmla="*/ 223836 w 839349"/>
              <a:gd name="connsiteY183" fmla="*/ 531352 h 857141"/>
              <a:gd name="connsiteX184" fmla="*/ 236152 w 839349"/>
              <a:gd name="connsiteY184" fmla="*/ 529603 h 857141"/>
              <a:gd name="connsiteX185" fmla="*/ 264243 w 839349"/>
              <a:gd name="connsiteY185" fmla="*/ 543594 h 857141"/>
              <a:gd name="connsiteX186" fmla="*/ 294045 w 839349"/>
              <a:gd name="connsiteY186" fmla="*/ 552449 h 857141"/>
              <a:gd name="connsiteX187" fmla="*/ 302157 w 839349"/>
              <a:gd name="connsiteY187" fmla="*/ 561937 h 857141"/>
              <a:gd name="connsiteX188" fmla="*/ 302529 w 839349"/>
              <a:gd name="connsiteY188" fmla="*/ 583443 h 857141"/>
              <a:gd name="connsiteX189" fmla="*/ 305952 w 839349"/>
              <a:gd name="connsiteY189" fmla="*/ 591219 h 857141"/>
              <a:gd name="connsiteX190" fmla="*/ 313915 w 839349"/>
              <a:gd name="connsiteY190" fmla="*/ 594382 h 857141"/>
              <a:gd name="connsiteX191" fmla="*/ 354247 w 839349"/>
              <a:gd name="connsiteY191" fmla="*/ 593637 h 857141"/>
              <a:gd name="connsiteX192" fmla="*/ 362023 w 839349"/>
              <a:gd name="connsiteY192" fmla="*/ 590215 h 857141"/>
              <a:gd name="connsiteX193" fmla="*/ 365186 w 839349"/>
              <a:gd name="connsiteY193" fmla="*/ 582252 h 857141"/>
              <a:gd name="connsiteX194" fmla="*/ 364814 w 839349"/>
              <a:gd name="connsiteY194" fmla="*/ 560746 h 857141"/>
              <a:gd name="connsiteX195" fmla="*/ 372330 w 839349"/>
              <a:gd name="connsiteY195" fmla="*/ 551073 h 857141"/>
              <a:gd name="connsiteX196" fmla="*/ 402021 w 839349"/>
              <a:gd name="connsiteY196" fmla="*/ 541101 h 857141"/>
              <a:gd name="connsiteX197" fmla="*/ 429591 w 839349"/>
              <a:gd name="connsiteY197" fmla="*/ 526107 h 857141"/>
              <a:gd name="connsiteX198" fmla="*/ 441794 w 839349"/>
              <a:gd name="connsiteY198" fmla="*/ 527223 h 857141"/>
              <a:gd name="connsiteX199" fmla="*/ 457273 w 839349"/>
              <a:gd name="connsiteY199" fmla="*/ 542143 h 857141"/>
              <a:gd name="connsiteX200" fmla="*/ 465273 w 839349"/>
              <a:gd name="connsiteY200" fmla="*/ 545268 h 857141"/>
              <a:gd name="connsiteX201" fmla="*/ 473086 w 839349"/>
              <a:gd name="connsiteY201" fmla="*/ 541883 h 857141"/>
              <a:gd name="connsiteX202" fmla="*/ 500619 w 839349"/>
              <a:gd name="connsiteY202" fmla="*/ 513345 h 857141"/>
              <a:gd name="connsiteX203" fmla="*/ 501214 w 839349"/>
              <a:gd name="connsiteY203" fmla="*/ 512712 h 857141"/>
              <a:gd name="connsiteX204" fmla="*/ 501251 w 839349"/>
              <a:gd name="connsiteY204" fmla="*/ 512750 h 857141"/>
              <a:gd name="connsiteX205" fmla="*/ 504228 w 839349"/>
              <a:gd name="connsiteY205" fmla="*/ 504898 h 857141"/>
              <a:gd name="connsiteX206" fmla="*/ 501177 w 839349"/>
              <a:gd name="connsiteY206" fmla="*/ 497457 h 857141"/>
              <a:gd name="connsiteX207" fmla="*/ 500656 w 839349"/>
              <a:gd name="connsiteY207" fmla="*/ 496974 h 857141"/>
              <a:gd name="connsiteX208" fmla="*/ 500693 w 839349"/>
              <a:gd name="connsiteY208" fmla="*/ 496936 h 857141"/>
              <a:gd name="connsiteX209" fmla="*/ 485512 w 839349"/>
              <a:gd name="connsiteY209" fmla="*/ 482314 h 857141"/>
              <a:gd name="connsiteX210" fmla="*/ 483763 w 839349"/>
              <a:gd name="connsiteY210" fmla="*/ 469998 h 857141"/>
              <a:gd name="connsiteX211" fmla="*/ 497754 w 839349"/>
              <a:gd name="connsiteY211" fmla="*/ 441944 h 857141"/>
              <a:gd name="connsiteX212" fmla="*/ 506609 w 839349"/>
              <a:gd name="connsiteY212" fmla="*/ 412141 h 857141"/>
              <a:gd name="connsiteX213" fmla="*/ 516097 w 839349"/>
              <a:gd name="connsiteY213" fmla="*/ 404030 h 857141"/>
              <a:gd name="connsiteX214" fmla="*/ 537603 w 839349"/>
              <a:gd name="connsiteY214" fmla="*/ 403658 h 857141"/>
              <a:gd name="connsiteX215" fmla="*/ 545379 w 839349"/>
              <a:gd name="connsiteY215" fmla="*/ 400235 h 857141"/>
              <a:gd name="connsiteX216" fmla="*/ 548541 w 839349"/>
              <a:gd name="connsiteY216" fmla="*/ 392273 h 857141"/>
              <a:gd name="connsiteX217" fmla="*/ 547797 w 839349"/>
              <a:gd name="connsiteY217" fmla="*/ 351940 h 857141"/>
              <a:gd name="connsiteX218" fmla="*/ 544374 w 839349"/>
              <a:gd name="connsiteY218" fmla="*/ 344163 h 857141"/>
              <a:gd name="connsiteX219" fmla="*/ 536412 w 839349"/>
              <a:gd name="connsiteY219" fmla="*/ 341001 h 857141"/>
              <a:gd name="connsiteX220" fmla="*/ 514906 w 839349"/>
              <a:gd name="connsiteY220" fmla="*/ 341373 h 857141"/>
              <a:gd name="connsiteX221" fmla="*/ 505233 w 839349"/>
              <a:gd name="connsiteY221" fmla="*/ 333857 h 857141"/>
              <a:gd name="connsiteX222" fmla="*/ 495261 w 839349"/>
              <a:gd name="connsiteY222" fmla="*/ 304166 h 857141"/>
              <a:gd name="connsiteX223" fmla="*/ 480267 w 839349"/>
              <a:gd name="connsiteY223" fmla="*/ 276596 h 857141"/>
              <a:gd name="connsiteX224" fmla="*/ 481383 w 839349"/>
              <a:gd name="connsiteY224" fmla="*/ 264392 h 857141"/>
              <a:gd name="connsiteX225" fmla="*/ 496303 w 839349"/>
              <a:gd name="connsiteY225" fmla="*/ 248914 h 857141"/>
              <a:gd name="connsiteX226" fmla="*/ 499428 w 839349"/>
              <a:gd name="connsiteY226" fmla="*/ 240915 h 857141"/>
              <a:gd name="connsiteX227" fmla="*/ 496042 w 839349"/>
              <a:gd name="connsiteY227" fmla="*/ 233102 h 857141"/>
              <a:gd name="connsiteX228" fmla="*/ 467504 w 839349"/>
              <a:gd name="connsiteY228" fmla="*/ 205569 h 857141"/>
              <a:gd name="connsiteX229" fmla="*/ 466872 w 839349"/>
              <a:gd name="connsiteY229" fmla="*/ 204973 h 857141"/>
              <a:gd name="connsiteX230" fmla="*/ 466909 w 839349"/>
              <a:gd name="connsiteY230" fmla="*/ 204936 h 857141"/>
              <a:gd name="connsiteX231" fmla="*/ 459058 w 839349"/>
              <a:gd name="connsiteY231" fmla="*/ 201960 h 857141"/>
              <a:gd name="connsiteX232" fmla="*/ 451617 w 839349"/>
              <a:gd name="connsiteY232" fmla="*/ 205010 h 857141"/>
              <a:gd name="connsiteX233" fmla="*/ 451134 w 839349"/>
              <a:gd name="connsiteY233" fmla="*/ 205531 h 857141"/>
              <a:gd name="connsiteX234" fmla="*/ 451096 w 839349"/>
              <a:gd name="connsiteY234" fmla="*/ 205494 h 857141"/>
              <a:gd name="connsiteX235" fmla="*/ 436473 w 839349"/>
              <a:gd name="connsiteY235" fmla="*/ 220675 h 857141"/>
              <a:gd name="connsiteX236" fmla="*/ 424157 w 839349"/>
              <a:gd name="connsiteY236" fmla="*/ 222423 h 857141"/>
              <a:gd name="connsiteX237" fmla="*/ 396103 w 839349"/>
              <a:gd name="connsiteY237" fmla="*/ 208433 h 857141"/>
              <a:gd name="connsiteX238" fmla="*/ 366300 w 839349"/>
              <a:gd name="connsiteY238" fmla="*/ 199578 h 857141"/>
              <a:gd name="connsiteX239" fmla="*/ 358190 w 839349"/>
              <a:gd name="connsiteY239" fmla="*/ 190090 h 857141"/>
              <a:gd name="connsiteX240" fmla="*/ 357817 w 839349"/>
              <a:gd name="connsiteY240" fmla="*/ 168585 h 857141"/>
              <a:gd name="connsiteX241" fmla="*/ 354395 w 839349"/>
              <a:gd name="connsiteY241" fmla="*/ 160809 h 857141"/>
              <a:gd name="connsiteX242" fmla="*/ 346432 w 839349"/>
              <a:gd name="connsiteY242" fmla="*/ 157645 h 857141"/>
              <a:gd name="connsiteX243" fmla="*/ 305654 w 839349"/>
              <a:gd name="connsiteY243" fmla="*/ 138670 h 857141"/>
              <a:gd name="connsiteX244" fmla="*/ 284074 w 839349"/>
              <a:gd name="connsiteY244" fmla="*/ 148083 h 857141"/>
              <a:gd name="connsiteX245" fmla="*/ 275479 w 839349"/>
              <a:gd name="connsiteY245" fmla="*/ 169924 h 857141"/>
              <a:gd name="connsiteX246" fmla="*/ 275739 w 839349"/>
              <a:gd name="connsiteY246" fmla="*/ 183765 h 857141"/>
              <a:gd name="connsiteX247" fmla="*/ 250401 w 839349"/>
              <a:gd name="connsiteY247" fmla="*/ 192806 h 857141"/>
              <a:gd name="connsiteX248" fmla="*/ 226514 w 839349"/>
              <a:gd name="connsiteY248" fmla="*/ 205196 h 857141"/>
              <a:gd name="connsiteX249" fmla="*/ 217101 w 839349"/>
              <a:gd name="connsiteY249" fmla="*/ 196118 h 857141"/>
              <a:gd name="connsiteX250" fmla="*/ 216729 w 839349"/>
              <a:gd name="connsiteY250" fmla="*/ 195745 h 857141"/>
              <a:gd name="connsiteX251" fmla="*/ 216692 w 839349"/>
              <a:gd name="connsiteY251" fmla="*/ 195783 h 857141"/>
              <a:gd name="connsiteX252" fmla="*/ 216542 w 839349"/>
              <a:gd name="connsiteY252" fmla="*/ 195634 h 857141"/>
              <a:gd name="connsiteX253" fmla="*/ 194664 w 839349"/>
              <a:gd name="connsiteY253" fmla="*/ 187077 h 857141"/>
              <a:gd name="connsiteX254" fmla="*/ 173680 w 839349"/>
              <a:gd name="connsiteY254" fmla="*/ 195857 h 857141"/>
              <a:gd name="connsiteX255" fmla="*/ 173196 w 839349"/>
              <a:gd name="connsiteY255" fmla="*/ 196341 h 857141"/>
              <a:gd name="connsiteX256" fmla="*/ 173234 w 839349"/>
              <a:gd name="connsiteY256" fmla="*/ 196378 h 857141"/>
              <a:gd name="connsiteX257" fmla="*/ 145106 w 839349"/>
              <a:gd name="connsiteY257" fmla="*/ 225548 h 857141"/>
              <a:gd name="connsiteX258" fmla="*/ 136548 w 839349"/>
              <a:gd name="connsiteY258" fmla="*/ 247426 h 857141"/>
              <a:gd name="connsiteX259" fmla="*/ 145924 w 839349"/>
              <a:gd name="connsiteY259" fmla="*/ 269043 h 857141"/>
              <a:gd name="connsiteX260" fmla="*/ 155859 w 839349"/>
              <a:gd name="connsiteY260" fmla="*/ 278605 h 857141"/>
              <a:gd name="connsiteX261" fmla="*/ 144325 w 839349"/>
              <a:gd name="connsiteY261" fmla="*/ 302939 h 857141"/>
              <a:gd name="connsiteX262" fmla="*/ 136213 w 839349"/>
              <a:gd name="connsiteY262" fmla="*/ 328574 h 857141"/>
              <a:gd name="connsiteX263" fmla="*/ 122447 w 839349"/>
              <a:gd name="connsiteY263" fmla="*/ 328835 h 857141"/>
              <a:gd name="connsiteX264" fmla="*/ 100867 w 839349"/>
              <a:gd name="connsiteY264" fmla="*/ 338249 h 857141"/>
              <a:gd name="connsiteX265" fmla="*/ 92273 w 839349"/>
              <a:gd name="connsiteY265" fmla="*/ 360089 h 857141"/>
              <a:gd name="connsiteX266" fmla="*/ 92979 w 839349"/>
              <a:gd name="connsiteY266" fmla="*/ 399603 h 857141"/>
              <a:gd name="connsiteX267" fmla="*/ 92942 w 839349"/>
              <a:gd name="connsiteY267" fmla="*/ 400273 h 857141"/>
              <a:gd name="connsiteX268" fmla="*/ 92979 w 839349"/>
              <a:gd name="connsiteY268" fmla="*/ 400273 h 857141"/>
              <a:gd name="connsiteX269" fmla="*/ 92979 w 839349"/>
              <a:gd name="connsiteY269" fmla="*/ 400422 h 857141"/>
              <a:gd name="connsiteX270" fmla="*/ 102393 w 839349"/>
              <a:gd name="connsiteY270" fmla="*/ 422001 h 857141"/>
              <a:gd name="connsiteX271" fmla="*/ 123229 w 839349"/>
              <a:gd name="connsiteY271" fmla="*/ 430596 h 857141"/>
              <a:gd name="connsiteX272" fmla="*/ 124084 w 839349"/>
              <a:gd name="connsiteY272" fmla="*/ 430633 h 857141"/>
              <a:gd name="connsiteX273" fmla="*/ 124084 w 839349"/>
              <a:gd name="connsiteY273" fmla="*/ 430596 h 857141"/>
              <a:gd name="connsiteX274" fmla="*/ 138075 w 839349"/>
              <a:gd name="connsiteY274" fmla="*/ 430336 h 857141"/>
              <a:gd name="connsiteX275" fmla="*/ 147117 w 839349"/>
              <a:gd name="connsiteY275" fmla="*/ 455674 h 857141"/>
              <a:gd name="connsiteX276" fmla="*/ 159507 w 839349"/>
              <a:gd name="connsiteY276" fmla="*/ 479561 h 857141"/>
              <a:gd name="connsiteX277" fmla="*/ 150427 w 839349"/>
              <a:gd name="connsiteY277" fmla="*/ 488975 h 857141"/>
              <a:gd name="connsiteX278" fmla="*/ 150056 w 839349"/>
              <a:gd name="connsiteY278" fmla="*/ 489346 h 857141"/>
              <a:gd name="connsiteX279" fmla="*/ 150093 w 839349"/>
              <a:gd name="connsiteY279" fmla="*/ 489383 h 857141"/>
              <a:gd name="connsiteX280" fmla="*/ 149945 w 839349"/>
              <a:gd name="connsiteY280" fmla="*/ 489533 h 857141"/>
              <a:gd name="connsiteX281" fmla="*/ 141386 w 839349"/>
              <a:gd name="connsiteY281" fmla="*/ 511411 h 857141"/>
              <a:gd name="connsiteX282" fmla="*/ 150167 w 839349"/>
              <a:gd name="connsiteY282" fmla="*/ 532395 h 857141"/>
              <a:gd name="connsiteX283" fmla="*/ 150651 w 839349"/>
              <a:gd name="connsiteY283" fmla="*/ 532878 h 857141"/>
              <a:gd name="connsiteX284" fmla="*/ 150688 w 839349"/>
              <a:gd name="connsiteY284" fmla="*/ 532841 h 857141"/>
              <a:gd name="connsiteX285" fmla="*/ 179859 w 839349"/>
              <a:gd name="connsiteY285" fmla="*/ 560969 h 857141"/>
              <a:gd name="connsiteX286" fmla="*/ 201737 w 839349"/>
              <a:gd name="connsiteY286" fmla="*/ 569527 h 857141"/>
              <a:gd name="connsiteX287" fmla="*/ 223354 w 839349"/>
              <a:gd name="connsiteY287" fmla="*/ 560151 h 857141"/>
              <a:gd name="connsiteX288" fmla="*/ 232916 w 839349"/>
              <a:gd name="connsiteY288" fmla="*/ 550216 h 857141"/>
              <a:gd name="connsiteX289" fmla="*/ 257249 w 839349"/>
              <a:gd name="connsiteY289" fmla="*/ 561750 h 857141"/>
              <a:gd name="connsiteX290" fmla="*/ 282885 w 839349"/>
              <a:gd name="connsiteY290" fmla="*/ 569861 h 857141"/>
              <a:gd name="connsiteX291" fmla="*/ 283145 w 839349"/>
              <a:gd name="connsiteY291" fmla="*/ 583628 h 857141"/>
              <a:gd name="connsiteX292" fmla="*/ 292559 w 839349"/>
              <a:gd name="connsiteY292" fmla="*/ 605208 h 857141"/>
              <a:gd name="connsiteX293" fmla="*/ 314399 w 839349"/>
              <a:gd name="connsiteY293" fmla="*/ 613803 h 857141"/>
              <a:gd name="connsiteX294" fmla="*/ 354732 w 839349"/>
              <a:gd name="connsiteY294" fmla="*/ 613059 h 857141"/>
              <a:gd name="connsiteX295" fmla="*/ 376312 w 839349"/>
              <a:gd name="connsiteY295" fmla="*/ 603645 h 857141"/>
              <a:gd name="connsiteX296" fmla="*/ 384907 w 839349"/>
              <a:gd name="connsiteY296" fmla="*/ 581804 h 857141"/>
              <a:gd name="connsiteX297" fmla="*/ 384646 w 839349"/>
              <a:gd name="connsiteY297" fmla="*/ 567963 h 857141"/>
              <a:gd name="connsiteX298" fmla="*/ 409985 w 839349"/>
              <a:gd name="connsiteY298" fmla="*/ 558922 h 857141"/>
              <a:gd name="connsiteX299" fmla="*/ 433871 w 839349"/>
              <a:gd name="connsiteY299" fmla="*/ 546532 h 857141"/>
              <a:gd name="connsiteX300" fmla="*/ 443806 w 839349"/>
              <a:gd name="connsiteY300" fmla="*/ 556132 h 857141"/>
              <a:gd name="connsiteX301" fmla="*/ 465684 w 839349"/>
              <a:gd name="connsiteY301" fmla="*/ 564689 h 857141"/>
              <a:gd name="connsiteX302" fmla="*/ 487301 w 839349"/>
              <a:gd name="connsiteY302" fmla="*/ 555312 h 857141"/>
              <a:gd name="connsiteX303" fmla="*/ 514834 w 839349"/>
              <a:gd name="connsiteY303" fmla="*/ 526775 h 857141"/>
              <a:gd name="connsiteX304" fmla="*/ 515206 w 839349"/>
              <a:gd name="connsiteY304" fmla="*/ 526403 h 857141"/>
              <a:gd name="connsiteX305" fmla="*/ 515169 w 839349"/>
              <a:gd name="connsiteY305" fmla="*/ 526366 h 857141"/>
              <a:gd name="connsiteX306" fmla="*/ 515318 w 839349"/>
              <a:gd name="connsiteY306" fmla="*/ 526216 h 857141"/>
              <a:gd name="connsiteX307" fmla="*/ 523875 w 839349"/>
              <a:gd name="connsiteY307" fmla="*/ 504338 h 857141"/>
              <a:gd name="connsiteX308" fmla="*/ 515094 w 839349"/>
              <a:gd name="connsiteY308" fmla="*/ 483354 h 857141"/>
              <a:gd name="connsiteX309" fmla="*/ 514648 w 839349"/>
              <a:gd name="connsiteY309" fmla="*/ 482871 h 857141"/>
              <a:gd name="connsiteX310" fmla="*/ 514611 w 839349"/>
              <a:gd name="connsiteY310" fmla="*/ 482908 h 857141"/>
              <a:gd name="connsiteX311" fmla="*/ 504565 w 839349"/>
              <a:gd name="connsiteY311" fmla="*/ 473197 h 857141"/>
              <a:gd name="connsiteX312" fmla="*/ 516099 w 839349"/>
              <a:gd name="connsiteY312" fmla="*/ 448864 h 857141"/>
              <a:gd name="connsiteX313" fmla="*/ 524209 w 839349"/>
              <a:gd name="connsiteY313" fmla="*/ 423228 h 857141"/>
              <a:gd name="connsiteX314" fmla="*/ 537976 w 839349"/>
              <a:gd name="connsiteY314" fmla="*/ 422967 h 857141"/>
              <a:gd name="connsiteX315" fmla="*/ 559556 w 839349"/>
              <a:gd name="connsiteY315" fmla="*/ 413554 h 857141"/>
              <a:gd name="connsiteX316" fmla="*/ 568151 w 839349"/>
              <a:gd name="connsiteY316" fmla="*/ 391676 h 857141"/>
              <a:gd name="connsiteX317" fmla="*/ 567406 w 839349"/>
              <a:gd name="connsiteY317" fmla="*/ 351343 h 857141"/>
              <a:gd name="connsiteX318" fmla="*/ 557994 w 839349"/>
              <a:gd name="connsiteY318" fmla="*/ 329763 h 857141"/>
              <a:gd name="connsiteX319" fmla="*/ 536153 w 839349"/>
              <a:gd name="connsiteY319" fmla="*/ 321169 h 857141"/>
              <a:gd name="connsiteX320" fmla="*/ 522312 w 839349"/>
              <a:gd name="connsiteY320" fmla="*/ 321429 h 857141"/>
              <a:gd name="connsiteX321" fmla="*/ 513270 w 839349"/>
              <a:gd name="connsiteY321" fmla="*/ 296091 h 857141"/>
              <a:gd name="connsiteX322" fmla="*/ 500880 w 839349"/>
              <a:gd name="connsiteY322" fmla="*/ 272205 h 857141"/>
              <a:gd name="connsiteX323" fmla="*/ 510479 w 839349"/>
              <a:gd name="connsiteY323" fmla="*/ 262270 h 857141"/>
              <a:gd name="connsiteX324" fmla="*/ 519037 w 839349"/>
              <a:gd name="connsiteY324" fmla="*/ 240391 h 857141"/>
              <a:gd name="connsiteX325" fmla="*/ 509661 w 839349"/>
              <a:gd name="connsiteY325" fmla="*/ 218775 h 857141"/>
              <a:gd name="connsiteX326" fmla="*/ 481123 w 839349"/>
              <a:gd name="connsiteY326" fmla="*/ 191242 h 857141"/>
              <a:gd name="connsiteX327" fmla="*/ 480751 w 839349"/>
              <a:gd name="connsiteY327" fmla="*/ 190870 h 857141"/>
              <a:gd name="connsiteX328" fmla="*/ 480714 w 839349"/>
              <a:gd name="connsiteY328" fmla="*/ 190907 h 857141"/>
              <a:gd name="connsiteX329" fmla="*/ 480565 w 839349"/>
              <a:gd name="connsiteY329" fmla="*/ 190758 h 857141"/>
              <a:gd name="connsiteX330" fmla="*/ 458687 w 839349"/>
              <a:gd name="connsiteY330" fmla="*/ 182200 h 857141"/>
              <a:gd name="connsiteX331" fmla="*/ 437702 w 839349"/>
              <a:gd name="connsiteY331" fmla="*/ 190944 h 857141"/>
              <a:gd name="connsiteX332" fmla="*/ 437219 w 839349"/>
              <a:gd name="connsiteY332" fmla="*/ 191428 h 857141"/>
              <a:gd name="connsiteX333" fmla="*/ 437256 w 839349"/>
              <a:gd name="connsiteY333" fmla="*/ 191465 h 857141"/>
              <a:gd name="connsiteX334" fmla="*/ 427545 w 839349"/>
              <a:gd name="connsiteY334" fmla="*/ 201511 h 857141"/>
              <a:gd name="connsiteX335" fmla="*/ 403211 w 839349"/>
              <a:gd name="connsiteY335" fmla="*/ 189977 h 857141"/>
              <a:gd name="connsiteX336" fmla="*/ 377576 w 839349"/>
              <a:gd name="connsiteY336" fmla="*/ 181866 h 857141"/>
              <a:gd name="connsiteX337" fmla="*/ 377316 w 839349"/>
              <a:gd name="connsiteY337" fmla="*/ 168099 h 857141"/>
              <a:gd name="connsiteX338" fmla="*/ 367902 w 839349"/>
              <a:gd name="connsiteY338" fmla="*/ 146519 h 857141"/>
              <a:gd name="connsiteX339" fmla="*/ 346024 w 839349"/>
              <a:gd name="connsiteY339" fmla="*/ 137925 h 857141"/>
              <a:gd name="connsiteX340" fmla="*/ 305692 w 839349"/>
              <a:gd name="connsiteY340" fmla="*/ 138669 h 85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Lst>
            <a:rect l="l" t="t" r="r" b="b"/>
            <a:pathLst>
              <a:path w="839349" h="857141">
                <a:moveTo>
                  <a:pt x="320283" y="310232"/>
                </a:moveTo>
                <a:cubicBezTo>
                  <a:pt x="320283" y="304800"/>
                  <a:pt x="324673" y="300410"/>
                  <a:pt x="330105" y="300410"/>
                </a:cubicBezTo>
                <a:cubicBezTo>
                  <a:pt x="335537" y="300410"/>
                  <a:pt x="339927" y="304800"/>
                  <a:pt x="339927" y="310232"/>
                </a:cubicBezTo>
                <a:lnTo>
                  <a:pt x="339927" y="317116"/>
                </a:lnTo>
                <a:cubicBezTo>
                  <a:pt x="341565" y="317487"/>
                  <a:pt x="343127" y="317971"/>
                  <a:pt x="344690" y="318529"/>
                </a:cubicBezTo>
                <a:cubicBezTo>
                  <a:pt x="357377" y="323218"/>
                  <a:pt x="367312" y="333933"/>
                  <a:pt x="367312" y="350713"/>
                </a:cubicBezTo>
                <a:cubicBezTo>
                  <a:pt x="367312" y="356146"/>
                  <a:pt x="362922" y="360536"/>
                  <a:pt x="357490" y="360536"/>
                </a:cubicBezTo>
                <a:cubicBezTo>
                  <a:pt x="352057" y="360536"/>
                  <a:pt x="347667" y="356146"/>
                  <a:pt x="347667" y="350713"/>
                </a:cubicBezTo>
                <a:cubicBezTo>
                  <a:pt x="347667" y="343533"/>
                  <a:pt x="343389" y="338956"/>
                  <a:pt x="337919" y="336947"/>
                </a:cubicBezTo>
                <a:cubicBezTo>
                  <a:pt x="335501" y="336054"/>
                  <a:pt x="332822" y="335608"/>
                  <a:pt x="330106" y="335608"/>
                </a:cubicBezTo>
                <a:cubicBezTo>
                  <a:pt x="327390" y="335608"/>
                  <a:pt x="324711" y="336054"/>
                  <a:pt x="322293" y="336947"/>
                </a:cubicBezTo>
                <a:cubicBezTo>
                  <a:pt x="316824" y="338956"/>
                  <a:pt x="312545" y="343570"/>
                  <a:pt x="312545" y="350713"/>
                </a:cubicBezTo>
                <a:cubicBezTo>
                  <a:pt x="312545" y="361950"/>
                  <a:pt x="322330" y="364107"/>
                  <a:pt x="332153" y="366229"/>
                </a:cubicBezTo>
                <a:cubicBezTo>
                  <a:pt x="349715" y="370061"/>
                  <a:pt x="367314" y="373893"/>
                  <a:pt x="367314" y="401054"/>
                </a:cubicBezTo>
                <a:cubicBezTo>
                  <a:pt x="367314" y="417834"/>
                  <a:pt x="357379" y="428550"/>
                  <a:pt x="344692" y="433238"/>
                </a:cubicBezTo>
                <a:cubicBezTo>
                  <a:pt x="343129" y="433796"/>
                  <a:pt x="341567" y="434280"/>
                  <a:pt x="339929" y="434652"/>
                </a:cubicBezTo>
                <a:lnTo>
                  <a:pt x="339929" y="441535"/>
                </a:lnTo>
                <a:cubicBezTo>
                  <a:pt x="339929" y="446967"/>
                  <a:pt x="335538" y="451357"/>
                  <a:pt x="330107" y="451357"/>
                </a:cubicBezTo>
                <a:cubicBezTo>
                  <a:pt x="324675" y="451357"/>
                  <a:pt x="320285" y="446967"/>
                  <a:pt x="320285" y="441535"/>
                </a:cubicBezTo>
                <a:lnTo>
                  <a:pt x="320285" y="434652"/>
                </a:lnTo>
                <a:cubicBezTo>
                  <a:pt x="318648" y="434280"/>
                  <a:pt x="317085" y="433796"/>
                  <a:pt x="315522" y="433238"/>
                </a:cubicBezTo>
                <a:cubicBezTo>
                  <a:pt x="302835" y="428550"/>
                  <a:pt x="292901" y="417834"/>
                  <a:pt x="292901" y="401054"/>
                </a:cubicBezTo>
                <a:cubicBezTo>
                  <a:pt x="292901" y="395622"/>
                  <a:pt x="297291" y="391232"/>
                  <a:pt x="302723" y="391232"/>
                </a:cubicBezTo>
                <a:cubicBezTo>
                  <a:pt x="308155" y="391232"/>
                  <a:pt x="312545" y="395622"/>
                  <a:pt x="312545" y="401054"/>
                </a:cubicBezTo>
                <a:cubicBezTo>
                  <a:pt x="312545" y="408198"/>
                  <a:pt x="316824" y="412812"/>
                  <a:pt x="322293" y="414820"/>
                </a:cubicBezTo>
                <a:cubicBezTo>
                  <a:pt x="324711" y="415714"/>
                  <a:pt x="327390" y="416160"/>
                  <a:pt x="330106" y="416160"/>
                </a:cubicBezTo>
                <a:cubicBezTo>
                  <a:pt x="332822" y="416160"/>
                  <a:pt x="335501" y="415713"/>
                  <a:pt x="337919" y="414820"/>
                </a:cubicBezTo>
                <a:cubicBezTo>
                  <a:pt x="343389" y="412812"/>
                  <a:pt x="347667" y="408198"/>
                  <a:pt x="347667" y="401054"/>
                </a:cubicBezTo>
                <a:cubicBezTo>
                  <a:pt x="347667" y="389669"/>
                  <a:pt x="337807" y="387510"/>
                  <a:pt x="327985" y="385390"/>
                </a:cubicBezTo>
                <a:cubicBezTo>
                  <a:pt x="310423" y="381558"/>
                  <a:pt x="292899" y="377725"/>
                  <a:pt x="292899" y="350713"/>
                </a:cubicBezTo>
                <a:cubicBezTo>
                  <a:pt x="292899" y="333933"/>
                  <a:pt x="302833" y="323218"/>
                  <a:pt x="315521" y="318529"/>
                </a:cubicBezTo>
                <a:cubicBezTo>
                  <a:pt x="317084" y="317971"/>
                  <a:pt x="318646" y="317487"/>
                  <a:pt x="320283" y="317116"/>
                </a:cubicBezTo>
                <a:close/>
                <a:moveTo>
                  <a:pt x="736516" y="631406"/>
                </a:moveTo>
                <a:lnTo>
                  <a:pt x="660130" y="499094"/>
                </a:lnTo>
                <a:lnTo>
                  <a:pt x="660130" y="499057"/>
                </a:lnTo>
                <a:cubicBezTo>
                  <a:pt x="655591" y="491206"/>
                  <a:pt x="649452" y="485066"/>
                  <a:pt x="642197" y="480862"/>
                </a:cubicBezTo>
                <a:cubicBezTo>
                  <a:pt x="634979" y="476695"/>
                  <a:pt x="626570" y="474462"/>
                  <a:pt x="617453" y="474462"/>
                </a:cubicBezTo>
                <a:cubicBezTo>
                  <a:pt x="608337" y="474462"/>
                  <a:pt x="599929" y="476695"/>
                  <a:pt x="592710" y="480862"/>
                </a:cubicBezTo>
                <a:cubicBezTo>
                  <a:pt x="585455" y="485066"/>
                  <a:pt x="579316" y="491205"/>
                  <a:pt x="574777" y="499057"/>
                </a:cubicBezTo>
                <a:lnTo>
                  <a:pt x="574777" y="499094"/>
                </a:lnTo>
                <a:lnTo>
                  <a:pt x="467773" y="684422"/>
                </a:lnTo>
                <a:cubicBezTo>
                  <a:pt x="467661" y="684645"/>
                  <a:pt x="467550" y="684869"/>
                  <a:pt x="467400" y="685054"/>
                </a:cubicBezTo>
                <a:lnTo>
                  <a:pt x="422008" y="763710"/>
                </a:lnTo>
                <a:cubicBezTo>
                  <a:pt x="417469" y="771560"/>
                  <a:pt x="415200" y="779932"/>
                  <a:pt x="415200" y="788340"/>
                </a:cubicBezTo>
                <a:cubicBezTo>
                  <a:pt x="415200" y="796712"/>
                  <a:pt x="417469" y="805158"/>
                  <a:pt x="422008" y="813008"/>
                </a:cubicBezTo>
                <a:cubicBezTo>
                  <a:pt x="426548" y="820859"/>
                  <a:pt x="432687" y="827036"/>
                  <a:pt x="439905" y="831203"/>
                </a:cubicBezTo>
                <a:lnTo>
                  <a:pt x="439942" y="831203"/>
                </a:lnTo>
                <a:cubicBezTo>
                  <a:pt x="447161" y="835370"/>
                  <a:pt x="455531" y="837603"/>
                  <a:pt x="464685" y="837603"/>
                </a:cubicBezTo>
                <a:lnTo>
                  <a:pt x="770228" y="837603"/>
                </a:lnTo>
                <a:cubicBezTo>
                  <a:pt x="779344" y="837603"/>
                  <a:pt x="787752" y="835370"/>
                  <a:pt x="794971" y="831203"/>
                </a:cubicBezTo>
                <a:lnTo>
                  <a:pt x="795009" y="831203"/>
                </a:lnTo>
                <a:cubicBezTo>
                  <a:pt x="802227" y="827036"/>
                  <a:pt x="808366" y="820860"/>
                  <a:pt x="812906" y="813008"/>
                </a:cubicBezTo>
                <a:cubicBezTo>
                  <a:pt x="817444" y="805158"/>
                  <a:pt x="819714" y="796749"/>
                  <a:pt x="819714" y="788340"/>
                </a:cubicBezTo>
                <a:cubicBezTo>
                  <a:pt x="819714" y="779932"/>
                  <a:pt x="817444" y="771560"/>
                  <a:pt x="812942" y="763710"/>
                </a:cubicBezTo>
                <a:lnTo>
                  <a:pt x="812905" y="763710"/>
                </a:lnTo>
                <a:lnTo>
                  <a:pt x="736519" y="631398"/>
                </a:lnTo>
                <a:close/>
                <a:moveTo>
                  <a:pt x="451766" y="673040"/>
                </a:moveTo>
                <a:lnTo>
                  <a:pt x="557884" y="489275"/>
                </a:lnTo>
                <a:lnTo>
                  <a:pt x="557921" y="489275"/>
                </a:lnTo>
                <a:cubicBezTo>
                  <a:pt x="564210" y="478373"/>
                  <a:pt x="572804" y="469778"/>
                  <a:pt x="582962" y="463899"/>
                </a:cubicBezTo>
                <a:cubicBezTo>
                  <a:pt x="593008" y="458094"/>
                  <a:pt x="604467" y="454969"/>
                  <a:pt x="616746" y="454858"/>
                </a:cubicBezTo>
                <a:cubicBezTo>
                  <a:pt x="624188" y="433278"/>
                  <a:pt x="629991" y="410990"/>
                  <a:pt x="634010" y="388146"/>
                </a:cubicBezTo>
                <a:cubicBezTo>
                  <a:pt x="638363" y="363440"/>
                  <a:pt x="640633" y="338139"/>
                  <a:pt x="640633" y="312467"/>
                </a:cubicBezTo>
                <a:lnTo>
                  <a:pt x="640633" y="109432"/>
                </a:lnTo>
                <a:lnTo>
                  <a:pt x="330099" y="19949"/>
                </a:lnTo>
                <a:lnTo>
                  <a:pt x="19603" y="109395"/>
                </a:lnTo>
                <a:lnTo>
                  <a:pt x="19603" y="312430"/>
                </a:lnTo>
                <a:cubicBezTo>
                  <a:pt x="19603" y="409089"/>
                  <a:pt x="51675" y="500663"/>
                  <a:pt x="106965" y="574815"/>
                </a:cubicBezTo>
                <a:cubicBezTo>
                  <a:pt x="161585" y="648075"/>
                  <a:pt x="238829" y="704336"/>
                  <a:pt x="330098" y="731787"/>
                </a:cubicBezTo>
                <a:cubicBezTo>
                  <a:pt x="351864" y="725238"/>
                  <a:pt x="372811" y="717053"/>
                  <a:pt x="392865" y="707379"/>
                </a:cubicBezTo>
                <a:cubicBezTo>
                  <a:pt x="413478" y="697444"/>
                  <a:pt x="433161" y="685911"/>
                  <a:pt x="451764" y="672999"/>
                </a:cubicBezTo>
                <a:close/>
                <a:moveTo>
                  <a:pt x="677090" y="489275"/>
                </a:moveTo>
                <a:lnTo>
                  <a:pt x="677052" y="489275"/>
                </a:lnTo>
                <a:cubicBezTo>
                  <a:pt x="670764" y="478373"/>
                  <a:pt x="662170" y="469778"/>
                  <a:pt x="652012" y="463899"/>
                </a:cubicBezTo>
                <a:cubicBezTo>
                  <a:pt x="647175" y="461108"/>
                  <a:pt x="641966" y="458914"/>
                  <a:pt x="636534" y="457388"/>
                </a:cubicBezTo>
                <a:cubicBezTo>
                  <a:pt x="643715" y="435956"/>
                  <a:pt x="649371" y="413930"/>
                  <a:pt x="653314" y="391494"/>
                </a:cubicBezTo>
                <a:cubicBezTo>
                  <a:pt x="657854" y="365672"/>
                  <a:pt x="660235" y="339218"/>
                  <a:pt x="660235" y="312429"/>
                </a:cubicBezTo>
                <a:lnTo>
                  <a:pt x="660235" y="102059"/>
                </a:lnTo>
                <a:cubicBezTo>
                  <a:pt x="660235" y="97260"/>
                  <a:pt x="656775" y="93241"/>
                  <a:pt x="652198" y="92386"/>
                </a:cubicBezTo>
                <a:lnTo>
                  <a:pt x="332815" y="373"/>
                </a:lnTo>
                <a:cubicBezTo>
                  <a:pt x="330955" y="-148"/>
                  <a:pt x="329057" y="-111"/>
                  <a:pt x="327309" y="410"/>
                </a:cubicBezTo>
                <a:lnTo>
                  <a:pt x="7107" y="92683"/>
                </a:lnTo>
                <a:cubicBezTo>
                  <a:pt x="2828" y="93911"/>
                  <a:pt x="37" y="97818"/>
                  <a:pt x="37" y="102059"/>
                </a:cubicBezTo>
                <a:lnTo>
                  <a:pt x="0" y="102059"/>
                </a:lnTo>
                <a:lnTo>
                  <a:pt x="0" y="312467"/>
                </a:lnTo>
                <a:cubicBezTo>
                  <a:pt x="0" y="413451"/>
                  <a:pt x="33523" y="509110"/>
                  <a:pt x="91306" y="586568"/>
                </a:cubicBezTo>
                <a:cubicBezTo>
                  <a:pt x="148940" y="663847"/>
                  <a:pt x="230685" y="723042"/>
                  <a:pt x="327383" y="751436"/>
                </a:cubicBezTo>
                <a:cubicBezTo>
                  <a:pt x="329280" y="751994"/>
                  <a:pt x="331215" y="751957"/>
                  <a:pt x="332964" y="751399"/>
                </a:cubicBezTo>
                <a:cubicBezTo>
                  <a:pt x="356739" y="744404"/>
                  <a:pt x="379584" y="735585"/>
                  <a:pt x="401425" y="725056"/>
                </a:cubicBezTo>
                <a:cubicBezTo>
                  <a:pt x="411396" y="720257"/>
                  <a:pt x="421181" y="715085"/>
                  <a:pt x="430706" y="709578"/>
                </a:cubicBezTo>
                <a:lnTo>
                  <a:pt x="405145" y="753891"/>
                </a:lnTo>
                <a:cubicBezTo>
                  <a:pt x="398820" y="764830"/>
                  <a:pt x="395694" y="776588"/>
                  <a:pt x="395694" y="788308"/>
                </a:cubicBezTo>
                <a:cubicBezTo>
                  <a:pt x="395694" y="800066"/>
                  <a:pt x="398858" y="811785"/>
                  <a:pt x="405145" y="822688"/>
                </a:cubicBezTo>
                <a:cubicBezTo>
                  <a:pt x="411433" y="833589"/>
                  <a:pt x="420028" y="842184"/>
                  <a:pt x="430222" y="848063"/>
                </a:cubicBezTo>
                <a:lnTo>
                  <a:pt x="430222" y="848100"/>
                </a:lnTo>
                <a:cubicBezTo>
                  <a:pt x="440454" y="854016"/>
                  <a:pt x="452175" y="857142"/>
                  <a:pt x="464751" y="857142"/>
                </a:cubicBezTo>
                <a:lnTo>
                  <a:pt x="770294" y="857142"/>
                </a:lnTo>
                <a:cubicBezTo>
                  <a:pt x="782869" y="857142"/>
                  <a:pt x="794590" y="853979"/>
                  <a:pt x="804822" y="848100"/>
                </a:cubicBezTo>
                <a:lnTo>
                  <a:pt x="804822" y="848063"/>
                </a:lnTo>
                <a:cubicBezTo>
                  <a:pt x="815016" y="842184"/>
                  <a:pt x="823612" y="833590"/>
                  <a:pt x="829899" y="822688"/>
                </a:cubicBezTo>
                <a:cubicBezTo>
                  <a:pt x="836225" y="811749"/>
                  <a:pt x="839350" y="800029"/>
                  <a:pt x="839350" y="788308"/>
                </a:cubicBezTo>
                <a:cubicBezTo>
                  <a:pt x="839350" y="776588"/>
                  <a:pt x="836188" y="764868"/>
                  <a:pt x="829899" y="753929"/>
                </a:cubicBezTo>
                <a:lnTo>
                  <a:pt x="829899" y="753891"/>
                </a:lnTo>
                <a:lnTo>
                  <a:pt x="677128" y="489277"/>
                </a:lnTo>
                <a:close/>
                <a:moveTo>
                  <a:pt x="607661" y="600527"/>
                </a:moveTo>
                <a:cubicBezTo>
                  <a:pt x="607661" y="595094"/>
                  <a:pt x="612051" y="590704"/>
                  <a:pt x="617483" y="590704"/>
                </a:cubicBezTo>
                <a:cubicBezTo>
                  <a:pt x="622915" y="590704"/>
                  <a:pt x="627305" y="595094"/>
                  <a:pt x="627305" y="600527"/>
                </a:cubicBezTo>
                <a:lnTo>
                  <a:pt x="627305" y="709874"/>
                </a:lnTo>
                <a:cubicBezTo>
                  <a:pt x="627305" y="715306"/>
                  <a:pt x="622915" y="719696"/>
                  <a:pt x="617483" y="719696"/>
                </a:cubicBezTo>
                <a:cubicBezTo>
                  <a:pt x="612051" y="719696"/>
                  <a:pt x="607661" y="715306"/>
                  <a:pt x="607661" y="709874"/>
                </a:cubicBezTo>
                <a:close/>
                <a:moveTo>
                  <a:pt x="607661" y="757127"/>
                </a:moveTo>
                <a:cubicBezTo>
                  <a:pt x="607661" y="751695"/>
                  <a:pt x="612051" y="747305"/>
                  <a:pt x="617483" y="747305"/>
                </a:cubicBezTo>
                <a:cubicBezTo>
                  <a:pt x="622915" y="747305"/>
                  <a:pt x="627305" y="751695"/>
                  <a:pt x="627305" y="757127"/>
                </a:cubicBezTo>
                <a:lnTo>
                  <a:pt x="627305" y="757164"/>
                </a:lnTo>
                <a:cubicBezTo>
                  <a:pt x="627305" y="762596"/>
                  <a:pt x="622915" y="766986"/>
                  <a:pt x="617483" y="766986"/>
                </a:cubicBezTo>
                <a:cubicBezTo>
                  <a:pt x="612051" y="766986"/>
                  <a:pt x="607661" y="762596"/>
                  <a:pt x="607661" y="757164"/>
                </a:cubicBezTo>
                <a:close/>
                <a:moveTo>
                  <a:pt x="408531" y="297508"/>
                </a:moveTo>
                <a:cubicBezTo>
                  <a:pt x="388476" y="277453"/>
                  <a:pt x="360758" y="265026"/>
                  <a:pt x="330136" y="265026"/>
                </a:cubicBezTo>
                <a:cubicBezTo>
                  <a:pt x="299515" y="265026"/>
                  <a:pt x="271795" y="277453"/>
                  <a:pt x="251740" y="297508"/>
                </a:cubicBezTo>
                <a:cubicBezTo>
                  <a:pt x="231685" y="317563"/>
                  <a:pt x="219258" y="345281"/>
                  <a:pt x="219258" y="375903"/>
                </a:cubicBezTo>
                <a:cubicBezTo>
                  <a:pt x="219258" y="406525"/>
                  <a:pt x="231685" y="434244"/>
                  <a:pt x="251740" y="454299"/>
                </a:cubicBezTo>
                <a:cubicBezTo>
                  <a:pt x="271795" y="474354"/>
                  <a:pt x="299514" y="486781"/>
                  <a:pt x="330136" y="486781"/>
                </a:cubicBezTo>
                <a:cubicBezTo>
                  <a:pt x="360757" y="486781"/>
                  <a:pt x="388476" y="474354"/>
                  <a:pt x="408531" y="454299"/>
                </a:cubicBezTo>
                <a:cubicBezTo>
                  <a:pt x="428586" y="434244"/>
                  <a:pt x="441013" y="406525"/>
                  <a:pt x="441013" y="375903"/>
                </a:cubicBezTo>
                <a:cubicBezTo>
                  <a:pt x="441013" y="345281"/>
                  <a:pt x="428586" y="317563"/>
                  <a:pt x="408531" y="297508"/>
                </a:cubicBezTo>
                <a:close/>
                <a:moveTo>
                  <a:pt x="330136" y="245380"/>
                </a:moveTo>
                <a:cubicBezTo>
                  <a:pt x="294082" y="245380"/>
                  <a:pt x="261452" y="260003"/>
                  <a:pt x="237862" y="283592"/>
                </a:cubicBezTo>
                <a:cubicBezTo>
                  <a:pt x="214235" y="307218"/>
                  <a:pt x="199651" y="339848"/>
                  <a:pt x="199651" y="375865"/>
                </a:cubicBezTo>
                <a:cubicBezTo>
                  <a:pt x="199651" y="411919"/>
                  <a:pt x="214274" y="444549"/>
                  <a:pt x="237862" y="468139"/>
                </a:cubicBezTo>
                <a:cubicBezTo>
                  <a:pt x="261489" y="491765"/>
                  <a:pt x="294119" y="506350"/>
                  <a:pt x="330136" y="506350"/>
                </a:cubicBezTo>
                <a:cubicBezTo>
                  <a:pt x="366190" y="506350"/>
                  <a:pt x="398819" y="491727"/>
                  <a:pt x="422409" y="468139"/>
                </a:cubicBezTo>
                <a:cubicBezTo>
                  <a:pt x="446036" y="444512"/>
                  <a:pt x="460621" y="411882"/>
                  <a:pt x="460621" y="375865"/>
                </a:cubicBezTo>
                <a:cubicBezTo>
                  <a:pt x="460621" y="339811"/>
                  <a:pt x="445998" y="307181"/>
                  <a:pt x="422409" y="283592"/>
                </a:cubicBezTo>
                <a:cubicBezTo>
                  <a:pt x="398782" y="259965"/>
                  <a:pt x="366153" y="245380"/>
                  <a:pt x="330136" y="245380"/>
                </a:cubicBezTo>
                <a:close/>
                <a:moveTo>
                  <a:pt x="346321" y="157497"/>
                </a:moveTo>
                <a:lnTo>
                  <a:pt x="305988" y="158241"/>
                </a:lnTo>
                <a:cubicBezTo>
                  <a:pt x="302937" y="158315"/>
                  <a:pt x="300183" y="159618"/>
                  <a:pt x="298212" y="161664"/>
                </a:cubicBezTo>
                <a:cubicBezTo>
                  <a:pt x="296202" y="163747"/>
                  <a:pt x="294975" y="166575"/>
                  <a:pt x="295049" y="169626"/>
                </a:cubicBezTo>
                <a:lnTo>
                  <a:pt x="295421" y="191132"/>
                </a:lnTo>
                <a:cubicBezTo>
                  <a:pt x="295495" y="195634"/>
                  <a:pt x="292444" y="199727"/>
                  <a:pt x="287906" y="200805"/>
                </a:cubicBezTo>
                <a:cubicBezTo>
                  <a:pt x="277674" y="203261"/>
                  <a:pt x="267776" y="206610"/>
                  <a:pt x="258214" y="210777"/>
                </a:cubicBezTo>
                <a:cubicBezTo>
                  <a:pt x="248578" y="214981"/>
                  <a:pt x="239350" y="220005"/>
                  <a:pt x="230644" y="225771"/>
                </a:cubicBezTo>
                <a:cubicBezTo>
                  <a:pt x="226886" y="228265"/>
                  <a:pt x="221826" y="227892"/>
                  <a:pt x="218441" y="224655"/>
                </a:cubicBezTo>
                <a:lnTo>
                  <a:pt x="203446" y="210219"/>
                </a:lnTo>
                <a:cubicBezTo>
                  <a:pt x="203223" y="210033"/>
                  <a:pt x="203000" y="209847"/>
                  <a:pt x="202814" y="209623"/>
                </a:cubicBezTo>
                <a:lnTo>
                  <a:pt x="202851" y="209586"/>
                </a:lnTo>
                <a:cubicBezTo>
                  <a:pt x="200656" y="207540"/>
                  <a:pt x="197828" y="206535"/>
                  <a:pt x="195000" y="206610"/>
                </a:cubicBezTo>
                <a:cubicBezTo>
                  <a:pt x="192321" y="206647"/>
                  <a:pt x="189642" y="207689"/>
                  <a:pt x="187559" y="209661"/>
                </a:cubicBezTo>
                <a:cubicBezTo>
                  <a:pt x="187410" y="209847"/>
                  <a:pt x="187261" y="209996"/>
                  <a:pt x="187075" y="210182"/>
                </a:cubicBezTo>
                <a:lnTo>
                  <a:pt x="187038" y="210144"/>
                </a:lnTo>
                <a:lnTo>
                  <a:pt x="159170" y="239055"/>
                </a:lnTo>
                <a:cubicBezTo>
                  <a:pt x="157048" y="241287"/>
                  <a:pt x="156007" y="244152"/>
                  <a:pt x="156044" y="247055"/>
                </a:cubicBezTo>
                <a:cubicBezTo>
                  <a:pt x="156082" y="249919"/>
                  <a:pt x="157235" y="252747"/>
                  <a:pt x="159431" y="254868"/>
                </a:cubicBezTo>
                <a:lnTo>
                  <a:pt x="174723" y="269639"/>
                </a:lnTo>
                <a:cubicBezTo>
                  <a:pt x="178108" y="272727"/>
                  <a:pt x="178964" y="277900"/>
                  <a:pt x="176471" y="281955"/>
                </a:cubicBezTo>
                <a:cubicBezTo>
                  <a:pt x="171039" y="290848"/>
                  <a:pt x="166350" y="300224"/>
                  <a:pt x="162480" y="310046"/>
                </a:cubicBezTo>
                <a:cubicBezTo>
                  <a:pt x="158686" y="319683"/>
                  <a:pt x="155709" y="329655"/>
                  <a:pt x="153626" y="339849"/>
                </a:cubicBezTo>
                <a:cubicBezTo>
                  <a:pt x="152844" y="344388"/>
                  <a:pt x="148938" y="347885"/>
                  <a:pt x="144138" y="347960"/>
                </a:cubicBezTo>
                <a:lnTo>
                  <a:pt x="122633" y="348332"/>
                </a:lnTo>
                <a:cubicBezTo>
                  <a:pt x="119582" y="348406"/>
                  <a:pt x="116828" y="349709"/>
                  <a:pt x="114856" y="351755"/>
                </a:cubicBezTo>
                <a:cubicBezTo>
                  <a:pt x="112847" y="353839"/>
                  <a:pt x="111619" y="356667"/>
                  <a:pt x="111693" y="359717"/>
                </a:cubicBezTo>
                <a:lnTo>
                  <a:pt x="112400" y="399194"/>
                </a:lnTo>
                <a:cubicBezTo>
                  <a:pt x="112437" y="399529"/>
                  <a:pt x="112475" y="399863"/>
                  <a:pt x="112475" y="400236"/>
                </a:cubicBezTo>
                <a:lnTo>
                  <a:pt x="112437" y="400236"/>
                </a:lnTo>
                <a:cubicBezTo>
                  <a:pt x="112549" y="403212"/>
                  <a:pt x="113851" y="405929"/>
                  <a:pt x="115860" y="407863"/>
                </a:cubicBezTo>
                <a:cubicBezTo>
                  <a:pt x="117795" y="409724"/>
                  <a:pt x="120363" y="410914"/>
                  <a:pt x="123191" y="411026"/>
                </a:cubicBezTo>
                <a:cubicBezTo>
                  <a:pt x="123451" y="410989"/>
                  <a:pt x="123711" y="410989"/>
                  <a:pt x="123972" y="410989"/>
                </a:cubicBezTo>
                <a:lnTo>
                  <a:pt x="123972" y="411026"/>
                </a:lnTo>
                <a:cubicBezTo>
                  <a:pt x="123972" y="411026"/>
                  <a:pt x="145329" y="410654"/>
                  <a:pt x="145329" y="410654"/>
                </a:cubicBezTo>
                <a:cubicBezTo>
                  <a:pt x="149831" y="410579"/>
                  <a:pt x="153923" y="413631"/>
                  <a:pt x="155002" y="418169"/>
                </a:cubicBezTo>
                <a:cubicBezTo>
                  <a:pt x="157458" y="428401"/>
                  <a:pt x="160807" y="438299"/>
                  <a:pt x="164974" y="447861"/>
                </a:cubicBezTo>
                <a:cubicBezTo>
                  <a:pt x="169178" y="457497"/>
                  <a:pt x="174201" y="466688"/>
                  <a:pt x="179968" y="475394"/>
                </a:cubicBezTo>
                <a:cubicBezTo>
                  <a:pt x="182461" y="479151"/>
                  <a:pt x="182090" y="484212"/>
                  <a:pt x="178852" y="487597"/>
                </a:cubicBezTo>
                <a:lnTo>
                  <a:pt x="164416" y="502591"/>
                </a:lnTo>
                <a:cubicBezTo>
                  <a:pt x="164230" y="502814"/>
                  <a:pt x="164043" y="503038"/>
                  <a:pt x="163821" y="503224"/>
                </a:cubicBezTo>
                <a:lnTo>
                  <a:pt x="163783" y="503224"/>
                </a:lnTo>
                <a:cubicBezTo>
                  <a:pt x="161737" y="505419"/>
                  <a:pt x="160733" y="508247"/>
                  <a:pt x="160807" y="511074"/>
                </a:cubicBezTo>
                <a:cubicBezTo>
                  <a:pt x="160844" y="513754"/>
                  <a:pt x="161886" y="516432"/>
                  <a:pt x="163858" y="518516"/>
                </a:cubicBezTo>
                <a:cubicBezTo>
                  <a:pt x="164043" y="518665"/>
                  <a:pt x="164193" y="518813"/>
                  <a:pt x="164379" y="519000"/>
                </a:cubicBezTo>
                <a:lnTo>
                  <a:pt x="164342" y="519037"/>
                </a:lnTo>
                <a:lnTo>
                  <a:pt x="193252" y="546906"/>
                </a:lnTo>
                <a:cubicBezTo>
                  <a:pt x="195485" y="549026"/>
                  <a:pt x="198349" y="550068"/>
                  <a:pt x="201251" y="550031"/>
                </a:cubicBezTo>
                <a:cubicBezTo>
                  <a:pt x="204116" y="549994"/>
                  <a:pt x="206944" y="548840"/>
                  <a:pt x="209064" y="546645"/>
                </a:cubicBezTo>
                <a:lnTo>
                  <a:pt x="223836" y="531352"/>
                </a:lnTo>
                <a:cubicBezTo>
                  <a:pt x="226925" y="527967"/>
                  <a:pt x="232096" y="527111"/>
                  <a:pt x="236152" y="529603"/>
                </a:cubicBezTo>
                <a:cubicBezTo>
                  <a:pt x="245044" y="535036"/>
                  <a:pt x="254420" y="539724"/>
                  <a:pt x="264243" y="543594"/>
                </a:cubicBezTo>
                <a:cubicBezTo>
                  <a:pt x="273879" y="547389"/>
                  <a:pt x="283851" y="550366"/>
                  <a:pt x="294045" y="552449"/>
                </a:cubicBezTo>
                <a:cubicBezTo>
                  <a:pt x="298585" y="553231"/>
                  <a:pt x="302083" y="557137"/>
                  <a:pt x="302157" y="561937"/>
                </a:cubicBezTo>
                <a:lnTo>
                  <a:pt x="302529" y="583443"/>
                </a:lnTo>
                <a:cubicBezTo>
                  <a:pt x="302604" y="586493"/>
                  <a:pt x="303906" y="589247"/>
                  <a:pt x="305952" y="591219"/>
                </a:cubicBezTo>
                <a:cubicBezTo>
                  <a:pt x="308036" y="593228"/>
                  <a:pt x="310864" y="594456"/>
                  <a:pt x="313915" y="594382"/>
                </a:cubicBezTo>
                <a:lnTo>
                  <a:pt x="354247" y="593637"/>
                </a:lnTo>
                <a:cubicBezTo>
                  <a:pt x="357298" y="593563"/>
                  <a:pt x="360052" y="592261"/>
                  <a:pt x="362023" y="590215"/>
                </a:cubicBezTo>
                <a:cubicBezTo>
                  <a:pt x="364032" y="588131"/>
                  <a:pt x="365260" y="585303"/>
                  <a:pt x="365186" y="582252"/>
                </a:cubicBezTo>
                <a:lnTo>
                  <a:pt x="364814" y="560746"/>
                </a:lnTo>
                <a:cubicBezTo>
                  <a:pt x="364739" y="556245"/>
                  <a:pt x="367791" y="552152"/>
                  <a:pt x="372330" y="551073"/>
                </a:cubicBezTo>
                <a:cubicBezTo>
                  <a:pt x="382561" y="548617"/>
                  <a:pt x="392459" y="545268"/>
                  <a:pt x="402021" y="541101"/>
                </a:cubicBezTo>
                <a:cubicBezTo>
                  <a:pt x="411657" y="536897"/>
                  <a:pt x="420885" y="531874"/>
                  <a:pt x="429591" y="526107"/>
                </a:cubicBezTo>
                <a:cubicBezTo>
                  <a:pt x="433349" y="523614"/>
                  <a:pt x="438409" y="523987"/>
                  <a:pt x="441794" y="527223"/>
                </a:cubicBezTo>
                <a:lnTo>
                  <a:pt x="457273" y="542143"/>
                </a:lnTo>
                <a:cubicBezTo>
                  <a:pt x="459505" y="544264"/>
                  <a:pt x="462370" y="545305"/>
                  <a:pt x="465273" y="545268"/>
                </a:cubicBezTo>
                <a:cubicBezTo>
                  <a:pt x="468137" y="545231"/>
                  <a:pt x="470965" y="544078"/>
                  <a:pt x="473086" y="541883"/>
                </a:cubicBezTo>
                <a:lnTo>
                  <a:pt x="500619" y="513345"/>
                </a:lnTo>
                <a:cubicBezTo>
                  <a:pt x="500805" y="513121"/>
                  <a:pt x="500990" y="512898"/>
                  <a:pt x="501214" y="512712"/>
                </a:cubicBezTo>
                <a:lnTo>
                  <a:pt x="501251" y="512750"/>
                </a:lnTo>
                <a:cubicBezTo>
                  <a:pt x="503297" y="510554"/>
                  <a:pt x="504302" y="507726"/>
                  <a:pt x="504228" y="504898"/>
                </a:cubicBezTo>
                <a:cubicBezTo>
                  <a:pt x="504191" y="502220"/>
                  <a:pt x="503149" y="499541"/>
                  <a:pt x="501177" y="497457"/>
                </a:cubicBezTo>
                <a:cubicBezTo>
                  <a:pt x="500990" y="497309"/>
                  <a:pt x="500842" y="497159"/>
                  <a:pt x="500656" y="496974"/>
                </a:cubicBezTo>
                <a:lnTo>
                  <a:pt x="500693" y="496936"/>
                </a:lnTo>
                <a:lnTo>
                  <a:pt x="485512" y="482314"/>
                </a:lnTo>
                <a:cubicBezTo>
                  <a:pt x="482126" y="479226"/>
                  <a:pt x="481271" y="474054"/>
                  <a:pt x="483763" y="469998"/>
                </a:cubicBezTo>
                <a:cubicBezTo>
                  <a:pt x="489196" y="461105"/>
                  <a:pt x="493884" y="451729"/>
                  <a:pt x="497754" y="441944"/>
                </a:cubicBezTo>
                <a:cubicBezTo>
                  <a:pt x="501549" y="432270"/>
                  <a:pt x="504525" y="422336"/>
                  <a:pt x="506609" y="412141"/>
                </a:cubicBezTo>
                <a:cubicBezTo>
                  <a:pt x="507390" y="407601"/>
                  <a:pt x="511297" y="404104"/>
                  <a:pt x="516097" y="404030"/>
                </a:cubicBezTo>
                <a:lnTo>
                  <a:pt x="537603" y="403658"/>
                </a:lnTo>
                <a:cubicBezTo>
                  <a:pt x="540653" y="403584"/>
                  <a:pt x="543407" y="402281"/>
                  <a:pt x="545379" y="400235"/>
                </a:cubicBezTo>
                <a:cubicBezTo>
                  <a:pt x="547388" y="398152"/>
                  <a:pt x="548615" y="395324"/>
                  <a:pt x="548541" y="392273"/>
                </a:cubicBezTo>
                <a:lnTo>
                  <a:pt x="547797" y="351940"/>
                </a:lnTo>
                <a:cubicBezTo>
                  <a:pt x="547723" y="348889"/>
                  <a:pt x="546421" y="346136"/>
                  <a:pt x="544374" y="344163"/>
                </a:cubicBezTo>
                <a:cubicBezTo>
                  <a:pt x="542291" y="342154"/>
                  <a:pt x="539463" y="340926"/>
                  <a:pt x="536412" y="341001"/>
                </a:cubicBezTo>
                <a:lnTo>
                  <a:pt x="514906" y="341373"/>
                </a:lnTo>
                <a:cubicBezTo>
                  <a:pt x="510404" y="341447"/>
                  <a:pt x="506311" y="338397"/>
                  <a:pt x="505233" y="333857"/>
                </a:cubicBezTo>
                <a:cubicBezTo>
                  <a:pt x="502777" y="323625"/>
                  <a:pt x="499428" y="313728"/>
                  <a:pt x="495261" y="304166"/>
                </a:cubicBezTo>
                <a:cubicBezTo>
                  <a:pt x="491057" y="294529"/>
                  <a:pt x="486033" y="285301"/>
                  <a:pt x="480267" y="276596"/>
                </a:cubicBezTo>
                <a:cubicBezTo>
                  <a:pt x="477773" y="272838"/>
                  <a:pt x="478146" y="267777"/>
                  <a:pt x="481383" y="264392"/>
                </a:cubicBezTo>
                <a:lnTo>
                  <a:pt x="496303" y="248914"/>
                </a:lnTo>
                <a:cubicBezTo>
                  <a:pt x="498423" y="246681"/>
                  <a:pt x="499465" y="243817"/>
                  <a:pt x="499428" y="240915"/>
                </a:cubicBezTo>
                <a:cubicBezTo>
                  <a:pt x="499391" y="238050"/>
                  <a:pt x="498238" y="235222"/>
                  <a:pt x="496042" y="233102"/>
                </a:cubicBezTo>
                <a:lnTo>
                  <a:pt x="467504" y="205569"/>
                </a:lnTo>
                <a:cubicBezTo>
                  <a:pt x="467281" y="205382"/>
                  <a:pt x="467058" y="205196"/>
                  <a:pt x="466872" y="204973"/>
                </a:cubicBezTo>
                <a:lnTo>
                  <a:pt x="466909" y="204936"/>
                </a:lnTo>
                <a:cubicBezTo>
                  <a:pt x="464713" y="202889"/>
                  <a:pt x="461886" y="201885"/>
                  <a:pt x="459058" y="201960"/>
                </a:cubicBezTo>
                <a:cubicBezTo>
                  <a:pt x="456379" y="201997"/>
                  <a:pt x="453701" y="203038"/>
                  <a:pt x="451617" y="205010"/>
                </a:cubicBezTo>
                <a:cubicBezTo>
                  <a:pt x="451468" y="205196"/>
                  <a:pt x="451319" y="205345"/>
                  <a:pt x="451134" y="205531"/>
                </a:cubicBezTo>
                <a:lnTo>
                  <a:pt x="451096" y="205494"/>
                </a:lnTo>
                <a:lnTo>
                  <a:pt x="436473" y="220675"/>
                </a:lnTo>
                <a:cubicBezTo>
                  <a:pt x="433385" y="224060"/>
                  <a:pt x="428214" y="224917"/>
                  <a:pt x="424157" y="222423"/>
                </a:cubicBezTo>
                <a:cubicBezTo>
                  <a:pt x="415265" y="216991"/>
                  <a:pt x="405888" y="212303"/>
                  <a:pt x="396103" y="208433"/>
                </a:cubicBezTo>
                <a:cubicBezTo>
                  <a:pt x="386467" y="204638"/>
                  <a:pt x="376495" y="201661"/>
                  <a:pt x="366300" y="199578"/>
                </a:cubicBezTo>
                <a:cubicBezTo>
                  <a:pt x="361762" y="198796"/>
                  <a:pt x="358264" y="194890"/>
                  <a:pt x="358190" y="190090"/>
                </a:cubicBezTo>
                <a:lnTo>
                  <a:pt x="357817" y="168585"/>
                </a:lnTo>
                <a:cubicBezTo>
                  <a:pt x="357743" y="165534"/>
                  <a:pt x="356441" y="162780"/>
                  <a:pt x="354395" y="160809"/>
                </a:cubicBezTo>
                <a:cubicBezTo>
                  <a:pt x="352311" y="158799"/>
                  <a:pt x="349483" y="157571"/>
                  <a:pt x="346432" y="157645"/>
                </a:cubicBezTo>
                <a:close/>
                <a:moveTo>
                  <a:pt x="305654" y="138670"/>
                </a:moveTo>
                <a:cubicBezTo>
                  <a:pt x="297171" y="138818"/>
                  <a:pt x="289543" y="142427"/>
                  <a:pt x="284074" y="148083"/>
                </a:cubicBezTo>
                <a:cubicBezTo>
                  <a:pt x="278604" y="153738"/>
                  <a:pt x="275293" y="161477"/>
                  <a:pt x="275479" y="169924"/>
                </a:cubicBezTo>
                <a:lnTo>
                  <a:pt x="275739" y="183765"/>
                </a:lnTo>
                <a:cubicBezTo>
                  <a:pt x="266995" y="186220"/>
                  <a:pt x="258550" y="189271"/>
                  <a:pt x="250401" y="192806"/>
                </a:cubicBezTo>
                <a:cubicBezTo>
                  <a:pt x="242104" y="196415"/>
                  <a:pt x="234142" y="200582"/>
                  <a:pt x="226514" y="205196"/>
                </a:cubicBezTo>
                <a:lnTo>
                  <a:pt x="217101" y="196118"/>
                </a:lnTo>
                <a:cubicBezTo>
                  <a:pt x="216989" y="195969"/>
                  <a:pt x="216878" y="195857"/>
                  <a:pt x="216729" y="195745"/>
                </a:cubicBezTo>
                <a:lnTo>
                  <a:pt x="216692" y="195783"/>
                </a:lnTo>
                <a:lnTo>
                  <a:pt x="216542" y="195634"/>
                </a:lnTo>
                <a:cubicBezTo>
                  <a:pt x="210441" y="189755"/>
                  <a:pt x="202552" y="186927"/>
                  <a:pt x="194664" y="187077"/>
                </a:cubicBezTo>
                <a:cubicBezTo>
                  <a:pt x="187038" y="187225"/>
                  <a:pt x="179446" y="190128"/>
                  <a:pt x="173680" y="195857"/>
                </a:cubicBezTo>
                <a:cubicBezTo>
                  <a:pt x="173494" y="196006"/>
                  <a:pt x="173346" y="196155"/>
                  <a:pt x="173196" y="196341"/>
                </a:cubicBezTo>
                <a:lnTo>
                  <a:pt x="173234" y="196378"/>
                </a:lnTo>
                <a:lnTo>
                  <a:pt x="145106" y="225548"/>
                </a:lnTo>
                <a:cubicBezTo>
                  <a:pt x="139227" y="231650"/>
                  <a:pt x="136399" y="239576"/>
                  <a:pt x="136548" y="247426"/>
                </a:cubicBezTo>
                <a:cubicBezTo>
                  <a:pt x="136696" y="255314"/>
                  <a:pt x="139822" y="263164"/>
                  <a:pt x="145924" y="269043"/>
                </a:cubicBezTo>
                <a:lnTo>
                  <a:pt x="155859" y="278605"/>
                </a:lnTo>
                <a:cubicBezTo>
                  <a:pt x="151469" y="286419"/>
                  <a:pt x="147636" y="294567"/>
                  <a:pt x="144325" y="302939"/>
                </a:cubicBezTo>
                <a:cubicBezTo>
                  <a:pt x="141088" y="311162"/>
                  <a:pt x="138372" y="319719"/>
                  <a:pt x="136213" y="328574"/>
                </a:cubicBezTo>
                <a:lnTo>
                  <a:pt x="122447" y="328835"/>
                </a:lnTo>
                <a:cubicBezTo>
                  <a:pt x="113964" y="328984"/>
                  <a:pt x="106336" y="332593"/>
                  <a:pt x="100867" y="338249"/>
                </a:cubicBezTo>
                <a:cubicBezTo>
                  <a:pt x="95398" y="343904"/>
                  <a:pt x="92087" y="351643"/>
                  <a:pt x="92273" y="360089"/>
                </a:cubicBezTo>
                <a:lnTo>
                  <a:pt x="92979" y="399603"/>
                </a:lnTo>
                <a:cubicBezTo>
                  <a:pt x="92942" y="399826"/>
                  <a:pt x="92942" y="400049"/>
                  <a:pt x="92942" y="400273"/>
                </a:cubicBezTo>
                <a:lnTo>
                  <a:pt x="92979" y="400273"/>
                </a:lnTo>
                <a:lnTo>
                  <a:pt x="92979" y="400422"/>
                </a:lnTo>
                <a:cubicBezTo>
                  <a:pt x="93128" y="408905"/>
                  <a:pt x="96737" y="416532"/>
                  <a:pt x="102393" y="422001"/>
                </a:cubicBezTo>
                <a:cubicBezTo>
                  <a:pt x="107825" y="427248"/>
                  <a:pt x="115193" y="430484"/>
                  <a:pt x="123229" y="430596"/>
                </a:cubicBezTo>
                <a:cubicBezTo>
                  <a:pt x="123489" y="430633"/>
                  <a:pt x="123787" y="430633"/>
                  <a:pt x="124084" y="430633"/>
                </a:cubicBezTo>
                <a:lnTo>
                  <a:pt x="124084" y="430596"/>
                </a:lnTo>
                <a:lnTo>
                  <a:pt x="138075" y="430336"/>
                </a:lnTo>
                <a:cubicBezTo>
                  <a:pt x="140530" y="439080"/>
                  <a:pt x="143582" y="447526"/>
                  <a:pt x="147117" y="455674"/>
                </a:cubicBezTo>
                <a:cubicBezTo>
                  <a:pt x="150726" y="463971"/>
                  <a:pt x="154893" y="471933"/>
                  <a:pt x="159507" y="479561"/>
                </a:cubicBezTo>
                <a:lnTo>
                  <a:pt x="150427" y="488975"/>
                </a:lnTo>
                <a:cubicBezTo>
                  <a:pt x="150279" y="489086"/>
                  <a:pt x="150167" y="489197"/>
                  <a:pt x="150056" y="489346"/>
                </a:cubicBezTo>
                <a:lnTo>
                  <a:pt x="150093" y="489383"/>
                </a:lnTo>
                <a:lnTo>
                  <a:pt x="149945" y="489533"/>
                </a:lnTo>
                <a:cubicBezTo>
                  <a:pt x="144066" y="495634"/>
                  <a:pt x="141238" y="503523"/>
                  <a:pt x="141386" y="511411"/>
                </a:cubicBezTo>
                <a:cubicBezTo>
                  <a:pt x="141535" y="519037"/>
                  <a:pt x="144437" y="526629"/>
                  <a:pt x="150167" y="532395"/>
                </a:cubicBezTo>
                <a:cubicBezTo>
                  <a:pt x="150316" y="532581"/>
                  <a:pt x="150465" y="532730"/>
                  <a:pt x="150651" y="532878"/>
                </a:cubicBezTo>
                <a:lnTo>
                  <a:pt x="150688" y="532841"/>
                </a:lnTo>
                <a:lnTo>
                  <a:pt x="179859" y="560969"/>
                </a:lnTo>
                <a:cubicBezTo>
                  <a:pt x="185960" y="566848"/>
                  <a:pt x="193886" y="569676"/>
                  <a:pt x="201737" y="569527"/>
                </a:cubicBezTo>
                <a:cubicBezTo>
                  <a:pt x="209624" y="569378"/>
                  <a:pt x="217475" y="566253"/>
                  <a:pt x="223354" y="560151"/>
                </a:cubicBezTo>
                <a:lnTo>
                  <a:pt x="232916" y="550216"/>
                </a:lnTo>
                <a:cubicBezTo>
                  <a:pt x="240729" y="554607"/>
                  <a:pt x="248878" y="558439"/>
                  <a:pt x="257249" y="561750"/>
                </a:cubicBezTo>
                <a:cubicBezTo>
                  <a:pt x="265472" y="564987"/>
                  <a:pt x="274030" y="567703"/>
                  <a:pt x="282885" y="569861"/>
                </a:cubicBezTo>
                <a:lnTo>
                  <a:pt x="283145" y="583628"/>
                </a:lnTo>
                <a:cubicBezTo>
                  <a:pt x="283295" y="592111"/>
                  <a:pt x="286904" y="599739"/>
                  <a:pt x="292559" y="605208"/>
                </a:cubicBezTo>
                <a:cubicBezTo>
                  <a:pt x="298215" y="610677"/>
                  <a:pt x="305953" y="613988"/>
                  <a:pt x="314399" y="613803"/>
                </a:cubicBezTo>
                <a:lnTo>
                  <a:pt x="354732" y="613059"/>
                </a:lnTo>
                <a:cubicBezTo>
                  <a:pt x="363215" y="612909"/>
                  <a:pt x="370843" y="609300"/>
                  <a:pt x="376312" y="603645"/>
                </a:cubicBezTo>
                <a:cubicBezTo>
                  <a:pt x="381781" y="597989"/>
                  <a:pt x="385093" y="590251"/>
                  <a:pt x="384907" y="581804"/>
                </a:cubicBezTo>
                <a:lnTo>
                  <a:pt x="384646" y="567963"/>
                </a:lnTo>
                <a:cubicBezTo>
                  <a:pt x="393390" y="565508"/>
                  <a:pt x="401836" y="562457"/>
                  <a:pt x="409985" y="558922"/>
                </a:cubicBezTo>
                <a:cubicBezTo>
                  <a:pt x="418282" y="555313"/>
                  <a:pt x="426244" y="551146"/>
                  <a:pt x="433871" y="546532"/>
                </a:cubicBezTo>
                <a:lnTo>
                  <a:pt x="443806" y="556132"/>
                </a:lnTo>
                <a:cubicBezTo>
                  <a:pt x="449908" y="562010"/>
                  <a:pt x="457834" y="564837"/>
                  <a:pt x="465684" y="564689"/>
                </a:cubicBezTo>
                <a:cubicBezTo>
                  <a:pt x="473572" y="564540"/>
                  <a:pt x="481422" y="561415"/>
                  <a:pt x="487301" y="555312"/>
                </a:cubicBezTo>
                <a:lnTo>
                  <a:pt x="514834" y="526775"/>
                </a:lnTo>
                <a:lnTo>
                  <a:pt x="515206" y="526403"/>
                </a:lnTo>
                <a:lnTo>
                  <a:pt x="515169" y="526366"/>
                </a:lnTo>
                <a:lnTo>
                  <a:pt x="515318" y="526216"/>
                </a:lnTo>
                <a:cubicBezTo>
                  <a:pt x="521197" y="520115"/>
                  <a:pt x="524024" y="512226"/>
                  <a:pt x="523875" y="504338"/>
                </a:cubicBezTo>
                <a:cubicBezTo>
                  <a:pt x="523727" y="496712"/>
                  <a:pt x="520824" y="489120"/>
                  <a:pt x="515094" y="483354"/>
                </a:cubicBezTo>
                <a:cubicBezTo>
                  <a:pt x="514945" y="483168"/>
                  <a:pt x="514797" y="483019"/>
                  <a:pt x="514648" y="482871"/>
                </a:cubicBezTo>
                <a:lnTo>
                  <a:pt x="514611" y="482908"/>
                </a:lnTo>
                <a:lnTo>
                  <a:pt x="504565" y="473197"/>
                </a:lnTo>
                <a:cubicBezTo>
                  <a:pt x="508955" y="465384"/>
                  <a:pt x="512787" y="457235"/>
                  <a:pt x="516099" y="448864"/>
                </a:cubicBezTo>
                <a:cubicBezTo>
                  <a:pt x="519336" y="440641"/>
                  <a:pt x="522052" y="432084"/>
                  <a:pt x="524209" y="423228"/>
                </a:cubicBezTo>
                <a:lnTo>
                  <a:pt x="537976" y="422967"/>
                </a:lnTo>
                <a:cubicBezTo>
                  <a:pt x="546459" y="422819"/>
                  <a:pt x="554086" y="419210"/>
                  <a:pt x="559556" y="413554"/>
                </a:cubicBezTo>
                <a:cubicBezTo>
                  <a:pt x="565025" y="407899"/>
                  <a:pt x="568337" y="400160"/>
                  <a:pt x="568151" y="391676"/>
                </a:cubicBezTo>
                <a:lnTo>
                  <a:pt x="567406" y="351343"/>
                </a:lnTo>
                <a:cubicBezTo>
                  <a:pt x="567258" y="342860"/>
                  <a:pt x="563649" y="335232"/>
                  <a:pt x="557994" y="329763"/>
                </a:cubicBezTo>
                <a:cubicBezTo>
                  <a:pt x="552338" y="324294"/>
                  <a:pt x="544600" y="320983"/>
                  <a:pt x="536153" y="321169"/>
                </a:cubicBezTo>
                <a:lnTo>
                  <a:pt x="522312" y="321429"/>
                </a:lnTo>
                <a:cubicBezTo>
                  <a:pt x="519857" y="312686"/>
                  <a:pt x="516805" y="304240"/>
                  <a:pt x="513270" y="296091"/>
                </a:cubicBezTo>
                <a:cubicBezTo>
                  <a:pt x="509661" y="287794"/>
                  <a:pt x="505494" y="279832"/>
                  <a:pt x="500880" y="272205"/>
                </a:cubicBezTo>
                <a:lnTo>
                  <a:pt x="510479" y="262270"/>
                </a:lnTo>
                <a:cubicBezTo>
                  <a:pt x="516358" y="256167"/>
                  <a:pt x="519186" y="248242"/>
                  <a:pt x="519037" y="240391"/>
                </a:cubicBezTo>
                <a:cubicBezTo>
                  <a:pt x="518889" y="232503"/>
                  <a:pt x="515763" y="224653"/>
                  <a:pt x="509661" y="218775"/>
                </a:cubicBezTo>
                <a:lnTo>
                  <a:pt x="481123" y="191242"/>
                </a:lnTo>
                <a:lnTo>
                  <a:pt x="480751" y="190870"/>
                </a:lnTo>
                <a:lnTo>
                  <a:pt x="480714" y="190907"/>
                </a:lnTo>
                <a:lnTo>
                  <a:pt x="480565" y="190758"/>
                </a:lnTo>
                <a:cubicBezTo>
                  <a:pt x="474463" y="184879"/>
                  <a:pt x="466575" y="182051"/>
                  <a:pt x="458687" y="182200"/>
                </a:cubicBezTo>
                <a:cubicBezTo>
                  <a:pt x="451059" y="182350"/>
                  <a:pt x="443506" y="185251"/>
                  <a:pt x="437702" y="190944"/>
                </a:cubicBezTo>
                <a:cubicBezTo>
                  <a:pt x="437517" y="191093"/>
                  <a:pt x="437368" y="191241"/>
                  <a:pt x="437219" y="191428"/>
                </a:cubicBezTo>
                <a:lnTo>
                  <a:pt x="437256" y="191465"/>
                </a:lnTo>
                <a:lnTo>
                  <a:pt x="427545" y="201511"/>
                </a:lnTo>
                <a:cubicBezTo>
                  <a:pt x="419732" y="197120"/>
                  <a:pt x="411583" y="193288"/>
                  <a:pt x="403211" y="189977"/>
                </a:cubicBezTo>
                <a:cubicBezTo>
                  <a:pt x="394989" y="186740"/>
                  <a:pt x="386431" y="184024"/>
                  <a:pt x="377576" y="181866"/>
                </a:cubicBezTo>
                <a:lnTo>
                  <a:pt x="377316" y="168099"/>
                </a:lnTo>
                <a:cubicBezTo>
                  <a:pt x="377167" y="159616"/>
                  <a:pt x="373558" y="151989"/>
                  <a:pt x="367902" y="146519"/>
                </a:cubicBezTo>
                <a:cubicBezTo>
                  <a:pt x="362247" y="141050"/>
                  <a:pt x="354508" y="137738"/>
                  <a:pt x="346024" y="137925"/>
                </a:cubicBezTo>
                <a:lnTo>
                  <a:pt x="305692" y="138669"/>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49418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D161F7-4FB9-750A-C63B-FD790AA1EF2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979EF9C-E109-A2AE-E3C0-0E6C756AD6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think-cell data - do not delete" hidden="1">
                        <a:extLst>
                          <a:ext uri="{FF2B5EF4-FFF2-40B4-BE49-F238E27FC236}">
                            <a16:creationId xmlns:a16="http://schemas.microsoft.com/office/drawing/2014/main" id="{1979EF9C-E109-A2AE-E3C0-0E6C756AD6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4553AB5-E702-F349-AFBA-E748DDFA2C8E}"/>
              </a:ext>
            </a:extLst>
          </p:cNvPr>
          <p:cNvSpPr>
            <a:spLocks noGrp="1"/>
          </p:cNvSpPr>
          <p:nvPr>
            <p:ph type="title"/>
          </p:nvPr>
        </p:nvSpPr>
        <p:spPr/>
        <p:txBody>
          <a:bodyPr vert="horz">
            <a:noAutofit/>
          </a:bodyPr>
          <a:lstStyle/>
          <a:p>
            <a:r>
              <a:rPr lang="en-US" sz="4500"/>
              <a:t>Protect &amp; Leverage AI</a:t>
            </a:r>
            <a:endParaRPr lang="en-US"/>
          </a:p>
        </p:txBody>
      </p:sp>
      <p:sp>
        <p:nvSpPr>
          <p:cNvPr id="6" name="Text Placeholder 5">
            <a:extLst>
              <a:ext uri="{FF2B5EF4-FFF2-40B4-BE49-F238E27FC236}">
                <a16:creationId xmlns:a16="http://schemas.microsoft.com/office/drawing/2014/main" id="{D85DD199-B879-5796-3DD5-19CF9861B7C2}"/>
              </a:ext>
            </a:extLst>
          </p:cNvPr>
          <p:cNvSpPr>
            <a:spLocks noGrp="1"/>
          </p:cNvSpPr>
          <p:nvPr>
            <p:ph type="body" sz="quarter" idx="23"/>
          </p:nvPr>
        </p:nvSpPr>
        <p:spPr/>
        <p:txBody>
          <a:bodyPr/>
          <a:lstStyle/>
          <a:p>
            <a:endParaRPr lang="en-US"/>
          </a:p>
        </p:txBody>
      </p:sp>
      <p:sp>
        <p:nvSpPr>
          <p:cNvPr id="9" name="Footer Placeholder 2">
            <a:extLst>
              <a:ext uri="{FF2B5EF4-FFF2-40B4-BE49-F238E27FC236}">
                <a16:creationId xmlns:a16="http://schemas.microsoft.com/office/drawing/2014/main" id="{603134A7-912C-C186-B8ED-B25F5EDA1A28}"/>
              </a:ext>
            </a:extLst>
          </p:cNvPr>
          <p:cNvSpPr txBox="1">
            <a:spLocks/>
          </p:cNvSpPr>
          <p:nvPr/>
        </p:nvSpPr>
        <p:spPr>
          <a:xfrm>
            <a:off x="10172700" y="6344667"/>
            <a:ext cx="1123950" cy="28336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800">
                <a:solidFill>
                  <a:srgbClr val="FFFFFF"/>
                </a:solidFill>
                <a:latin typeface="Arial" panose="020B0604020202020204"/>
              </a:rPr>
              <a:t>© Commvault 2025</a:t>
            </a:r>
          </a:p>
        </p:txBody>
      </p:sp>
      <p:sp>
        <p:nvSpPr>
          <p:cNvPr id="10" name="Slide Number Placeholder 4">
            <a:extLst>
              <a:ext uri="{FF2B5EF4-FFF2-40B4-BE49-F238E27FC236}">
                <a16:creationId xmlns:a16="http://schemas.microsoft.com/office/drawing/2014/main" id="{6B5E896E-E791-3367-C887-3422E8CA25E0}"/>
              </a:ext>
            </a:extLst>
          </p:cNvPr>
          <p:cNvSpPr txBox="1">
            <a:spLocks/>
          </p:cNvSpPr>
          <p:nvPr/>
        </p:nvSpPr>
        <p:spPr>
          <a:xfrm>
            <a:off x="11403176" y="6377920"/>
            <a:ext cx="373227" cy="25577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71676EBD-8486-AA4B-82C3-0598DF1E43FA}" type="slidenum">
              <a:rPr lang="en-US" sz="800" smtClean="0">
                <a:solidFill>
                  <a:srgbClr val="FFFFFF"/>
                </a:solidFill>
                <a:latin typeface="Arial" panose="020B0604020202020204"/>
              </a:rPr>
              <a:pPr algn="r">
                <a:defRPr/>
              </a:pPr>
              <a:t>17</a:t>
            </a:fld>
            <a:endParaRPr lang="en-US" sz="800">
              <a:solidFill>
                <a:srgbClr val="FFFFFF"/>
              </a:solidFill>
              <a:latin typeface="Arial" panose="020B0604020202020204"/>
            </a:endParaRPr>
          </a:p>
        </p:txBody>
      </p:sp>
    </p:spTree>
    <p:extLst>
      <p:ext uri="{BB962C8B-B14F-4D97-AF65-F5344CB8AC3E}">
        <p14:creationId xmlns:p14="http://schemas.microsoft.com/office/powerpoint/2010/main" val="42120568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AC4759-CFBC-3D86-9BA4-B15680255DDC}"/>
            </a:ext>
          </a:extLst>
        </p:cNvPr>
        <p:cNvGrpSpPr/>
        <p:nvPr/>
      </p:nvGrpSpPr>
      <p:grpSpPr>
        <a:xfrm>
          <a:off x="0" y="0"/>
          <a:ext cx="0" cy="0"/>
          <a:chOff x="0" y="0"/>
          <a:chExt cx="0" cy="0"/>
        </a:xfrm>
      </p:grpSpPr>
      <p:pic>
        <p:nvPicPr>
          <p:cNvPr id="2" name="2" descr="preencoded.png">
            <a:extLst>
              <a:ext uri="{FF2B5EF4-FFF2-40B4-BE49-F238E27FC236}">
                <a16:creationId xmlns:a16="http://schemas.microsoft.com/office/drawing/2014/main" id="{0C9DCE16-FB53-C52D-7AEB-18916D457E38}"/>
              </a:ext>
            </a:extLst>
          </p:cNvPr>
          <p:cNvPicPr>
            <a:picLocks noChangeAspect="1"/>
          </p:cNvPicPr>
          <p:nvPr>
            <p:custDataLst>
              <p:tags r:id="rId1"/>
            </p:custDataLst>
          </p:nvPr>
        </p:nvPicPr>
        <p:blipFill>
          <a:blip r:embed="rId4"/>
          <a:srcRect/>
          <a:stretch/>
        </p:blipFill>
        <p:spPr>
          <a:xfrm>
            <a:off x="-38100" y="0"/>
            <a:ext cx="12230100" cy="6896100"/>
          </a:xfrm>
          <a:prstGeom prst="rect">
            <a:avLst/>
          </a:prstGeom>
        </p:spPr>
      </p:pic>
      <p:pic>
        <p:nvPicPr>
          <p:cNvPr id="3" name="Group 48095857" descr="preencoded.png">
            <a:extLst>
              <a:ext uri="{FF2B5EF4-FFF2-40B4-BE49-F238E27FC236}">
                <a16:creationId xmlns:a16="http://schemas.microsoft.com/office/drawing/2014/main" id="{1410F3E8-EF70-61AB-96C3-C8FB7B392FDB}"/>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666750" y="1554945"/>
            <a:ext cx="3165204" cy="206561"/>
          </a:xfrm>
          <a:prstGeom prst="rect">
            <a:avLst/>
          </a:prstGeom>
        </p:spPr>
      </p:pic>
      <p:pic>
        <p:nvPicPr>
          <p:cNvPr id="4" name="Group 48095863" descr="preencoded.png">
            <a:extLst>
              <a:ext uri="{FF2B5EF4-FFF2-40B4-BE49-F238E27FC236}">
                <a16:creationId xmlns:a16="http://schemas.microsoft.com/office/drawing/2014/main" id="{9E391949-E81A-5F9A-BA68-37ADBDDE075D}"/>
              </a:ext>
            </a:extLst>
          </p:cNvPr>
          <p:cNvPicPr>
            <a:picLocks noChangeAspect="1"/>
          </p:cNvPicPr>
          <p:nvPr/>
        </p:nvPicPr>
        <p:blipFill>
          <a:blip>
            <a:extLst>
              <a:ext uri="{96DAC541-7B7A-43D3-8B79-37D633B846F1}">
                <asvg:svgBlip xmlns:asvg="http://schemas.microsoft.com/office/drawing/2016/SVG/main" r:embed="rId6"/>
              </a:ext>
            </a:extLst>
          </a:blip>
          <a:srcRect/>
          <a:stretch/>
        </p:blipFill>
        <p:spPr>
          <a:xfrm>
            <a:off x="8334118" y="1520298"/>
            <a:ext cx="3165204" cy="206560"/>
          </a:xfrm>
          <a:prstGeom prst="rect">
            <a:avLst/>
          </a:prstGeom>
        </p:spPr>
      </p:pic>
      <p:pic>
        <p:nvPicPr>
          <p:cNvPr id="5" name="Group 48095862" descr="preencoded.png">
            <a:extLst>
              <a:ext uri="{FF2B5EF4-FFF2-40B4-BE49-F238E27FC236}">
                <a16:creationId xmlns:a16="http://schemas.microsoft.com/office/drawing/2014/main" id="{C64A4C43-2881-5412-0A40-E4ADAD5859F8}"/>
              </a:ext>
            </a:extLst>
          </p:cNvPr>
          <p:cNvPicPr>
            <a:picLocks noChangeAspect="1"/>
          </p:cNvPicPr>
          <p:nvPr/>
        </p:nvPicPr>
        <p:blipFill>
          <a:blip>
            <a:extLst>
              <a:ext uri="{96DAC541-7B7A-43D3-8B79-37D633B846F1}">
                <asvg:svgBlip xmlns:asvg="http://schemas.microsoft.com/office/drawing/2016/SVG/main" r:embed="rId7"/>
              </a:ext>
            </a:extLst>
          </a:blip>
          <a:srcRect/>
          <a:stretch/>
        </p:blipFill>
        <p:spPr>
          <a:xfrm>
            <a:off x="4514058" y="1554457"/>
            <a:ext cx="3165204" cy="100674"/>
          </a:xfrm>
          <a:prstGeom prst="rect">
            <a:avLst/>
          </a:prstGeom>
        </p:spPr>
      </p:pic>
      <p:pic>
        <p:nvPicPr>
          <p:cNvPr id="6" name="Rectangle 6563" descr="preencoded.png">
            <a:extLst>
              <a:ext uri="{FF2B5EF4-FFF2-40B4-BE49-F238E27FC236}">
                <a16:creationId xmlns:a16="http://schemas.microsoft.com/office/drawing/2014/main" id="{B5C7C8F7-446C-2694-21EF-52CEC1C11944}"/>
              </a:ext>
            </a:extLst>
          </p:cNvPr>
          <p:cNvPicPr>
            <a:picLocks noChangeAspect="1"/>
          </p:cNvPicPr>
          <p:nvPr/>
        </p:nvPicPr>
        <p:blipFill>
          <a:blip>
            <a:extLst>
              <a:ext uri="{96DAC541-7B7A-43D3-8B79-37D633B846F1}">
                <asvg:svgBlip xmlns:asvg="http://schemas.microsoft.com/office/drawing/2016/SVG/main" r:embed="rId8"/>
              </a:ext>
            </a:extLst>
          </a:blip>
          <a:srcRect/>
          <a:stretch/>
        </p:blipFill>
        <p:spPr>
          <a:xfrm>
            <a:off x="666750" y="1974310"/>
            <a:ext cx="3165204" cy="483057"/>
          </a:xfrm>
          <a:prstGeom prst="rect">
            <a:avLst/>
          </a:prstGeom>
        </p:spPr>
      </p:pic>
      <p:pic>
        <p:nvPicPr>
          <p:cNvPr id="7" name="Rectangle 6567" descr="preencoded.png">
            <a:extLst>
              <a:ext uri="{FF2B5EF4-FFF2-40B4-BE49-F238E27FC236}">
                <a16:creationId xmlns:a16="http://schemas.microsoft.com/office/drawing/2014/main" id="{7B0B0B12-4FCE-ECB7-6CD5-975D5114CFF1}"/>
              </a:ext>
            </a:extLst>
          </p:cNvPr>
          <p:cNvPicPr>
            <a:picLocks noChangeAspect="1"/>
          </p:cNvPicPr>
          <p:nvPr/>
        </p:nvPicPr>
        <p:blipFill>
          <a:blip>
            <a:extLst>
              <a:ext uri="{96DAC541-7B7A-43D3-8B79-37D633B846F1}">
                <asvg:svgBlip xmlns:asvg="http://schemas.microsoft.com/office/drawing/2016/SVG/main" r:embed="rId9"/>
              </a:ext>
            </a:extLst>
          </a:blip>
          <a:srcRect/>
          <a:stretch/>
        </p:blipFill>
        <p:spPr>
          <a:xfrm>
            <a:off x="666751" y="2597485"/>
            <a:ext cx="3113181" cy="3295450"/>
          </a:xfrm>
          <a:prstGeom prst="rect">
            <a:avLst/>
          </a:prstGeom>
        </p:spPr>
      </p:pic>
      <p:pic>
        <p:nvPicPr>
          <p:cNvPr id="8" name="Rectangle 6568" descr="preencoded.png">
            <a:extLst>
              <a:ext uri="{FF2B5EF4-FFF2-40B4-BE49-F238E27FC236}">
                <a16:creationId xmlns:a16="http://schemas.microsoft.com/office/drawing/2014/main" id="{4CF2737A-C360-7366-8F60-7A908DABC112}"/>
              </a:ext>
            </a:extLst>
          </p:cNvPr>
          <p:cNvPicPr>
            <a:picLocks noChangeAspect="1"/>
          </p:cNvPicPr>
          <p:nvPr/>
        </p:nvPicPr>
        <p:blipFill>
          <a:blip>
            <a:extLst>
              <a:ext uri="{96DAC541-7B7A-43D3-8B79-37D633B846F1}">
                <asvg:svgBlip xmlns:asvg="http://schemas.microsoft.com/office/drawing/2016/SVG/main" r:embed="rId10"/>
              </a:ext>
            </a:extLst>
          </a:blip>
          <a:srcRect/>
          <a:stretch/>
        </p:blipFill>
        <p:spPr>
          <a:xfrm>
            <a:off x="4514057" y="2597343"/>
            <a:ext cx="3173413" cy="3280341"/>
          </a:xfrm>
          <a:prstGeom prst="rect">
            <a:avLst/>
          </a:prstGeom>
        </p:spPr>
      </p:pic>
      <p:pic>
        <p:nvPicPr>
          <p:cNvPr id="10" name="Rectangle 6570" descr="preencoded.png">
            <a:extLst>
              <a:ext uri="{FF2B5EF4-FFF2-40B4-BE49-F238E27FC236}">
                <a16:creationId xmlns:a16="http://schemas.microsoft.com/office/drawing/2014/main" id="{1B86CEC3-7D09-C7E7-E91A-C3FE8A4DED2A}"/>
              </a:ext>
            </a:extLst>
          </p:cNvPr>
          <p:cNvPicPr>
            <a:picLocks noChangeAspect="1"/>
          </p:cNvPicPr>
          <p:nvPr/>
        </p:nvPicPr>
        <p:blipFill>
          <a:blip>
            <a:extLst>
              <a:ext uri="{96DAC541-7B7A-43D3-8B79-37D633B846F1}">
                <asvg:svgBlip xmlns:asvg="http://schemas.microsoft.com/office/drawing/2016/SVG/main" r:embed="rId11"/>
              </a:ext>
            </a:extLst>
          </a:blip>
          <a:srcRect/>
          <a:stretch/>
        </p:blipFill>
        <p:spPr>
          <a:xfrm>
            <a:off x="8357637" y="2597345"/>
            <a:ext cx="3166806" cy="3271580"/>
          </a:xfrm>
          <a:prstGeom prst="rect">
            <a:avLst/>
          </a:prstGeom>
        </p:spPr>
      </p:pic>
      <p:pic>
        <p:nvPicPr>
          <p:cNvPr id="11" name="Rectangle 6564" descr="preencoded.png">
            <a:extLst>
              <a:ext uri="{FF2B5EF4-FFF2-40B4-BE49-F238E27FC236}">
                <a16:creationId xmlns:a16="http://schemas.microsoft.com/office/drawing/2014/main" id="{3CEF1101-7433-C82A-A4BA-26CF8E469AD7}"/>
              </a:ext>
            </a:extLst>
          </p:cNvPr>
          <p:cNvPicPr>
            <a:picLocks noChangeAspect="1"/>
          </p:cNvPicPr>
          <p:nvPr/>
        </p:nvPicPr>
        <p:blipFill>
          <a:blip>
            <a:extLst>
              <a:ext uri="{96DAC541-7B7A-43D3-8B79-37D633B846F1}">
                <asvg:svgBlip xmlns:asvg="http://schemas.microsoft.com/office/drawing/2016/SVG/main" r:embed="rId12"/>
              </a:ext>
            </a:extLst>
          </a:blip>
          <a:srcRect/>
          <a:stretch/>
        </p:blipFill>
        <p:spPr>
          <a:xfrm>
            <a:off x="4514058" y="2002852"/>
            <a:ext cx="3165204" cy="483057"/>
          </a:xfrm>
          <a:prstGeom prst="rect">
            <a:avLst/>
          </a:prstGeom>
        </p:spPr>
      </p:pic>
      <p:pic>
        <p:nvPicPr>
          <p:cNvPr id="13" name="Rectangle 6566" descr="preencoded.png">
            <a:extLst>
              <a:ext uri="{FF2B5EF4-FFF2-40B4-BE49-F238E27FC236}">
                <a16:creationId xmlns:a16="http://schemas.microsoft.com/office/drawing/2014/main" id="{9DF233FB-9240-185F-1E63-9B5B50C8C66B}"/>
              </a:ext>
            </a:extLst>
          </p:cNvPr>
          <p:cNvPicPr>
            <a:picLocks noChangeAspect="1"/>
          </p:cNvPicPr>
          <p:nvPr/>
        </p:nvPicPr>
        <p:blipFill>
          <a:blip>
            <a:extLst>
              <a:ext uri="{96DAC541-7B7A-43D3-8B79-37D633B846F1}">
                <asvg:svgBlip xmlns:asvg="http://schemas.microsoft.com/office/drawing/2016/SVG/main" r:embed="rId13"/>
              </a:ext>
            </a:extLst>
          </a:blip>
          <a:srcRect/>
          <a:stretch/>
        </p:blipFill>
        <p:spPr>
          <a:xfrm>
            <a:off x="8360045" y="2002852"/>
            <a:ext cx="3165204" cy="483057"/>
          </a:xfrm>
          <a:prstGeom prst="rect">
            <a:avLst/>
          </a:prstGeom>
        </p:spPr>
      </p:pic>
      <p:pic>
        <p:nvPicPr>
          <p:cNvPr id="15" name="Frame 5108" descr="preencoded.png">
            <a:extLst>
              <a:ext uri="{FF2B5EF4-FFF2-40B4-BE49-F238E27FC236}">
                <a16:creationId xmlns:a16="http://schemas.microsoft.com/office/drawing/2014/main" id="{D7566852-0EDF-878E-0743-9433EB44AFF1}"/>
              </a:ext>
            </a:extLst>
          </p:cNvPr>
          <p:cNvPicPr>
            <a:picLocks noChangeAspect="1"/>
          </p:cNvPicPr>
          <p:nvPr/>
        </p:nvPicPr>
        <p:blipFill>
          <a:blip>
            <a:extLst>
              <a:ext uri="{96DAC541-7B7A-43D3-8B79-37D633B846F1}">
                <asvg:svgBlip xmlns:asvg="http://schemas.microsoft.com/office/drawing/2016/SVG/main" r:embed="rId14"/>
              </a:ext>
            </a:extLst>
          </a:blip>
          <a:srcRect/>
          <a:stretch/>
        </p:blipFill>
        <p:spPr>
          <a:xfrm>
            <a:off x="1396514" y="1404213"/>
            <a:ext cx="1485949" cy="260609"/>
          </a:xfrm>
          <a:prstGeom prst="rect">
            <a:avLst/>
          </a:prstGeom>
        </p:spPr>
      </p:pic>
      <p:pic>
        <p:nvPicPr>
          <p:cNvPr id="17" name="Group 48095919" descr="preencoded.png">
            <a:extLst>
              <a:ext uri="{FF2B5EF4-FFF2-40B4-BE49-F238E27FC236}">
                <a16:creationId xmlns:a16="http://schemas.microsoft.com/office/drawing/2014/main" id="{5557C708-55F9-B9BB-8716-7F09C06E1616}"/>
              </a:ext>
            </a:extLst>
          </p:cNvPr>
          <p:cNvPicPr>
            <a:picLocks noChangeAspect="1"/>
          </p:cNvPicPr>
          <p:nvPr/>
        </p:nvPicPr>
        <p:blipFill>
          <a:blip>
            <a:extLst>
              <a:ext uri="{96DAC541-7B7A-43D3-8B79-37D633B846F1}">
                <asvg:svgBlip xmlns:asvg="http://schemas.microsoft.com/office/drawing/2016/SVG/main" r:embed="rId15"/>
              </a:ext>
            </a:extLst>
          </a:blip>
          <a:srcRect/>
          <a:stretch/>
        </p:blipFill>
        <p:spPr>
          <a:xfrm>
            <a:off x="9160622" y="1395422"/>
            <a:ext cx="1447845" cy="266953"/>
          </a:xfrm>
          <a:prstGeom prst="rect">
            <a:avLst/>
          </a:prstGeom>
        </p:spPr>
      </p:pic>
      <p:sp>
        <p:nvSpPr>
          <p:cNvPr id="24" name="AD ANOMALY DETECTION Detects and surfaces security anomalies in Active Directory helping teams respond quickly THREAT DETECTION Detects known security threats from 3rd party threat databases DATA CLASSIFICATION AI-driven classification that dynamically ta">
            <a:extLst>
              <a:ext uri="{FF2B5EF4-FFF2-40B4-BE49-F238E27FC236}">
                <a16:creationId xmlns:a16="http://schemas.microsoft.com/office/drawing/2014/main" id="{EDA694FF-EBC0-718B-0B96-B60747B1AF56}"/>
              </a:ext>
            </a:extLst>
          </p:cNvPr>
          <p:cNvSpPr/>
          <p:nvPr/>
        </p:nvSpPr>
        <p:spPr>
          <a:xfrm>
            <a:off x="4640471" y="2756115"/>
            <a:ext cx="3053168" cy="3041011"/>
          </a:xfrm>
          <a:prstGeom prst="rect">
            <a:avLst/>
          </a:prstGeom>
          <a:noFill/>
          <a:ln/>
        </p:spPr>
        <p:txBody>
          <a:bodyPr wrap="square" lIns="0" tIns="0" rIns="0" bIns="0" rtlCol="0" anchor="t"/>
          <a:lstStyle/>
          <a:p>
            <a:pPr defTabSz="609630">
              <a:lnSpc>
                <a:spcPct val="120832"/>
              </a:lnSpc>
            </a:pPr>
            <a:r>
              <a:rPr lang="en-US" sz="1100">
                <a:solidFill>
                  <a:srgbClr val="DDB6EA"/>
                </a:solidFill>
                <a:latin typeface="Arial"/>
                <a:ea typeface="Galano Grotesque SmBold Italic"/>
                <a:cs typeface="Arial"/>
              </a:rPr>
              <a:t>ANOMALY &amp; THREAT DETECTION</a:t>
            </a:r>
            <a:br>
              <a:rPr lang="en-US" sz="1400" kern="0" spc="-50">
                <a:ea typeface="+mn-lt"/>
                <a:cs typeface="+mn-lt"/>
              </a:rPr>
            </a:br>
            <a:r>
              <a:rPr lang="en-US" sz="1200" kern="0">
                <a:solidFill>
                  <a:srgbClr val="D3D3D3"/>
                </a:solidFill>
                <a:latin typeface="Arial" panose="020B0604020202020204" pitchFamily="34" charset="0"/>
                <a:ea typeface="Galano Grotesque Medium"/>
                <a:cs typeface="Arial" panose="020B0604020202020204" pitchFamily="34" charset="0"/>
              </a:rPr>
              <a:t>Detects security anomalies and threats, helping teams respond quickly</a:t>
            </a:r>
          </a:p>
          <a:p>
            <a:pPr defTabSz="609630">
              <a:lnSpc>
                <a:spcPct val="120832"/>
              </a:lnSpc>
            </a:pPr>
            <a:endParaRPr lang="en-US" sz="1100">
              <a:solidFill>
                <a:srgbClr val="DDB6EA"/>
              </a:solidFill>
              <a:latin typeface="Arial"/>
              <a:ea typeface="Galano Grotesque SmBold Italic"/>
              <a:cs typeface="Arial"/>
            </a:endParaRPr>
          </a:p>
          <a:p>
            <a:pPr defTabSz="609630">
              <a:lnSpc>
                <a:spcPct val="120832"/>
              </a:lnSpc>
            </a:pPr>
            <a:r>
              <a:rPr lang="en-US" sz="1100">
                <a:solidFill>
                  <a:srgbClr val="DDB6EA"/>
                </a:solidFill>
                <a:latin typeface="Arial"/>
                <a:ea typeface="Galano Grotesque SmBold Italic"/>
                <a:cs typeface="Arial"/>
              </a:rPr>
              <a:t>PLATFORM OPTIMIZATIONS</a:t>
            </a:r>
            <a:br>
              <a:rPr lang="en-US" sz="1400" kern="0" spc="-50">
                <a:ea typeface="+mn-lt"/>
                <a:cs typeface="+mn-lt"/>
              </a:rPr>
            </a:br>
            <a:r>
              <a:rPr lang="en-US" sz="1200" kern="0">
                <a:solidFill>
                  <a:srgbClr val="D3D3D3"/>
                </a:solidFill>
                <a:latin typeface="Arial" panose="020B0604020202020204" pitchFamily="34" charset="0"/>
                <a:ea typeface="Galano Grotesque Medium"/>
                <a:cs typeface="Arial" panose="020B0604020202020204" pitchFamily="34" charset="0"/>
              </a:rPr>
              <a:t>ML for smart job scheduling, predictive forecasting, and semantic search</a:t>
            </a:r>
            <a:r>
              <a:rPr lang="en-US" sz="1050" kern="0" spc="-50">
                <a:solidFill>
                  <a:srgbClr val="FFFFFF"/>
                </a:solidFill>
                <a:latin typeface="Arial"/>
                <a:ea typeface="Galano Grotesque SmBold Italic"/>
                <a:cs typeface="Arial"/>
              </a:rPr>
              <a:t>
</a:t>
            </a:r>
            <a:endParaRPr lang="en-US" sz="1100" kern="0" spc="-50">
              <a:solidFill>
                <a:srgbClr val="D3D3D3"/>
              </a:solidFill>
              <a:latin typeface="Arial"/>
              <a:ea typeface="Galano Grotesque Medium"/>
              <a:cs typeface="Arial"/>
            </a:endParaRPr>
          </a:p>
          <a:p>
            <a:pPr defTabSz="609630">
              <a:lnSpc>
                <a:spcPct val="120832"/>
              </a:lnSpc>
            </a:pPr>
            <a:r>
              <a:rPr lang="en-US" sz="1100">
                <a:solidFill>
                  <a:srgbClr val="DDB6EA"/>
                </a:solidFill>
                <a:latin typeface="Arial"/>
                <a:ea typeface="Galano Grotesque SmBold Italic"/>
                <a:cs typeface="Arial"/>
              </a:rPr>
              <a:t>GENAI &amp; AGENTIC AUTOMATION</a:t>
            </a:r>
            <a:r>
              <a:rPr lang="en-US" sz="1050">
                <a:solidFill>
                  <a:srgbClr val="DDB6EA"/>
                </a:solidFill>
                <a:latin typeface="Arial"/>
                <a:ea typeface="Galano Grotesque SmBold Italic"/>
                <a:cs typeface="Arial"/>
              </a:rPr>
              <a:t>
</a:t>
            </a:r>
            <a:r>
              <a:rPr lang="en-US" sz="1200" kern="0">
                <a:solidFill>
                  <a:srgbClr val="D3D3D3"/>
                </a:solidFill>
                <a:latin typeface="Arial"/>
                <a:ea typeface="Galano Grotesque Medium"/>
                <a:cs typeface="Arial"/>
              </a:rPr>
              <a:t>Arlie for troubleshooting, code generation, product guidance, and enhanced support;</a:t>
            </a:r>
          </a:p>
          <a:p>
            <a:pPr defTabSz="609630">
              <a:lnSpc>
                <a:spcPct val="120832"/>
              </a:lnSpc>
            </a:pPr>
            <a:r>
              <a:rPr lang="en-US" sz="1200" kern="0">
                <a:solidFill>
                  <a:srgbClr val="D3D3D3"/>
                </a:solidFill>
                <a:latin typeface="Arial"/>
                <a:ea typeface="Galano Grotesque Medium"/>
                <a:cs typeface="Arial"/>
              </a:rPr>
              <a:t>Specialized agents for advanced analysis, insights, and resilience operations</a:t>
            </a:r>
          </a:p>
        </p:txBody>
      </p:sp>
      <p:sp>
        <p:nvSpPr>
          <p:cNvPr id="26" name="SAFELAKE DATA CONNECT Explore prepare and securely share datasets with data lakes MCP AUTOMATION Automate Commvault actions through third-party tools like ServiceNow via MCP and Commvaults Agent Library FIRST-PARTY INTEGRATIONS Create direct first-party i">
            <a:extLst>
              <a:ext uri="{FF2B5EF4-FFF2-40B4-BE49-F238E27FC236}">
                <a16:creationId xmlns:a16="http://schemas.microsoft.com/office/drawing/2014/main" id="{1379A840-E323-3B8A-638F-B2595F2F7CD0}"/>
              </a:ext>
            </a:extLst>
          </p:cNvPr>
          <p:cNvSpPr/>
          <p:nvPr/>
        </p:nvSpPr>
        <p:spPr>
          <a:xfrm>
            <a:off x="8558044" y="2751455"/>
            <a:ext cx="2688798" cy="3045671"/>
          </a:xfrm>
          <a:prstGeom prst="rect">
            <a:avLst/>
          </a:prstGeom>
          <a:noFill/>
          <a:ln/>
        </p:spPr>
        <p:txBody>
          <a:bodyPr wrap="square" lIns="0" tIns="0" rIns="0" bIns="0" rtlCol="0" anchor="t"/>
          <a:lstStyle/>
          <a:p>
            <a:pPr defTabSz="609630">
              <a:lnSpc>
                <a:spcPct val="120832"/>
              </a:lnSpc>
            </a:pPr>
            <a:r>
              <a:rPr lang="en-US" sz="1100" kern="0" spc="-50">
                <a:solidFill>
                  <a:srgbClr val="8088C1"/>
                </a:solidFill>
                <a:latin typeface="Arial"/>
                <a:ea typeface="Galano Grotesque Medium"/>
                <a:cs typeface="Arial"/>
              </a:rPr>
              <a:t>AI EXTENSIONS</a:t>
            </a:r>
            <a:br>
              <a:rPr lang="en-US" sz="1000" kern="0" spc="-50">
                <a:latin typeface="Arial"/>
                <a:ea typeface="Galano Grotesque Medium"/>
                <a:cs typeface="Arial"/>
              </a:rPr>
            </a:br>
            <a:r>
              <a:rPr lang="en-US" sz="1200" kern="0" spc="-50">
                <a:solidFill>
                  <a:srgbClr val="D3D3D3"/>
                </a:solidFill>
                <a:latin typeface="Arial"/>
                <a:ea typeface="Galano Grotesque Medium"/>
                <a:cs typeface="Arial"/>
              </a:rPr>
              <a:t>MCP Server &amp; Conversational AI
Data Rooms</a:t>
            </a:r>
            <a:endParaRPr lang="en-US" sz="1200">
              <a:solidFill>
                <a:prstClr val="black"/>
              </a:solidFill>
              <a:latin typeface="Arial"/>
              <a:ea typeface="Galano Grotesque Medium"/>
              <a:cs typeface="Arial"/>
            </a:endParaRPr>
          </a:p>
          <a:p>
            <a:pPr defTabSz="609630">
              <a:lnSpc>
                <a:spcPct val="120832"/>
              </a:lnSpc>
            </a:pPr>
            <a:endParaRPr lang="en-US" sz="1100" kern="0" spc="-50">
              <a:solidFill>
                <a:srgbClr val="8088C1"/>
              </a:solidFill>
              <a:latin typeface="Arial"/>
              <a:ea typeface="Galano Grotesque Medium"/>
              <a:cs typeface="Arial"/>
            </a:endParaRPr>
          </a:p>
          <a:p>
            <a:pPr defTabSz="609630">
              <a:lnSpc>
                <a:spcPct val="120832"/>
              </a:lnSpc>
            </a:pPr>
            <a:r>
              <a:rPr lang="en-US" sz="1100" kern="0" spc="-50">
                <a:solidFill>
                  <a:srgbClr val="8088C1"/>
                </a:solidFill>
                <a:latin typeface="Arial"/>
                <a:ea typeface="Galano Grotesque Medium"/>
                <a:cs typeface="Arial"/>
              </a:rPr>
              <a:t>MULTI MODEL SUPPORT IN ARLIE</a:t>
            </a:r>
            <a:br>
              <a:rPr lang="en-US" sz="1100" kern="0" spc="-50">
                <a:latin typeface="Arial"/>
                <a:ea typeface="Galano Grotesque Medium"/>
                <a:cs typeface="Arial"/>
              </a:rPr>
            </a:br>
            <a:r>
              <a:rPr lang="en-US" sz="1200" kern="0">
                <a:solidFill>
                  <a:srgbClr val="D3D3D3"/>
                </a:solidFill>
                <a:latin typeface="Arial"/>
                <a:ea typeface="Galano Grotesque Medium"/>
                <a:cs typeface="Arial"/>
              </a:rPr>
              <a:t>Gemini</a:t>
            </a:r>
          </a:p>
          <a:p>
            <a:pPr defTabSz="609630">
              <a:lnSpc>
                <a:spcPct val="120832"/>
              </a:lnSpc>
            </a:pPr>
            <a:r>
              <a:rPr lang="en-US" sz="1200" kern="0">
                <a:solidFill>
                  <a:srgbClr val="D3D3D3"/>
                </a:solidFill>
                <a:latin typeface="Arial"/>
                <a:ea typeface="Galano Grotesque Medium"/>
                <a:cs typeface="Arial"/>
              </a:rPr>
              <a:t>OpenAI</a:t>
            </a:r>
          </a:p>
          <a:p>
            <a:pPr defTabSz="609630">
              <a:lnSpc>
                <a:spcPct val="120832"/>
              </a:lnSpc>
            </a:pPr>
            <a:r>
              <a:rPr lang="en-US" sz="1050" kern="0" spc="-50">
                <a:solidFill>
                  <a:srgbClr val="D3D3D3"/>
                </a:solidFill>
                <a:latin typeface="Arial"/>
                <a:ea typeface="Galano Grotesque Medium"/>
                <a:cs typeface="Arial"/>
              </a:rPr>
              <a:t>
</a:t>
            </a:r>
            <a:r>
              <a:rPr lang="en-US" sz="1100" kern="0" spc="-50">
                <a:solidFill>
                  <a:srgbClr val="8088C1"/>
                </a:solidFill>
                <a:latin typeface="Arial"/>
                <a:ea typeface="Galano Grotesque Medium"/>
                <a:cs typeface="Arial"/>
              </a:rPr>
              <a:t>THREAT DATABASES</a:t>
            </a:r>
            <a:br>
              <a:rPr lang="en-US" sz="1100" kern="0" spc="-50">
                <a:latin typeface="Arial"/>
                <a:ea typeface="Galano Grotesque Medium"/>
                <a:cs typeface="Arial"/>
              </a:rPr>
            </a:br>
            <a:r>
              <a:rPr lang="en-US" sz="1200" kern="0">
                <a:solidFill>
                  <a:srgbClr val="D3D3D3"/>
                </a:solidFill>
                <a:latin typeface="Arial"/>
                <a:ea typeface="Galano Grotesque Medium"/>
                <a:cs typeface="Arial"/>
              </a:rPr>
              <a:t>Avira</a:t>
            </a:r>
          </a:p>
          <a:p>
            <a:pPr defTabSz="609630">
              <a:lnSpc>
                <a:spcPct val="120832"/>
              </a:lnSpc>
            </a:pPr>
            <a:endParaRPr lang="en-US" sz="1100" kern="0" spc="-50">
              <a:solidFill>
                <a:srgbClr val="8088C1"/>
              </a:solidFill>
              <a:latin typeface="Arial"/>
              <a:ea typeface="Galano Grotesque Medium"/>
              <a:cs typeface="Arial"/>
            </a:endParaRPr>
          </a:p>
          <a:p>
            <a:pPr defTabSz="609630">
              <a:lnSpc>
                <a:spcPct val="120832"/>
              </a:lnSpc>
            </a:pPr>
            <a:r>
              <a:rPr lang="en-US" sz="1100">
                <a:solidFill>
                  <a:srgbClr val="8088C1"/>
                </a:solidFill>
                <a:latin typeface="Arial"/>
                <a:ea typeface="Galano Grotesque Medium"/>
                <a:cs typeface="Arial"/>
              </a:rPr>
              <a:t>SECURITY PARTNER </a:t>
            </a:r>
            <a:r>
              <a:rPr lang="en-US" sz="1100">
                <a:solidFill>
                  <a:srgbClr val="8088C1"/>
                </a:solidFill>
                <a:latin typeface="Arial"/>
                <a:ea typeface="Galano Grotesque SmBold Italic"/>
                <a:cs typeface="Arial"/>
              </a:rPr>
              <a:t>INTEGRATIONS</a:t>
            </a:r>
            <a:r>
              <a:rPr lang="en-US" sz="1050">
                <a:solidFill>
                  <a:srgbClr val="8088C1"/>
                </a:solidFill>
                <a:latin typeface="Arial"/>
                <a:ea typeface="Galano Grotesque SmBold Italic"/>
                <a:cs typeface="Arial"/>
              </a:rPr>
              <a:t>
</a:t>
            </a:r>
            <a:r>
              <a:rPr lang="en-US" sz="1200" kern="0">
                <a:solidFill>
                  <a:srgbClr val="D3D3D3"/>
                </a:solidFill>
                <a:latin typeface="Arial"/>
                <a:ea typeface="Galano Grotesque Medium"/>
                <a:cs typeface="Arial"/>
              </a:rPr>
              <a:t>CrowdStrike Falcon</a:t>
            </a:r>
          </a:p>
        </p:txBody>
      </p:sp>
      <p:sp>
        <p:nvSpPr>
          <p:cNvPr id="27" name="PROTECT AI WORKLOADS PLATFORMS AND VECTOR DATABASES Databricks Snowflake Pinecone DB EXPAND AI PROTECTION Iceberg S3 Tables AWS Sagemaker DISCOVER  PROTECT AI DATA  MODELS AI Data Governance LLM Prompt Protection">
            <a:extLst>
              <a:ext uri="{FF2B5EF4-FFF2-40B4-BE49-F238E27FC236}">
                <a16:creationId xmlns:a16="http://schemas.microsoft.com/office/drawing/2014/main" id="{8BF50DA4-46B9-416E-6D02-B3F2B386231F}"/>
              </a:ext>
            </a:extLst>
          </p:cNvPr>
          <p:cNvSpPr/>
          <p:nvPr/>
        </p:nvSpPr>
        <p:spPr>
          <a:xfrm>
            <a:off x="812957" y="2755556"/>
            <a:ext cx="2800009" cy="3048260"/>
          </a:xfrm>
          <a:prstGeom prst="rect">
            <a:avLst/>
          </a:prstGeom>
          <a:noFill/>
          <a:ln/>
        </p:spPr>
        <p:txBody>
          <a:bodyPr wrap="square" lIns="0" tIns="0" rIns="0" bIns="0" rtlCol="0" anchor="t"/>
          <a:lstStyle/>
          <a:p>
            <a:pPr defTabSz="609630">
              <a:lnSpc>
                <a:spcPct val="120833"/>
              </a:lnSpc>
            </a:pPr>
            <a:r>
              <a:rPr lang="en-US" sz="1100">
                <a:solidFill>
                  <a:srgbClr val="9483C5"/>
                </a:solidFill>
                <a:latin typeface="Arial"/>
                <a:ea typeface="Galano Grotesque SmBold Italic"/>
                <a:cs typeface="Arial"/>
              </a:rPr>
              <a:t>PROTECT AI WORKLOADS, </a:t>
            </a:r>
            <a:br>
              <a:rPr lang="en-US" sz="1100">
                <a:latin typeface="Arial" panose="020B0604020202020204" pitchFamily="34" charset="0"/>
                <a:cs typeface="Arial" panose="020B0604020202020204" pitchFamily="34" charset="0"/>
              </a:rPr>
            </a:br>
            <a:r>
              <a:rPr lang="en-US" sz="1100">
                <a:solidFill>
                  <a:srgbClr val="9483C5"/>
                </a:solidFill>
                <a:latin typeface="Arial"/>
                <a:ea typeface="Galano Grotesque SmBold Italic"/>
                <a:cs typeface="Arial"/>
              </a:rPr>
              <a:t>PLATFORMS, AND VECTOR DATABASES</a:t>
            </a:r>
            <a:r>
              <a:rPr lang="en-US" sz="1050">
                <a:solidFill>
                  <a:srgbClr val="9483C5"/>
                </a:solidFill>
                <a:latin typeface="Arial"/>
                <a:ea typeface="Galano Grotesque SmBold Italic"/>
                <a:cs typeface="Arial"/>
              </a:rPr>
              <a:t>
</a:t>
            </a:r>
            <a:r>
              <a:rPr lang="en-US" sz="1200" kern="0">
                <a:solidFill>
                  <a:srgbClr val="D3D3D3"/>
                </a:solidFill>
                <a:latin typeface="Arial"/>
                <a:ea typeface="Galano Grotesque Medium"/>
                <a:cs typeface="Arial"/>
              </a:rPr>
              <a:t>Amazon Redshift</a:t>
            </a:r>
          </a:p>
          <a:p>
            <a:pPr defTabSz="609630">
              <a:lnSpc>
                <a:spcPct val="120832"/>
              </a:lnSpc>
            </a:pPr>
            <a:r>
              <a:rPr lang="en-US" sz="1200" kern="0">
                <a:solidFill>
                  <a:srgbClr val="D3D3D3"/>
                </a:solidFill>
                <a:latin typeface="Arial"/>
                <a:ea typeface="Galano Grotesque Medium"/>
                <a:cs typeface="Arial"/>
              </a:rPr>
              <a:t>Google </a:t>
            </a:r>
            <a:r>
              <a:rPr lang="en-US" sz="1200" kern="0" err="1">
                <a:solidFill>
                  <a:srgbClr val="D3D3D3"/>
                </a:solidFill>
                <a:latin typeface="Arial"/>
                <a:ea typeface="Galano Grotesque Medium"/>
                <a:cs typeface="Arial"/>
              </a:rPr>
              <a:t>BigQuery</a:t>
            </a:r>
            <a:endParaRPr lang="en-US" sz="1200" kern="0">
              <a:solidFill>
                <a:srgbClr val="D3D3D3"/>
              </a:solidFill>
              <a:latin typeface="Arial"/>
              <a:ea typeface="Galano Grotesque Medium"/>
              <a:cs typeface="Arial"/>
            </a:endParaRPr>
          </a:p>
          <a:p>
            <a:pPr defTabSz="609630">
              <a:lnSpc>
                <a:spcPct val="120832"/>
              </a:lnSpc>
            </a:pPr>
            <a:r>
              <a:rPr lang="en-US" sz="1200" kern="0">
                <a:solidFill>
                  <a:srgbClr val="D3D3D3"/>
                </a:solidFill>
                <a:latin typeface="Arial"/>
                <a:ea typeface="Galano Grotesque Medium"/>
                <a:cs typeface="Arial"/>
              </a:rPr>
              <a:t>PostgreSQL</a:t>
            </a:r>
            <a:r>
              <a:rPr lang="en-US" sz="1050" kern="0" spc="-50">
                <a:solidFill>
                  <a:srgbClr val="D3D3D3"/>
                </a:solidFill>
                <a:latin typeface="Arial"/>
                <a:ea typeface="Galano Grotesque Regular"/>
                <a:cs typeface="Arial"/>
              </a:rPr>
              <a:t>
</a:t>
            </a:r>
            <a:r>
              <a:rPr lang="en-US" sz="1050" kern="0" spc="-50">
                <a:solidFill>
                  <a:srgbClr val="FFFFFF"/>
                </a:solidFill>
                <a:latin typeface="Arial"/>
                <a:ea typeface="Galano Grotesque SmBold Italic"/>
                <a:cs typeface="Arial"/>
              </a:rPr>
              <a:t>
</a:t>
            </a:r>
            <a:r>
              <a:rPr lang="en-US" sz="1100">
                <a:solidFill>
                  <a:srgbClr val="9483C5"/>
                </a:solidFill>
                <a:latin typeface="Arial"/>
                <a:ea typeface="Galano Grotesque SmBold Italic"/>
                <a:cs typeface="Arial"/>
              </a:rPr>
              <a:t>EXPAND AI PROTECTION</a:t>
            </a:r>
            <a:r>
              <a:rPr lang="en-US" sz="1050">
                <a:solidFill>
                  <a:srgbClr val="9483C5"/>
                </a:solidFill>
                <a:latin typeface="Arial"/>
                <a:ea typeface="Galano Grotesque SmBold Italic"/>
                <a:cs typeface="Arial"/>
              </a:rPr>
              <a:t>
</a:t>
            </a:r>
            <a:r>
              <a:rPr lang="en-US" sz="1200" kern="0">
                <a:solidFill>
                  <a:srgbClr val="D3D3D3"/>
                </a:solidFill>
                <a:latin typeface="Arial"/>
                <a:ea typeface="Galano Grotesque Medium"/>
                <a:cs typeface="Arial"/>
              </a:rPr>
              <a:t>Apache Iceberg</a:t>
            </a:r>
          </a:p>
          <a:p>
            <a:pPr defTabSz="609630">
              <a:lnSpc>
                <a:spcPct val="120832"/>
              </a:lnSpc>
            </a:pPr>
            <a:r>
              <a:rPr lang="en-US" sz="1200" kern="0">
                <a:solidFill>
                  <a:srgbClr val="D3D3D3"/>
                </a:solidFill>
                <a:latin typeface="Arial"/>
                <a:ea typeface="Galano Grotesque Medium"/>
                <a:cs typeface="Arial"/>
              </a:rPr>
              <a:t>Azure Data Lake Storage
Amazon S3</a:t>
            </a:r>
            <a:r>
              <a:rPr lang="en-US" sz="1050" kern="0" spc="-50">
                <a:solidFill>
                  <a:srgbClr val="D3D3D3"/>
                </a:solidFill>
                <a:latin typeface="Arial"/>
                <a:ea typeface="Galano Grotesque Medium"/>
                <a:cs typeface="Arial"/>
              </a:rPr>
              <a:t>
</a:t>
            </a:r>
            <a:r>
              <a:rPr lang="en-US" sz="1050" kern="0" spc="-50">
                <a:solidFill>
                  <a:srgbClr val="FFFFFF"/>
                </a:solidFill>
                <a:latin typeface="Arial"/>
                <a:ea typeface="Galano Grotesque SmBold Italic"/>
                <a:cs typeface="Arial"/>
              </a:rPr>
              <a:t>
</a:t>
            </a:r>
            <a:r>
              <a:rPr lang="en-US" sz="1100" kern="0" spc="-50">
                <a:solidFill>
                  <a:srgbClr val="9483C5"/>
                </a:solidFill>
                <a:latin typeface="Arial"/>
                <a:ea typeface="Galano Grotesque SmBold Italic"/>
                <a:cs typeface="Arial"/>
              </a:rPr>
              <a:t>COMPUTE &amp; DEVOPS INFRASTRUCTURE</a:t>
            </a:r>
            <a:r>
              <a:rPr lang="en-US" sz="1050" kern="0" spc="-50">
                <a:solidFill>
                  <a:srgbClr val="9483C5"/>
                </a:solidFill>
                <a:latin typeface="Arial"/>
                <a:ea typeface="Galano Grotesque SmBold Italic"/>
                <a:cs typeface="Arial"/>
              </a:rPr>
              <a:t>
</a:t>
            </a:r>
            <a:r>
              <a:rPr lang="en-US" sz="1200" kern="0">
                <a:solidFill>
                  <a:srgbClr val="D3D3D3"/>
                </a:solidFill>
                <a:latin typeface="Arial"/>
                <a:ea typeface="Galano Grotesque Medium"/>
                <a:cs typeface="Arial"/>
              </a:rPr>
              <a:t>Azure DevOps
GitHub</a:t>
            </a:r>
            <a:r>
              <a:rPr lang="en-US" sz="1050" kern="0" spc="-50">
                <a:solidFill>
                  <a:srgbClr val="D3D3D3"/>
                </a:solidFill>
                <a:latin typeface="Arial"/>
                <a:ea typeface="Galano Grotesque Medium"/>
                <a:cs typeface="Arial"/>
              </a:rPr>
              <a:t>
</a:t>
            </a:r>
            <a:endParaRPr lang="en-US" sz="1050">
              <a:solidFill>
                <a:prstClr val="black"/>
              </a:solidFill>
              <a:latin typeface="Arial"/>
              <a:ea typeface="Galano Grotesque Medium"/>
              <a:cs typeface="Arial"/>
            </a:endParaRPr>
          </a:p>
        </p:txBody>
      </p:sp>
      <p:sp>
        <p:nvSpPr>
          <p:cNvPr id="28" name="Protect AI">
            <a:extLst>
              <a:ext uri="{FF2B5EF4-FFF2-40B4-BE49-F238E27FC236}">
                <a16:creationId xmlns:a16="http://schemas.microsoft.com/office/drawing/2014/main" id="{8653C4DB-7A3C-3EF4-9385-0D35342490B0}"/>
              </a:ext>
            </a:extLst>
          </p:cNvPr>
          <p:cNvSpPr/>
          <p:nvPr/>
        </p:nvSpPr>
        <p:spPr>
          <a:xfrm>
            <a:off x="1675914" y="1430848"/>
            <a:ext cx="1219200" cy="260350"/>
          </a:xfrm>
          <a:prstGeom prst="rect">
            <a:avLst/>
          </a:prstGeom>
          <a:noFill/>
          <a:ln/>
        </p:spPr>
        <p:txBody>
          <a:bodyPr wrap="square" lIns="0" tIns="0" rIns="0" bIns="0" rtlCol="0" anchor="t"/>
          <a:lstStyle/>
          <a:p>
            <a:pPr defTabSz="609630">
              <a:lnSpc>
                <a:spcPct val="85833"/>
              </a:lnSpc>
            </a:pPr>
            <a:r>
              <a:rPr lang="en-US" sz="2000" kern="0" spc="-50">
                <a:solidFill>
                  <a:srgbClr val="716496"/>
                </a:solidFill>
                <a:latin typeface="Arial" panose="020B0604020202020204" pitchFamily="34" charset="0"/>
                <a:ea typeface="Galano Grotesque Regular" pitchFamily="34" charset="-122"/>
                <a:cs typeface="Arial" panose="020B0604020202020204" pitchFamily="34" charset="0"/>
              </a:rPr>
              <a:t>Protect AI</a:t>
            </a:r>
            <a:endParaRPr lang="en-US" sz="2000">
              <a:solidFill>
                <a:prstClr val="black"/>
              </a:solidFill>
              <a:latin typeface="Arial" panose="020B0604020202020204" pitchFamily="34" charset="0"/>
              <a:cs typeface="Arial" panose="020B0604020202020204" pitchFamily="34" charset="0"/>
            </a:endParaRPr>
          </a:p>
        </p:txBody>
      </p:sp>
      <p:sp>
        <p:nvSpPr>
          <p:cNvPr id="30" name="Extend AI">
            <a:extLst>
              <a:ext uri="{FF2B5EF4-FFF2-40B4-BE49-F238E27FC236}">
                <a16:creationId xmlns:a16="http://schemas.microsoft.com/office/drawing/2014/main" id="{C9086A02-CFE2-94B9-73B4-C7AC77A28ED3}"/>
              </a:ext>
            </a:extLst>
          </p:cNvPr>
          <p:cNvSpPr/>
          <p:nvPr/>
        </p:nvSpPr>
        <p:spPr>
          <a:xfrm>
            <a:off x="9465409" y="1422051"/>
            <a:ext cx="1155709" cy="262827"/>
          </a:xfrm>
          <a:prstGeom prst="rect">
            <a:avLst/>
          </a:prstGeom>
          <a:noFill/>
          <a:ln/>
        </p:spPr>
        <p:txBody>
          <a:bodyPr wrap="square" lIns="0" tIns="0" rIns="0" bIns="0" rtlCol="0" anchor="t"/>
          <a:lstStyle/>
          <a:p>
            <a:pPr defTabSz="609630">
              <a:lnSpc>
                <a:spcPct val="85833"/>
              </a:lnSpc>
            </a:pPr>
            <a:r>
              <a:rPr lang="en-US" sz="2000" kern="0" spc="-50">
                <a:solidFill>
                  <a:srgbClr val="979EBD"/>
                </a:solidFill>
                <a:latin typeface="Arial" panose="020B0604020202020204" pitchFamily="34" charset="0"/>
                <a:ea typeface="Galano Grotesque Regular" pitchFamily="34" charset="-122"/>
                <a:cs typeface="Arial" panose="020B0604020202020204" pitchFamily="34" charset="0"/>
              </a:rPr>
              <a:t>Extend AI</a:t>
            </a:r>
            <a:endParaRPr lang="en-US" sz="2000">
              <a:solidFill>
                <a:prstClr val="black"/>
              </a:solidFill>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A8BB7E60-1D6E-0B15-0D12-B0AFB294C422}"/>
              </a:ext>
            </a:extLst>
          </p:cNvPr>
          <p:cNvSpPr/>
          <p:nvPr/>
        </p:nvSpPr>
        <p:spPr>
          <a:xfrm>
            <a:off x="5056478" y="1378376"/>
            <a:ext cx="2025994" cy="404048"/>
          </a:xfrm>
          <a:prstGeom prst="rect">
            <a:avLst/>
          </a:prstGeom>
          <a:solidFill>
            <a:srgbClr val="0C143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Leverage AI">
            <a:extLst>
              <a:ext uri="{FF2B5EF4-FFF2-40B4-BE49-F238E27FC236}">
                <a16:creationId xmlns:a16="http://schemas.microsoft.com/office/drawing/2014/main" id="{9B4CBB7D-298B-5ECF-25D0-27C56B7777AA}"/>
              </a:ext>
            </a:extLst>
          </p:cNvPr>
          <p:cNvSpPr/>
          <p:nvPr/>
        </p:nvSpPr>
        <p:spPr>
          <a:xfrm>
            <a:off x="5486461" y="1457111"/>
            <a:ext cx="1447799" cy="260350"/>
          </a:xfrm>
          <a:prstGeom prst="rect">
            <a:avLst/>
          </a:prstGeom>
          <a:noFill/>
          <a:ln/>
        </p:spPr>
        <p:txBody>
          <a:bodyPr wrap="square" lIns="0" tIns="0" rIns="0" bIns="0" rtlCol="0" anchor="t"/>
          <a:lstStyle/>
          <a:p>
            <a:pPr defTabSz="609630">
              <a:lnSpc>
                <a:spcPct val="85833"/>
              </a:lnSpc>
            </a:pPr>
            <a:r>
              <a:rPr lang="en-US" sz="2000" kern="0" spc="-50">
                <a:solidFill>
                  <a:srgbClr val="B97DB0"/>
                </a:solidFill>
                <a:latin typeface="Arial" panose="020B0604020202020204" pitchFamily="34" charset="0"/>
                <a:ea typeface="Galano Grotesque Regular" pitchFamily="34" charset="-122"/>
                <a:cs typeface="Arial" panose="020B0604020202020204" pitchFamily="34" charset="0"/>
              </a:rPr>
              <a:t>Leverage AI</a:t>
            </a:r>
            <a:endParaRPr lang="en-US" sz="2000">
              <a:solidFill>
                <a:prstClr val="black"/>
              </a:solidFill>
              <a:latin typeface="Arial" panose="020B0604020202020204" pitchFamily="34" charset="0"/>
              <a:cs typeface="Arial" panose="020B0604020202020204" pitchFamily="34" charset="0"/>
            </a:endParaRPr>
          </a:p>
        </p:txBody>
      </p:sp>
      <p:pic>
        <p:nvPicPr>
          <p:cNvPr id="16" name="Group 48095917" descr="preencoded.png">
            <a:extLst>
              <a:ext uri="{FF2B5EF4-FFF2-40B4-BE49-F238E27FC236}">
                <a16:creationId xmlns:a16="http://schemas.microsoft.com/office/drawing/2014/main" id="{C5B35DB6-CBB8-3CA8-2C21-4C6881A28C7A}"/>
              </a:ext>
            </a:extLst>
          </p:cNvPr>
          <p:cNvPicPr>
            <a:picLocks noChangeAspect="1"/>
          </p:cNvPicPr>
          <p:nvPr/>
        </p:nvPicPr>
        <p:blipFill>
          <a:blip>
            <a:extLst>
              <a:ext uri="{96DAC541-7B7A-43D3-8B79-37D633B846F1}">
                <asvg:svgBlip xmlns:asvg="http://schemas.microsoft.com/office/drawing/2016/SVG/main" r:embed="rId16"/>
              </a:ext>
            </a:extLst>
          </a:blip>
          <a:srcRect/>
          <a:stretch/>
        </p:blipFill>
        <p:spPr>
          <a:xfrm>
            <a:off x="5168913" y="1421748"/>
            <a:ext cx="1765347" cy="260658"/>
          </a:xfrm>
          <a:prstGeom prst="rect">
            <a:avLst/>
          </a:prstGeom>
        </p:spPr>
      </p:pic>
      <p:sp>
        <p:nvSpPr>
          <p:cNvPr id="36" name="Title 8">
            <a:extLst>
              <a:ext uri="{FF2B5EF4-FFF2-40B4-BE49-F238E27FC236}">
                <a16:creationId xmlns:a16="http://schemas.microsoft.com/office/drawing/2014/main" id="{F80D5803-743E-9394-233D-F4EE10EEB143}"/>
              </a:ext>
            </a:extLst>
          </p:cNvPr>
          <p:cNvSpPr txBox="1">
            <a:spLocks/>
          </p:cNvSpPr>
          <p:nvPr/>
        </p:nvSpPr>
        <p:spPr>
          <a:xfrm>
            <a:off x="415596" y="462505"/>
            <a:ext cx="11360808" cy="430887"/>
          </a:xfrm>
          <a:prstGeom prst="rect">
            <a:avLst/>
          </a:prstGeom>
        </p:spPr>
        <p:txBody>
          <a:bodyPr/>
          <a:lstStyle>
            <a:lvl1pPr algn="l" defTabSz="914400" rtl="0" eaLnBrk="1" latinLnBrk="0" hangingPunct="1">
              <a:lnSpc>
                <a:spcPct val="100000"/>
              </a:lnSpc>
              <a:spcBef>
                <a:spcPct val="0"/>
              </a:spcBef>
              <a:buNone/>
              <a:defRPr sz="3600" b="0" kern="1200">
                <a:solidFill>
                  <a:schemeClr val="tx1"/>
                </a:solidFill>
                <a:latin typeface="+mj-lt"/>
                <a:ea typeface="+mj-ea"/>
                <a:cs typeface="+mj-cs"/>
              </a:defRPr>
            </a:lvl1pPr>
          </a:lstStyle>
          <a:p>
            <a:r>
              <a:rPr lang="en-US" sz="2800" kern="0" spc="-100">
                <a:solidFill>
                  <a:srgbClr val="FFFFFF"/>
                </a:solidFill>
                <a:latin typeface="Arial" panose="020B0604020202020204" pitchFamily="34" charset="0"/>
                <a:ea typeface="Galano Grotesque Regular" pitchFamily="34" charset="-122"/>
                <a:cs typeface="Arial" panose="020B0604020202020204" pitchFamily="34" charset="0"/>
              </a:rPr>
              <a:t>For AI. With AI. To Scale AI.</a:t>
            </a:r>
            <a:endParaRPr lang="en-US" sz="2800"/>
          </a:p>
        </p:txBody>
      </p:sp>
      <p:sp>
        <p:nvSpPr>
          <p:cNvPr id="40" name="AI and Next-Generation Data Protection">
            <a:extLst>
              <a:ext uri="{FF2B5EF4-FFF2-40B4-BE49-F238E27FC236}">
                <a16:creationId xmlns:a16="http://schemas.microsoft.com/office/drawing/2014/main" id="{6F7EB7A1-738F-EBD7-A0CD-642B8F4586A3}"/>
              </a:ext>
            </a:extLst>
          </p:cNvPr>
          <p:cNvSpPr/>
          <p:nvPr/>
        </p:nvSpPr>
        <p:spPr>
          <a:xfrm>
            <a:off x="793749" y="2075896"/>
            <a:ext cx="2981633" cy="310693"/>
          </a:xfrm>
          <a:prstGeom prst="rect">
            <a:avLst/>
          </a:prstGeom>
          <a:noFill/>
          <a:ln/>
        </p:spPr>
        <p:txBody>
          <a:bodyPr wrap="square" lIns="0" tIns="0" rIns="0" bIns="0" rtlCol="0" anchor="ctr"/>
          <a:lstStyle/>
          <a:p>
            <a:pPr defTabSz="609630">
              <a:lnSpc>
                <a:spcPct val="91667"/>
              </a:lnSpc>
            </a:pPr>
            <a:r>
              <a:rPr lang="en-US" sz="1400" kern="0" spc="-50">
                <a:solidFill>
                  <a:srgbClr val="FFFFFF"/>
                </a:solidFill>
                <a:latin typeface="Arial" panose="020B0604020202020204" pitchFamily="34" charset="0"/>
                <a:ea typeface="Galano Grotesque Medium" pitchFamily="34" charset="-122"/>
                <a:cs typeface="Arial" panose="020B0604020202020204" pitchFamily="34" charset="0"/>
              </a:rPr>
              <a:t>AI and Next-Generation Data Protection</a:t>
            </a:r>
            <a:endParaRPr lang="en-US" sz="1400">
              <a:solidFill>
                <a:prstClr val="black"/>
              </a:solidFill>
              <a:latin typeface="Arial" panose="020B0604020202020204" pitchFamily="34" charset="0"/>
              <a:cs typeface="Arial" panose="020B0604020202020204" pitchFamily="34" charset="0"/>
            </a:endParaRPr>
          </a:p>
        </p:txBody>
      </p:sp>
      <p:sp>
        <p:nvSpPr>
          <p:cNvPr id="42" name="AI-Powered Cyber Resilience">
            <a:extLst>
              <a:ext uri="{FF2B5EF4-FFF2-40B4-BE49-F238E27FC236}">
                <a16:creationId xmlns:a16="http://schemas.microsoft.com/office/drawing/2014/main" id="{ED57F42A-6BAE-23AE-5ACE-1741986B198B}"/>
              </a:ext>
            </a:extLst>
          </p:cNvPr>
          <p:cNvSpPr/>
          <p:nvPr/>
        </p:nvSpPr>
        <p:spPr>
          <a:xfrm>
            <a:off x="4736308" y="2125512"/>
            <a:ext cx="2432420" cy="246495"/>
          </a:xfrm>
          <a:prstGeom prst="rect">
            <a:avLst/>
          </a:prstGeom>
          <a:noFill/>
          <a:ln/>
        </p:spPr>
        <p:txBody>
          <a:bodyPr wrap="square" lIns="0" tIns="0" rIns="0" bIns="0" rtlCol="0" anchor="ctr"/>
          <a:lstStyle/>
          <a:p>
            <a:pPr defTabSz="609630">
              <a:lnSpc>
                <a:spcPct val="91667"/>
              </a:lnSpc>
            </a:pPr>
            <a:r>
              <a:rPr lang="en-US" sz="1400" kern="0" spc="-50">
                <a:solidFill>
                  <a:srgbClr val="FFFFFF"/>
                </a:solidFill>
                <a:latin typeface="Arial"/>
                <a:ea typeface="Galano Grotesque Medium"/>
                <a:cs typeface="Arial"/>
              </a:rPr>
              <a:t>AI-Enabled Cyber Resilience</a:t>
            </a:r>
            <a:endParaRPr lang="en-US" sz="1400">
              <a:solidFill>
                <a:prstClr val="black"/>
              </a:solidFill>
              <a:latin typeface="Arial"/>
              <a:ea typeface="Galano Grotesque Medium"/>
              <a:cs typeface="Arial"/>
            </a:endParaRPr>
          </a:p>
        </p:txBody>
      </p:sp>
      <p:sp>
        <p:nvSpPr>
          <p:cNvPr id="44" name="AIData Integrations and Ecosystem">
            <a:extLst>
              <a:ext uri="{FF2B5EF4-FFF2-40B4-BE49-F238E27FC236}">
                <a16:creationId xmlns:a16="http://schemas.microsoft.com/office/drawing/2014/main" id="{E60F18F2-2BE6-1634-1DCE-109A0B56B936}"/>
              </a:ext>
            </a:extLst>
          </p:cNvPr>
          <p:cNvSpPr/>
          <p:nvPr/>
        </p:nvSpPr>
        <p:spPr>
          <a:xfrm>
            <a:off x="8569594" y="2125511"/>
            <a:ext cx="2727055" cy="246496"/>
          </a:xfrm>
          <a:prstGeom prst="rect">
            <a:avLst/>
          </a:prstGeom>
          <a:noFill/>
          <a:ln/>
        </p:spPr>
        <p:txBody>
          <a:bodyPr wrap="square" lIns="0" tIns="0" rIns="0" bIns="0" rtlCol="0" anchor="ctr"/>
          <a:lstStyle/>
          <a:p>
            <a:pPr defTabSz="609630">
              <a:lnSpc>
                <a:spcPct val="91667"/>
              </a:lnSpc>
            </a:pPr>
            <a:r>
              <a:rPr lang="en-US" sz="1400" kern="0" spc="-50">
                <a:solidFill>
                  <a:srgbClr val="FFFFFF"/>
                </a:solidFill>
                <a:latin typeface="Arial" panose="020B0604020202020204" pitchFamily="34" charset="0"/>
                <a:ea typeface="Galano Grotesque Medium" pitchFamily="34" charset="-122"/>
                <a:cs typeface="Arial" panose="020B0604020202020204" pitchFamily="34" charset="0"/>
              </a:rPr>
              <a:t>AI/Data Integrations and Ecosystem</a:t>
            </a:r>
            <a:endParaRPr lang="en-US" sz="1400">
              <a:solidFill>
                <a:prstClr val="black"/>
              </a:solidFill>
              <a:latin typeface="Arial" panose="020B0604020202020204" pitchFamily="34" charset="0"/>
              <a:cs typeface="Arial" panose="020B0604020202020204" pitchFamily="34" charset="0"/>
            </a:endParaRPr>
          </a:p>
        </p:txBody>
      </p:sp>
      <p:sp>
        <p:nvSpPr>
          <p:cNvPr id="9" name="Footer Placeholder 2">
            <a:extLst>
              <a:ext uri="{FF2B5EF4-FFF2-40B4-BE49-F238E27FC236}">
                <a16:creationId xmlns:a16="http://schemas.microsoft.com/office/drawing/2014/main" id="{507A4248-EF23-02D2-F93A-985C5D6A1049}"/>
              </a:ext>
            </a:extLst>
          </p:cNvPr>
          <p:cNvSpPr txBox="1">
            <a:spLocks/>
          </p:cNvSpPr>
          <p:nvPr/>
        </p:nvSpPr>
        <p:spPr>
          <a:xfrm>
            <a:off x="10172700" y="6344667"/>
            <a:ext cx="1123950" cy="28336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800">
                <a:solidFill>
                  <a:srgbClr val="FFFFFF"/>
                </a:solidFill>
                <a:latin typeface="Arial" panose="020B0604020202020204"/>
              </a:rPr>
              <a:t>© Commvault 2025</a:t>
            </a:r>
          </a:p>
        </p:txBody>
      </p:sp>
      <p:sp>
        <p:nvSpPr>
          <p:cNvPr id="12" name="Slide Number Placeholder 4">
            <a:extLst>
              <a:ext uri="{FF2B5EF4-FFF2-40B4-BE49-F238E27FC236}">
                <a16:creationId xmlns:a16="http://schemas.microsoft.com/office/drawing/2014/main" id="{8ED425C2-3CA8-C124-CCAC-587A0E3BB81C}"/>
              </a:ext>
            </a:extLst>
          </p:cNvPr>
          <p:cNvSpPr txBox="1">
            <a:spLocks/>
          </p:cNvSpPr>
          <p:nvPr/>
        </p:nvSpPr>
        <p:spPr>
          <a:xfrm>
            <a:off x="11403176" y="6377920"/>
            <a:ext cx="373227" cy="25577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71676EBD-8486-AA4B-82C3-0598DF1E43FA}" type="slidenum">
              <a:rPr lang="en-US" sz="800" smtClean="0">
                <a:solidFill>
                  <a:srgbClr val="FFFFFF"/>
                </a:solidFill>
                <a:latin typeface="Arial" panose="020B0604020202020204"/>
              </a:rPr>
              <a:pPr algn="r">
                <a:defRPr/>
              </a:pPr>
              <a:t>18</a:t>
            </a:fld>
            <a:endParaRPr lang="en-US" sz="800">
              <a:solidFill>
                <a:srgbClr val="FFFFFF"/>
              </a:solidFill>
              <a:latin typeface="Arial" panose="020B0604020202020204"/>
            </a:endParaRPr>
          </a:p>
        </p:txBody>
      </p:sp>
      <p:pic>
        <p:nvPicPr>
          <p:cNvPr id="18" name="Graphic 17">
            <a:extLst>
              <a:ext uri="{FF2B5EF4-FFF2-40B4-BE49-F238E27FC236}">
                <a16:creationId xmlns:a16="http://schemas.microsoft.com/office/drawing/2014/main" id="{7DEBA23B-9211-7071-58AE-B695EEC45404}"/>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400017" y="6364123"/>
            <a:ext cx="1484309" cy="283368"/>
          </a:xfrm>
          <a:prstGeom prst="rect">
            <a:avLst/>
          </a:prstGeom>
        </p:spPr>
      </p:pic>
    </p:spTree>
    <p:extLst>
      <p:ext uri="{BB962C8B-B14F-4D97-AF65-F5344CB8AC3E}">
        <p14:creationId xmlns:p14="http://schemas.microsoft.com/office/powerpoint/2010/main" val="39041858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F9FA3-B738-EF43-7F39-15DCA9A49D3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67777A7A-7786-9261-6A9A-5F95B89F4A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5" name="think-cell data - do not delete" hidden="1">
                        <a:extLst>
                          <a:ext uri="{FF2B5EF4-FFF2-40B4-BE49-F238E27FC236}">
                            <a16:creationId xmlns:a16="http://schemas.microsoft.com/office/drawing/2014/main" id="{67777A7A-7786-9261-6A9A-5F95B89F4A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5" name="Picture 34">
            <a:extLst>
              <a:ext uri="{FF2B5EF4-FFF2-40B4-BE49-F238E27FC236}">
                <a16:creationId xmlns:a16="http://schemas.microsoft.com/office/drawing/2014/main" id="{794EEEB9-34AC-5AF1-1480-0B58E557E546}"/>
              </a:ext>
            </a:extLst>
          </p:cNvPr>
          <p:cNvPicPr>
            <a:picLocks noChangeAspect="1"/>
          </p:cNvPicPr>
          <p:nvPr/>
        </p:nvPicPr>
        <p:blipFill>
          <a:blip r:embed="rId6">
            <a:alphaModFix amt="30000"/>
          </a:blip>
          <a:stretch>
            <a:fillRect/>
          </a:stretch>
        </p:blipFill>
        <p:spPr>
          <a:xfrm>
            <a:off x="1623353" y="4674644"/>
            <a:ext cx="3296256" cy="1741639"/>
          </a:xfrm>
          <a:prstGeom prst="rect">
            <a:avLst/>
          </a:prstGeom>
        </p:spPr>
      </p:pic>
      <p:pic>
        <p:nvPicPr>
          <p:cNvPr id="18" name="Picture 17">
            <a:extLst>
              <a:ext uri="{FF2B5EF4-FFF2-40B4-BE49-F238E27FC236}">
                <a16:creationId xmlns:a16="http://schemas.microsoft.com/office/drawing/2014/main" id="{7C7282D1-68E6-0C1A-9EAB-A92534E6AFD8}"/>
              </a:ext>
            </a:extLst>
          </p:cNvPr>
          <p:cNvPicPr>
            <a:picLocks noChangeAspect="1"/>
          </p:cNvPicPr>
          <p:nvPr/>
        </p:nvPicPr>
        <p:blipFill>
          <a:blip r:embed="rId6">
            <a:alphaModFix amt="40000"/>
          </a:blip>
          <a:stretch>
            <a:fillRect/>
          </a:stretch>
        </p:blipFill>
        <p:spPr>
          <a:xfrm>
            <a:off x="5609603" y="597898"/>
            <a:ext cx="5839519" cy="3085419"/>
          </a:xfrm>
          <a:prstGeom prst="rect">
            <a:avLst/>
          </a:prstGeom>
        </p:spPr>
      </p:pic>
      <p:sp>
        <p:nvSpPr>
          <p:cNvPr id="26" name="Footer Placeholder 25">
            <a:extLst>
              <a:ext uri="{FF2B5EF4-FFF2-40B4-BE49-F238E27FC236}">
                <a16:creationId xmlns:a16="http://schemas.microsoft.com/office/drawing/2014/main" id="{2419E921-48D6-066E-7C9A-BFDCE0339825}"/>
              </a:ext>
            </a:extLst>
          </p:cNvPr>
          <p:cNvSpPr>
            <a:spLocks noGrp="1"/>
          </p:cNvSpPr>
          <p:nvPr>
            <p:ph type="ftr"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panose="020B0604020202020204"/>
                <a:ea typeface="+mn-ea"/>
                <a:cs typeface="+mn-cs"/>
              </a:rPr>
              <a:t>© Commvault 2025</a:t>
            </a:r>
          </a:p>
        </p:txBody>
      </p:sp>
      <p:sp>
        <p:nvSpPr>
          <p:cNvPr id="27" name="Slide Number Placeholder 26">
            <a:extLst>
              <a:ext uri="{FF2B5EF4-FFF2-40B4-BE49-F238E27FC236}">
                <a16:creationId xmlns:a16="http://schemas.microsoft.com/office/drawing/2014/main" id="{133BF41A-ACCF-5EC5-A1EE-07D0EE8C4A02}"/>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676EBD-8486-AA4B-82C3-0598DF1E43FA}" type="slidenum">
              <a:rPr kumimoji="0" lang="en-US" sz="8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Title 21">
            <a:extLst>
              <a:ext uri="{FF2B5EF4-FFF2-40B4-BE49-F238E27FC236}">
                <a16:creationId xmlns:a16="http://schemas.microsoft.com/office/drawing/2014/main" id="{4B989C4A-F638-CB15-94B3-71A1EF08B25B}"/>
              </a:ext>
            </a:extLst>
          </p:cNvPr>
          <p:cNvSpPr>
            <a:spLocks noGrp="1"/>
          </p:cNvSpPr>
          <p:nvPr>
            <p:ph type="title"/>
          </p:nvPr>
        </p:nvSpPr>
        <p:spPr>
          <a:xfrm>
            <a:off x="415596" y="462505"/>
            <a:ext cx="11360808" cy="430887"/>
          </a:xfrm>
        </p:spPr>
        <p:txBody>
          <a:bodyPr vert="horz"/>
          <a:lstStyle/>
          <a:p>
            <a:r>
              <a:rPr lang="en-US"/>
              <a:t>Commvault Cloud Unity | One Platform. Unified Resilience.</a:t>
            </a:r>
          </a:p>
        </p:txBody>
      </p:sp>
      <p:sp>
        <p:nvSpPr>
          <p:cNvPr id="29" name="Rounded Rectangle 28">
            <a:extLst>
              <a:ext uri="{FF2B5EF4-FFF2-40B4-BE49-F238E27FC236}">
                <a16:creationId xmlns:a16="http://schemas.microsoft.com/office/drawing/2014/main" id="{C79F8B26-CB83-BEB0-15EC-17E4BBBB0111}"/>
              </a:ext>
            </a:extLst>
          </p:cNvPr>
          <p:cNvSpPr/>
          <p:nvPr/>
        </p:nvSpPr>
        <p:spPr>
          <a:xfrm rot="10800000">
            <a:off x="2875656" y="2209535"/>
            <a:ext cx="1751812" cy="2286260"/>
          </a:xfrm>
          <a:prstGeom prst="roundRect">
            <a:avLst/>
          </a:prstGeom>
          <a:solidFill>
            <a:srgbClr val="B97DB0">
              <a:alpha val="49914"/>
            </a:srgbClr>
          </a:solidFill>
          <a:ln w="7657" cap="flat">
            <a:noFill/>
            <a:prstDash val="solid"/>
            <a:miter/>
          </a:ln>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ounded Rectangle 30">
            <a:extLst>
              <a:ext uri="{FF2B5EF4-FFF2-40B4-BE49-F238E27FC236}">
                <a16:creationId xmlns:a16="http://schemas.microsoft.com/office/drawing/2014/main" id="{372D85CE-3C43-0CA8-F410-0DCCE98D8B27}"/>
              </a:ext>
            </a:extLst>
          </p:cNvPr>
          <p:cNvSpPr/>
          <p:nvPr/>
        </p:nvSpPr>
        <p:spPr>
          <a:xfrm rot="10800000">
            <a:off x="5242842" y="2209535"/>
            <a:ext cx="1751812" cy="2286260"/>
          </a:xfrm>
          <a:prstGeom prst="roundRect">
            <a:avLst/>
          </a:prstGeom>
          <a:solidFill>
            <a:schemeClr val="accent1">
              <a:alpha val="49914"/>
            </a:schemeClr>
          </a:solidFill>
          <a:ln w="7657" cap="flat">
            <a:noFill/>
            <a:prstDash val="solid"/>
            <a:miter/>
          </a:ln>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Rounded Rectangle 19">
            <a:extLst>
              <a:ext uri="{FF2B5EF4-FFF2-40B4-BE49-F238E27FC236}">
                <a16:creationId xmlns:a16="http://schemas.microsoft.com/office/drawing/2014/main" id="{5D4E79D1-06A9-4C58-D45A-0B214772F5AA}"/>
              </a:ext>
            </a:extLst>
          </p:cNvPr>
          <p:cNvSpPr/>
          <p:nvPr/>
        </p:nvSpPr>
        <p:spPr>
          <a:xfrm rot="10800000">
            <a:off x="508470" y="2209535"/>
            <a:ext cx="1751812" cy="2286260"/>
          </a:xfrm>
          <a:prstGeom prst="roundRect">
            <a:avLst/>
          </a:prstGeom>
          <a:solidFill>
            <a:schemeClr val="accent1">
              <a:lumMod val="60000"/>
              <a:lumOff val="40000"/>
              <a:alpha val="49914"/>
            </a:schemeClr>
          </a:solidFill>
          <a:ln w="7657" cap="flat">
            <a:noFill/>
            <a:prstDash val="solid"/>
            <a:miter/>
          </a:ln>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Freeform 3">
            <a:extLst>
              <a:ext uri="{FF2B5EF4-FFF2-40B4-BE49-F238E27FC236}">
                <a16:creationId xmlns:a16="http://schemas.microsoft.com/office/drawing/2014/main" id="{52F2755E-3918-FDD9-D222-5419A78C3FD1}"/>
              </a:ext>
            </a:extLst>
          </p:cNvPr>
          <p:cNvSpPr/>
          <p:nvPr/>
        </p:nvSpPr>
        <p:spPr>
          <a:xfrm>
            <a:off x="359531" y="2071868"/>
            <a:ext cx="2053805" cy="2561593"/>
          </a:xfrm>
          <a:custGeom>
            <a:avLst/>
            <a:gdLst>
              <a:gd name="connsiteX0" fmla="*/ 1684273 w 2053926"/>
              <a:gd name="connsiteY0" fmla="*/ 2561745 h 2561744"/>
              <a:gd name="connsiteX1" fmla="*/ 369514 w 2053926"/>
              <a:gd name="connsiteY1" fmla="*/ 2561745 h 2561744"/>
              <a:gd name="connsiteX2" fmla="*/ 0 w 2053926"/>
              <a:gd name="connsiteY2" fmla="*/ 2192120 h 2561744"/>
              <a:gd name="connsiteX3" fmla="*/ 0 w 2053926"/>
              <a:gd name="connsiteY3" fmla="*/ 369660 h 2561744"/>
              <a:gd name="connsiteX4" fmla="*/ 369514 w 2053926"/>
              <a:gd name="connsiteY4" fmla="*/ 0 h 2561744"/>
              <a:gd name="connsiteX5" fmla="*/ 1684273 w 2053926"/>
              <a:gd name="connsiteY5" fmla="*/ 0 h 2561744"/>
              <a:gd name="connsiteX6" fmla="*/ 2053926 w 2053926"/>
              <a:gd name="connsiteY6" fmla="*/ 369660 h 2561744"/>
              <a:gd name="connsiteX7" fmla="*/ 2043617 w 2053926"/>
              <a:gd name="connsiteY7" fmla="*/ 378802 h 2561744"/>
              <a:gd name="connsiteX8" fmla="*/ 2034474 w 2053926"/>
              <a:gd name="connsiteY8" fmla="*/ 369660 h 2561744"/>
              <a:gd name="connsiteX9" fmla="*/ 1684273 w 2053926"/>
              <a:gd name="connsiteY9" fmla="*/ 19450 h 2561744"/>
              <a:gd name="connsiteX10" fmla="*/ 369514 w 2053926"/>
              <a:gd name="connsiteY10" fmla="*/ 19450 h 2561744"/>
              <a:gd name="connsiteX11" fmla="*/ 19312 w 2053926"/>
              <a:gd name="connsiteY11" fmla="*/ 369660 h 2561744"/>
              <a:gd name="connsiteX12" fmla="*/ 19312 w 2053926"/>
              <a:gd name="connsiteY12" fmla="*/ 2192120 h 2561744"/>
              <a:gd name="connsiteX13" fmla="*/ 369514 w 2053926"/>
              <a:gd name="connsiteY13" fmla="*/ 2542295 h 2561744"/>
              <a:gd name="connsiteX14" fmla="*/ 1684273 w 2053926"/>
              <a:gd name="connsiteY14" fmla="*/ 2542295 h 2561744"/>
              <a:gd name="connsiteX15" fmla="*/ 2034475 w 2053926"/>
              <a:gd name="connsiteY15" fmla="*/ 2192120 h 2561744"/>
              <a:gd name="connsiteX16" fmla="*/ 2034475 w 2053926"/>
              <a:gd name="connsiteY16" fmla="*/ 1917476 h 2561744"/>
              <a:gd name="connsiteX17" fmla="*/ 2044784 w 2053926"/>
              <a:gd name="connsiteY17" fmla="*/ 1908334 h 2561744"/>
              <a:gd name="connsiteX18" fmla="*/ 2053927 w 2053926"/>
              <a:gd name="connsiteY18" fmla="*/ 1917476 h 2561744"/>
              <a:gd name="connsiteX19" fmla="*/ 2053927 w 2053926"/>
              <a:gd name="connsiteY19" fmla="*/ 2192120 h 2561744"/>
              <a:gd name="connsiteX20" fmla="*/ 1684273 w 2053926"/>
              <a:gd name="connsiteY20" fmla="*/ 2561745 h 25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3926" h="2561744">
                <a:moveTo>
                  <a:pt x="1684273" y="2561745"/>
                </a:moveTo>
                <a:lnTo>
                  <a:pt x="369514" y="2561745"/>
                </a:lnTo>
                <a:cubicBezTo>
                  <a:pt x="165534" y="2561380"/>
                  <a:pt x="288" y="2396084"/>
                  <a:pt x="0" y="2192120"/>
                </a:cubicBezTo>
                <a:lnTo>
                  <a:pt x="0" y="369660"/>
                </a:lnTo>
                <a:cubicBezTo>
                  <a:pt x="269" y="165682"/>
                  <a:pt x="165520" y="365"/>
                  <a:pt x="369514" y="0"/>
                </a:cubicBezTo>
                <a:lnTo>
                  <a:pt x="1684273" y="0"/>
                </a:lnTo>
                <a:cubicBezTo>
                  <a:pt x="1888321" y="289"/>
                  <a:pt x="2053657" y="165628"/>
                  <a:pt x="2053926" y="369660"/>
                </a:cubicBezTo>
                <a:cubicBezTo>
                  <a:pt x="2053604" y="375031"/>
                  <a:pt x="2048989" y="379124"/>
                  <a:pt x="2043617" y="378802"/>
                </a:cubicBezTo>
                <a:cubicBezTo>
                  <a:pt x="2038695" y="378507"/>
                  <a:pt x="2034769" y="374582"/>
                  <a:pt x="2034474" y="369660"/>
                </a:cubicBezTo>
                <a:cubicBezTo>
                  <a:pt x="2034263" y="176346"/>
                  <a:pt x="1877602" y="19681"/>
                  <a:pt x="1684273" y="19450"/>
                </a:cubicBezTo>
                <a:lnTo>
                  <a:pt x="369514" y="19450"/>
                </a:lnTo>
                <a:cubicBezTo>
                  <a:pt x="176185" y="19681"/>
                  <a:pt x="19524" y="176346"/>
                  <a:pt x="19312" y="369660"/>
                </a:cubicBezTo>
                <a:lnTo>
                  <a:pt x="19312" y="2192120"/>
                </a:lnTo>
                <a:cubicBezTo>
                  <a:pt x="19524" y="2385429"/>
                  <a:pt x="176191" y="2542083"/>
                  <a:pt x="369514" y="2542295"/>
                </a:cubicBezTo>
                <a:lnTo>
                  <a:pt x="1684273" y="2542295"/>
                </a:lnTo>
                <a:cubicBezTo>
                  <a:pt x="1877596" y="2542083"/>
                  <a:pt x="2034263" y="2385429"/>
                  <a:pt x="2034475" y="2192120"/>
                </a:cubicBezTo>
                <a:lnTo>
                  <a:pt x="2034475" y="1917476"/>
                </a:lnTo>
                <a:cubicBezTo>
                  <a:pt x="2034797" y="1912105"/>
                  <a:pt x="2039412" y="1908012"/>
                  <a:pt x="2044784" y="1908334"/>
                </a:cubicBezTo>
                <a:cubicBezTo>
                  <a:pt x="2049706" y="1908629"/>
                  <a:pt x="2053632" y="1912555"/>
                  <a:pt x="2053927" y="1917476"/>
                </a:cubicBezTo>
                <a:lnTo>
                  <a:pt x="2053927" y="2192120"/>
                </a:lnTo>
                <a:cubicBezTo>
                  <a:pt x="2053638" y="2396138"/>
                  <a:pt x="1888307" y="2561456"/>
                  <a:pt x="1684273" y="2561745"/>
                </a:cubicBezTo>
                <a:close/>
              </a:path>
            </a:pathLst>
          </a:custGeom>
          <a:solidFill>
            <a:schemeClr val="accent5"/>
          </a:solidFill>
          <a:ln w="34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Freeform 4">
            <a:extLst>
              <a:ext uri="{FF2B5EF4-FFF2-40B4-BE49-F238E27FC236}">
                <a16:creationId xmlns:a16="http://schemas.microsoft.com/office/drawing/2014/main" id="{F6A211B8-3330-AB3A-590E-682FD0610474}"/>
              </a:ext>
            </a:extLst>
          </p:cNvPr>
          <p:cNvSpPr/>
          <p:nvPr/>
        </p:nvSpPr>
        <p:spPr>
          <a:xfrm>
            <a:off x="2721998" y="2071868"/>
            <a:ext cx="2053944" cy="491502"/>
          </a:xfrm>
          <a:custGeom>
            <a:avLst/>
            <a:gdLst>
              <a:gd name="connsiteX0" fmla="*/ 9709 w 2054065"/>
              <a:gd name="connsiteY0" fmla="*/ 491530 h 491530"/>
              <a:gd name="connsiteX1" fmla="*/ 0 w 2054065"/>
              <a:gd name="connsiteY1" fmla="*/ 481822 h 491530"/>
              <a:gd name="connsiteX2" fmla="*/ 0 w 2054065"/>
              <a:gd name="connsiteY2" fmla="*/ 369660 h 491530"/>
              <a:gd name="connsiteX3" fmla="*/ 369654 w 2054065"/>
              <a:gd name="connsiteY3" fmla="*/ 0 h 491530"/>
              <a:gd name="connsiteX4" fmla="*/ 1684377 w 2054065"/>
              <a:gd name="connsiteY4" fmla="*/ 0 h 491530"/>
              <a:gd name="connsiteX5" fmla="*/ 2054066 w 2054065"/>
              <a:gd name="connsiteY5" fmla="*/ 369660 h 491530"/>
              <a:gd name="connsiteX6" fmla="*/ 2043757 w 2054065"/>
              <a:gd name="connsiteY6" fmla="*/ 378802 h 491530"/>
              <a:gd name="connsiteX7" fmla="*/ 2034614 w 2054065"/>
              <a:gd name="connsiteY7" fmla="*/ 369660 h 491530"/>
              <a:gd name="connsiteX8" fmla="*/ 1684377 w 2054065"/>
              <a:gd name="connsiteY8" fmla="*/ 19450 h 491530"/>
              <a:gd name="connsiteX9" fmla="*/ 369654 w 2054065"/>
              <a:gd name="connsiteY9" fmla="*/ 19450 h 491530"/>
              <a:gd name="connsiteX10" fmla="*/ 19452 w 2054065"/>
              <a:gd name="connsiteY10" fmla="*/ 369660 h 491530"/>
              <a:gd name="connsiteX11" fmla="*/ 19452 w 2054065"/>
              <a:gd name="connsiteY11" fmla="*/ 481822 h 491530"/>
              <a:gd name="connsiteX12" fmla="*/ 9708 w 2054065"/>
              <a:gd name="connsiteY12" fmla="*/ 491530 h 491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54065" h="491530">
                <a:moveTo>
                  <a:pt x="9709" y="491530"/>
                </a:moveTo>
                <a:cubicBezTo>
                  <a:pt x="4347" y="491530"/>
                  <a:pt x="0" y="487184"/>
                  <a:pt x="0" y="481822"/>
                </a:cubicBezTo>
                <a:lnTo>
                  <a:pt x="0" y="369660"/>
                </a:lnTo>
                <a:cubicBezTo>
                  <a:pt x="269" y="165628"/>
                  <a:pt x="165606" y="288"/>
                  <a:pt x="369654" y="0"/>
                </a:cubicBezTo>
                <a:lnTo>
                  <a:pt x="1684377" y="0"/>
                </a:lnTo>
                <a:cubicBezTo>
                  <a:pt x="1888439" y="269"/>
                  <a:pt x="2053796" y="165614"/>
                  <a:pt x="2054066" y="369660"/>
                </a:cubicBezTo>
                <a:cubicBezTo>
                  <a:pt x="2053744" y="375031"/>
                  <a:pt x="2049129" y="379124"/>
                  <a:pt x="2043757" y="378802"/>
                </a:cubicBezTo>
                <a:cubicBezTo>
                  <a:pt x="2038835" y="378507"/>
                  <a:pt x="2034909" y="374582"/>
                  <a:pt x="2034614" y="369660"/>
                </a:cubicBezTo>
                <a:cubicBezTo>
                  <a:pt x="2034402" y="176332"/>
                  <a:pt x="1877720" y="19662"/>
                  <a:pt x="1684377" y="19450"/>
                </a:cubicBezTo>
                <a:lnTo>
                  <a:pt x="369654" y="19450"/>
                </a:lnTo>
                <a:cubicBezTo>
                  <a:pt x="176324" y="19681"/>
                  <a:pt x="19663" y="176346"/>
                  <a:pt x="19452" y="369660"/>
                </a:cubicBezTo>
                <a:lnTo>
                  <a:pt x="19452" y="481822"/>
                </a:lnTo>
                <a:cubicBezTo>
                  <a:pt x="19432" y="487189"/>
                  <a:pt x="15076" y="491530"/>
                  <a:pt x="9708" y="491530"/>
                </a:cubicBezTo>
                <a:close/>
              </a:path>
            </a:pathLst>
          </a:custGeom>
          <a:solidFill>
            <a:srgbClr val="6E74B7"/>
          </a:solidFill>
          <a:ln w="34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Freeform 5">
            <a:extLst>
              <a:ext uri="{FF2B5EF4-FFF2-40B4-BE49-F238E27FC236}">
                <a16:creationId xmlns:a16="http://schemas.microsoft.com/office/drawing/2014/main" id="{ADC8CBB5-0B47-9924-87C3-5FBD689E1DD2}"/>
              </a:ext>
            </a:extLst>
          </p:cNvPr>
          <p:cNvSpPr/>
          <p:nvPr/>
        </p:nvSpPr>
        <p:spPr>
          <a:xfrm>
            <a:off x="2721998" y="3980072"/>
            <a:ext cx="2053944" cy="653390"/>
          </a:xfrm>
          <a:custGeom>
            <a:avLst/>
            <a:gdLst>
              <a:gd name="connsiteX0" fmla="*/ 1684377 w 2054065"/>
              <a:gd name="connsiteY0" fmla="*/ 653429 h 653428"/>
              <a:gd name="connsiteX1" fmla="*/ 369654 w 2054065"/>
              <a:gd name="connsiteY1" fmla="*/ 653429 h 653428"/>
              <a:gd name="connsiteX2" fmla="*/ 0 w 2054065"/>
              <a:gd name="connsiteY2" fmla="*/ 283804 h 653428"/>
              <a:gd name="connsiteX3" fmla="*/ 0 w 2054065"/>
              <a:gd name="connsiteY3" fmla="*/ 9160 h 653428"/>
              <a:gd name="connsiteX4" fmla="*/ 10309 w 2054065"/>
              <a:gd name="connsiteY4" fmla="*/ 18 h 653428"/>
              <a:gd name="connsiteX5" fmla="*/ 19452 w 2054065"/>
              <a:gd name="connsiteY5" fmla="*/ 9160 h 653428"/>
              <a:gd name="connsiteX6" fmla="*/ 19452 w 2054065"/>
              <a:gd name="connsiteY6" fmla="*/ 283804 h 653428"/>
              <a:gd name="connsiteX7" fmla="*/ 369654 w 2054065"/>
              <a:gd name="connsiteY7" fmla="*/ 633979 h 653428"/>
              <a:gd name="connsiteX8" fmla="*/ 1684377 w 2054065"/>
              <a:gd name="connsiteY8" fmla="*/ 633979 h 653428"/>
              <a:gd name="connsiteX9" fmla="*/ 2034614 w 2054065"/>
              <a:gd name="connsiteY9" fmla="*/ 283804 h 653428"/>
              <a:gd name="connsiteX10" fmla="*/ 2034614 w 2054065"/>
              <a:gd name="connsiteY10" fmla="*/ 9160 h 653428"/>
              <a:gd name="connsiteX11" fmla="*/ 2044923 w 2054065"/>
              <a:gd name="connsiteY11" fmla="*/ 18 h 653428"/>
              <a:gd name="connsiteX12" fmla="*/ 2054066 w 2054065"/>
              <a:gd name="connsiteY12" fmla="*/ 9160 h 653428"/>
              <a:gd name="connsiteX13" fmla="*/ 2054066 w 2054065"/>
              <a:gd name="connsiteY13" fmla="*/ 283804 h 653428"/>
              <a:gd name="connsiteX14" fmla="*/ 1684377 w 2054065"/>
              <a:gd name="connsiteY14" fmla="*/ 653429 h 65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54065" h="653428">
                <a:moveTo>
                  <a:pt x="1684377" y="653429"/>
                </a:moveTo>
                <a:lnTo>
                  <a:pt x="369654" y="653429"/>
                </a:lnTo>
                <a:cubicBezTo>
                  <a:pt x="165619" y="653140"/>
                  <a:pt x="289" y="487822"/>
                  <a:pt x="0" y="283804"/>
                </a:cubicBezTo>
                <a:lnTo>
                  <a:pt x="0" y="9160"/>
                </a:lnTo>
                <a:cubicBezTo>
                  <a:pt x="322" y="3789"/>
                  <a:pt x="4937" y="-304"/>
                  <a:pt x="10309" y="18"/>
                </a:cubicBezTo>
                <a:cubicBezTo>
                  <a:pt x="15231" y="313"/>
                  <a:pt x="19157" y="4238"/>
                  <a:pt x="19452" y="9160"/>
                </a:cubicBezTo>
                <a:lnTo>
                  <a:pt x="19452" y="283804"/>
                </a:lnTo>
                <a:cubicBezTo>
                  <a:pt x="19663" y="477112"/>
                  <a:pt x="176330" y="633767"/>
                  <a:pt x="369654" y="633979"/>
                </a:cubicBezTo>
                <a:lnTo>
                  <a:pt x="1684377" y="633979"/>
                </a:lnTo>
                <a:cubicBezTo>
                  <a:pt x="1877706" y="633767"/>
                  <a:pt x="2034383" y="477118"/>
                  <a:pt x="2034614" y="283804"/>
                </a:cubicBezTo>
                <a:lnTo>
                  <a:pt x="2034614" y="9160"/>
                </a:lnTo>
                <a:cubicBezTo>
                  <a:pt x="2034936" y="3789"/>
                  <a:pt x="2039552" y="-304"/>
                  <a:pt x="2044923" y="18"/>
                </a:cubicBezTo>
                <a:cubicBezTo>
                  <a:pt x="2049845" y="313"/>
                  <a:pt x="2053771" y="4238"/>
                  <a:pt x="2054066" y="9160"/>
                </a:cubicBezTo>
                <a:lnTo>
                  <a:pt x="2054066" y="283804"/>
                </a:lnTo>
                <a:cubicBezTo>
                  <a:pt x="2053777" y="487836"/>
                  <a:pt x="1888425" y="653159"/>
                  <a:pt x="1684377" y="653429"/>
                </a:cubicBezTo>
                <a:close/>
              </a:path>
            </a:pathLst>
          </a:custGeom>
          <a:solidFill>
            <a:schemeClr val="accent5"/>
          </a:solidFill>
          <a:ln w="34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Freeform 6">
            <a:extLst>
              <a:ext uri="{FF2B5EF4-FFF2-40B4-BE49-F238E27FC236}">
                <a16:creationId xmlns:a16="http://schemas.microsoft.com/office/drawing/2014/main" id="{4D435CDA-DA20-B024-5660-C080FE9D5A8A}"/>
              </a:ext>
            </a:extLst>
          </p:cNvPr>
          <p:cNvSpPr/>
          <p:nvPr/>
        </p:nvSpPr>
        <p:spPr>
          <a:xfrm>
            <a:off x="2393868" y="2431181"/>
            <a:ext cx="347579" cy="1501937"/>
          </a:xfrm>
          <a:custGeom>
            <a:avLst/>
            <a:gdLst>
              <a:gd name="connsiteX0" fmla="*/ 173792 w 347600"/>
              <a:gd name="connsiteY0" fmla="*/ 1502026 h 1502026"/>
              <a:gd name="connsiteX1" fmla="*/ 18 w 347600"/>
              <a:gd name="connsiteY1" fmla="*/ 1328266 h 1502026"/>
              <a:gd name="connsiteX2" fmla="*/ 18 w 347600"/>
              <a:gd name="connsiteY2" fmla="*/ 10326 h 1502026"/>
              <a:gd name="connsiteX3" fmla="*/ 9161 w 347600"/>
              <a:gd name="connsiteY3" fmla="*/ 18 h 1502026"/>
              <a:gd name="connsiteX4" fmla="*/ 19470 w 347600"/>
              <a:gd name="connsiteY4" fmla="*/ 9160 h 1502026"/>
              <a:gd name="connsiteX5" fmla="*/ 19470 w 347600"/>
              <a:gd name="connsiteY5" fmla="*/ 10326 h 1502026"/>
              <a:gd name="connsiteX6" fmla="*/ 19470 w 347600"/>
              <a:gd name="connsiteY6" fmla="*/ 1328266 h 1502026"/>
              <a:gd name="connsiteX7" fmla="*/ 176131 w 347600"/>
              <a:gd name="connsiteY7" fmla="*/ 1480272 h 1502026"/>
              <a:gd name="connsiteX8" fmla="*/ 328149 w 347600"/>
              <a:gd name="connsiteY8" fmla="*/ 1328266 h 1502026"/>
              <a:gd name="connsiteX9" fmla="*/ 328149 w 347600"/>
              <a:gd name="connsiteY9" fmla="*/ 246139 h 1502026"/>
              <a:gd name="connsiteX10" fmla="*/ 338458 w 347600"/>
              <a:gd name="connsiteY10" fmla="*/ 236997 h 1502026"/>
              <a:gd name="connsiteX11" fmla="*/ 347600 w 347600"/>
              <a:gd name="connsiteY11" fmla="*/ 246139 h 1502026"/>
              <a:gd name="connsiteX12" fmla="*/ 347600 w 347600"/>
              <a:gd name="connsiteY12" fmla="*/ 1328266 h 1502026"/>
              <a:gd name="connsiteX13" fmla="*/ 173791 w 347600"/>
              <a:gd name="connsiteY13" fmla="*/ 1502026 h 150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7600" h="1502026">
                <a:moveTo>
                  <a:pt x="173792" y="1502026"/>
                </a:moveTo>
                <a:cubicBezTo>
                  <a:pt x="77859" y="1501930"/>
                  <a:pt x="114" y="1424191"/>
                  <a:pt x="18" y="1328266"/>
                </a:cubicBezTo>
                <a:lnTo>
                  <a:pt x="18" y="10326"/>
                </a:lnTo>
                <a:cubicBezTo>
                  <a:pt x="-304" y="4955"/>
                  <a:pt x="3789" y="340"/>
                  <a:pt x="9161" y="18"/>
                </a:cubicBezTo>
                <a:cubicBezTo>
                  <a:pt x="14532" y="-304"/>
                  <a:pt x="19148" y="3789"/>
                  <a:pt x="19470" y="9160"/>
                </a:cubicBezTo>
                <a:cubicBezTo>
                  <a:pt x="19493" y="9548"/>
                  <a:pt x="19493" y="9938"/>
                  <a:pt x="19470" y="10326"/>
                </a:cubicBezTo>
                <a:lnTo>
                  <a:pt x="19470" y="1328266"/>
                </a:lnTo>
                <a:cubicBezTo>
                  <a:pt x="20752" y="1413499"/>
                  <a:pt x="90891" y="1481554"/>
                  <a:pt x="176131" y="1480272"/>
                </a:cubicBezTo>
                <a:cubicBezTo>
                  <a:pt x="259562" y="1479017"/>
                  <a:pt x="326894" y="1411691"/>
                  <a:pt x="328149" y="1328266"/>
                </a:cubicBezTo>
                <a:lnTo>
                  <a:pt x="328149" y="246139"/>
                </a:lnTo>
                <a:cubicBezTo>
                  <a:pt x="328471" y="240768"/>
                  <a:pt x="333086" y="236675"/>
                  <a:pt x="338458" y="236997"/>
                </a:cubicBezTo>
                <a:cubicBezTo>
                  <a:pt x="343380" y="237292"/>
                  <a:pt x="347305" y="241217"/>
                  <a:pt x="347600" y="246139"/>
                </a:cubicBezTo>
                <a:lnTo>
                  <a:pt x="347600" y="1328266"/>
                </a:lnTo>
                <a:cubicBezTo>
                  <a:pt x="347485" y="1424197"/>
                  <a:pt x="269730" y="1501930"/>
                  <a:pt x="173791" y="1502026"/>
                </a:cubicBezTo>
                <a:close/>
              </a:path>
            </a:pathLst>
          </a:custGeom>
          <a:solidFill>
            <a:schemeClr val="accent5"/>
          </a:solidFill>
          <a:ln w="34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 name="Freeform 7">
            <a:extLst>
              <a:ext uri="{FF2B5EF4-FFF2-40B4-BE49-F238E27FC236}">
                <a16:creationId xmlns:a16="http://schemas.microsoft.com/office/drawing/2014/main" id="{33DAA52A-8029-F387-D570-11348771FC5F}"/>
              </a:ext>
            </a:extLst>
          </p:cNvPr>
          <p:cNvSpPr/>
          <p:nvPr/>
        </p:nvSpPr>
        <p:spPr>
          <a:xfrm>
            <a:off x="2692560" y="2638022"/>
            <a:ext cx="78292" cy="78285"/>
          </a:xfrm>
          <a:custGeom>
            <a:avLst/>
            <a:gdLst>
              <a:gd name="connsiteX0" fmla="*/ 78296 w 78296"/>
              <a:gd name="connsiteY0" fmla="*/ 39145 h 78289"/>
              <a:gd name="connsiteX1" fmla="*/ 39148 w 78296"/>
              <a:gd name="connsiteY1" fmla="*/ 78290 h 78289"/>
              <a:gd name="connsiteX2" fmla="*/ 0 w 78296"/>
              <a:gd name="connsiteY2" fmla="*/ 39145 h 78289"/>
              <a:gd name="connsiteX3" fmla="*/ 39148 w 78296"/>
              <a:gd name="connsiteY3" fmla="*/ 0 h 78289"/>
              <a:gd name="connsiteX4" fmla="*/ 78296 w 78296"/>
              <a:gd name="connsiteY4" fmla="*/ 39145 h 78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96" h="78289">
                <a:moveTo>
                  <a:pt x="78296" y="39145"/>
                </a:moveTo>
                <a:cubicBezTo>
                  <a:pt x="78296" y="60764"/>
                  <a:pt x="60769" y="78290"/>
                  <a:pt x="39148" y="78290"/>
                </a:cubicBezTo>
                <a:cubicBezTo>
                  <a:pt x="17527" y="78290"/>
                  <a:pt x="0" y="60764"/>
                  <a:pt x="0" y="39145"/>
                </a:cubicBezTo>
                <a:cubicBezTo>
                  <a:pt x="0" y="17526"/>
                  <a:pt x="17528" y="0"/>
                  <a:pt x="39148" y="0"/>
                </a:cubicBezTo>
                <a:cubicBezTo>
                  <a:pt x="60769" y="0"/>
                  <a:pt x="78296" y="17526"/>
                  <a:pt x="78296" y="39145"/>
                </a:cubicBezTo>
                <a:close/>
              </a:path>
            </a:pathLst>
          </a:custGeom>
          <a:solidFill>
            <a:schemeClr val="accent5"/>
          </a:solidFill>
          <a:ln w="34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Freeform 8">
            <a:extLst>
              <a:ext uri="{FF2B5EF4-FFF2-40B4-BE49-F238E27FC236}">
                <a16:creationId xmlns:a16="http://schemas.microsoft.com/office/drawing/2014/main" id="{141D5663-0A22-AEDC-B256-165F9FC7E818}"/>
              </a:ext>
            </a:extLst>
          </p:cNvPr>
          <p:cNvSpPr/>
          <p:nvPr/>
        </p:nvSpPr>
        <p:spPr>
          <a:xfrm>
            <a:off x="4756473" y="2431181"/>
            <a:ext cx="347579" cy="1501937"/>
          </a:xfrm>
          <a:custGeom>
            <a:avLst/>
            <a:gdLst>
              <a:gd name="connsiteX0" fmla="*/ 173792 w 347600"/>
              <a:gd name="connsiteY0" fmla="*/ 1502026 h 1502026"/>
              <a:gd name="connsiteX1" fmla="*/ 18 w 347600"/>
              <a:gd name="connsiteY1" fmla="*/ 1328266 h 1502026"/>
              <a:gd name="connsiteX2" fmla="*/ 18 w 347600"/>
              <a:gd name="connsiteY2" fmla="*/ 10326 h 1502026"/>
              <a:gd name="connsiteX3" fmla="*/ 9161 w 347600"/>
              <a:gd name="connsiteY3" fmla="*/ 18 h 1502026"/>
              <a:gd name="connsiteX4" fmla="*/ 19469 w 347600"/>
              <a:gd name="connsiteY4" fmla="*/ 9160 h 1502026"/>
              <a:gd name="connsiteX5" fmla="*/ 19469 w 347600"/>
              <a:gd name="connsiteY5" fmla="*/ 10326 h 1502026"/>
              <a:gd name="connsiteX6" fmla="*/ 19469 w 347600"/>
              <a:gd name="connsiteY6" fmla="*/ 1328266 h 1502026"/>
              <a:gd name="connsiteX7" fmla="*/ 173791 w 347600"/>
              <a:gd name="connsiteY7" fmla="*/ 1482576 h 1502026"/>
              <a:gd name="connsiteX8" fmla="*/ 328113 w 347600"/>
              <a:gd name="connsiteY8" fmla="*/ 1328266 h 1502026"/>
              <a:gd name="connsiteX9" fmla="*/ 328114 w 347600"/>
              <a:gd name="connsiteY9" fmla="*/ 246139 h 1502026"/>
              <a:gd name="connsiteX10" fmla="*/ 337857 w 347600"/>
              <a:gd name="connsiteY10" fmla="*/ 236396 h 1502026"/>
              <a:gd name="connsiteX11" fmla="*/ 347601 w 347600"/>
              <a:gd name="connsiteY11" fmla="*/ 246139 h 1502026"/>
              <a:gd name="connsiteX12" fmla="*/ 347601 w 347600"/>
              <a:gd name="connsiteY12" fmla="*/ 1328266 h 1502026"/>
              <a:gd name="connsiteX13" fmla="*/ 173792 w 347600"/>
              <a:gd name="connsiteY13" fmla="*/ 1502026 h 150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7600" h="1502026">
                <a:moveTo>
                  <a:pt x="173792" y="1502026"/>
                </a:moveTo>
                <a:cubicBezTo>
                  <a:pt x="77859" y="1501930"/>
                  <a:pt x="114" y="1424191"/>
                  <a:pt x="18" y="1328266"/>
                </a:cubicBezTo>
                <a:lnTo>
                  <a:pt x="18" y="10326"/>
                </a:lnTo>
                <a:cubicBezTo>
                  <a:pt x="-304" y="4955"/>
                  <a:pt x="3789" y="340"/>
                  <a:pt x="9161" y="18"/>
                </a:cubicBezTo>
                <a:cubicBezTo>
                  <a:pt x="14532" y="-304"/>
                  <a:pt x="19147" y="3789"/>
                  <a:pt x="19469" y="9160"/>
                </a:cubicBezTo>
                <a:cubicBezTo>
                  <a:pt x="19493" y="9548"/>
                  <a:pt x="19493" y="9938"/>
                  <a:pt x="19469" y="10326"/>
                </a:cubicBezTo>
                <a:lnTo>
                  <a:pt x="19469" y="1328266"/>
                </a:lnTo>
                <a:cubicBezTo>
                  <a:pt x="19469" y="1413489"/>
                  <a:pt x="88562" y="1482576"/>
                  <a:pt x="173791" y="1482576"/>
                </a:cubicBezTo>
                <a:cubicBezTo>
                  <a:pt x="259021" y="1482576"/>
                  <a:pt x="328113" y="1413489"/>
                  <a:pt x="328113" y="1328266"/>
                </a:cubicBezTo>
                <a:lnTo>
                  <a:pt x="328114" y="246139"/>
                </a:lnTo>
                <a:cubicBezTo>
                  <a:pt x="328114" y="240758"/>
                  <a:pt x="332476" y="236396"/>
                  <a:pt x="337857" y="236396"/>
                </a:cubicBezTo>
                <a:cubicBezTo>
                  <a:pt x="343238" y="236396"/>
                  <a:pt x="347601" y="240758"/>
                  <a:pt x="347601" y="246139"/>
                </a:cubicBezTo>
                <a:lnTo>
                  <a:pt x="347601" y="1328266"/>
                </a:lnTo>
                <a:cubicBezTo>
                  <a:pt x="347485" y="1424197"/>
                  <a:pt x="269730" y="1501930"/>
                  <a:pt x="173792" y="1502026"/>
                </a:cubicBezTo>
                <a:close/>
              </a:path>
            </a:pathLst>
          </a:custGeom>
          <a:solidFill>
            <a:schemeClr val="accent5"/>
          </a:solidFill>
          <a:ln w="34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Freeform 9">
            <a:extLst>
              <a:ext uri="{FF2B5EF4-FFF2-40B4-BE49-F238E27FC236}">
                <a16:creationId xmlns:a16="http://schemas.microsoft.com/office/drawing/2014/main" id="{737FD844-94E1-0F4E-729F-15B48FED2F10}"/>
              </a:ext>
            </a:extLst>
          </p:cNvPr>
          <p:cNvSpPr/>
          <p:nvPr/>
        </p:nvSpPr>
        <p:spPr>
          <a:xfrm>
            <a:off x="5055165" y="2638163"/>
            <a:ext cx="78290" cy="78285"/>
          </a:xfrm>
          <a:custGeom>
            <a:avLst/>
            <a:gdLst>
              <a:gd name="connsiteX0" fmla="*/ 78296 w 78295"/>
              <a:gd name="connsiteY0" fmla="*/ 39145 h 78290"/>
              <a:gd name="connsiteX1" fmla="*/ 39148 w 78295"/>
              <a:gd name="connsiteY1" fmla="*/ 78290 h 78290"/>
              <a:gd name="connsiteX2" fmla="*/ 0 w 78295"/>
              <a:gd name="connsiteY2" fmla="*/ 39145 h 78290"/>
              <a:gd name="connsiteX3" fmla="*/ 39148 w 78295"/>
              <a:gd name="connsiteY3" fmla="*/ 0 h 78290"/>
              <a:gd name="connsiteX4" fmla="*/ 78296 w 78295"/>
              <a:gd name="connsiteY4" fmla="*/ 39145 h 7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95" h="78290">
                <a:moveTo>
                  <a:pt x="78296" y="39145"/>
                </a:moveTo>
                <a:cubicBezTo>
                  <a:pt x="78296" y="60764"/>
                  <a:pt x="60768" y="78290"/>
                  <a:pt x="39148" y="78290"/>
                </a:cubicBezTo>
                <a:cubicBezTo>
                  <a:pt x="17527" y="78290"/>
                  <a:pt x="0" y="60764"/>
                  <a:pt x="0" y="39145"/>
                </a:cubicBezTo>
                <a:cubicBezTo>
                  <a:pt x="0" y="17526"/>
                  <a:pt x="17527" y="0"/>
                  <a:pt x="39148" y="0"/>
                </a:cubicBezTo>
                <a:cubicBezTo>
                  <a:pt x="60769" y="0"/>
                  <a:pt x="78296" y="17526"/>
                  <a:pt x="78296" y="39145"/>
                </a:cubicBezTo>
                <a:close/>
              </a:path>
            </a:pathLst>
          </a:custGeom>
          <a:solidFill>
            <a:schemeClr val="accent5"/>
          </a:solidFill>
          <a:ln w="34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 name="Freeform 10">
            <a:extLst>
              <a:ext uri="{FF2B5EF4-FFF2-40B4-BE49-F238E27FC236}">
                <a16:creationId xmlns:a16="http://schemas.microsoft.com/office/drawing/2014/main" id="{C618F07F-EA00-438E-4289-7422D4F317BE}"/>
              </a:ext>
            </a:extLst>
          </p:cNvPr>
          <p:cNvSpPr/>
          <p:nvPr/>
        </p:nvSpPr>
        <p:spPr>
          <a:xfrm>
            <a:off x="7430505" y="2072616"/>
            <a:ext cx="2053947" cy="491502"/>
          </a:xfrm>
          <a:custGeom>
            <a:avLst/>
            <a:gdLst>
              <a:gd name="connsiteX0" fmla="*/ 9709 w 2054067"/>
              <a:gd name="connsiteY0" fmla="*/ 491530 h 491530"/>
              <a:gd name="connsiteX1" fmla="*/ 0 w 2054067"/>
              <a:gd name="connsiteY1" fmla="*/ 481822 h 491530"/>
              <a:gd name="connsiteX2" fmla="*/ 0 w 2054067"/>
              <a:gd name="connsiteY2" fmla="*/ 369660 h 491530"/>
              <a:gd name="connsiteX3" fmla="*/ 369654 w 2054067"/>
              <a:gd name="connsiteY3" fmla="*/ 0 h 491530"/>
              <a:gd name="connsiteX4" fmla="*/ 1684378 w 2054067"/>
              <a:gd name="connsiteY4" fmla="*/ 0 h 491530"/>
              <a:gd name="connsiteX5" fmla="*/ 2054067 w 2054067"/>
              <a:gd name="connsiteY5" fmla="*/ 369660 h 491530"/>
              <a:gd name="connsiteX6" fmla="*/ 2043758 w 2054067"/>
              <a:gd name="connsiteY6" fmla="*/ 378802 h 491530"/>
              <a:gd name="connsiteX7" fmla="*/ 2034616 w 2054067"/>
              <a:gd name="connsiteY7" fmla="*/ 369660 h 491530"/>
              <a:gd name="connsiteX8" fmla="*/ 1684379 w 2054067"/>
              <a:gd name="connsiteY8" fmla="*/ 19450 h 491530"/>
              <a:gd name="connsiteX9" fmla="*/ 369654 w 2054067"/>
              <a:gd name="connsiteY9" fmla="*/ 19450 h 491530"/>
              <a:gd name="connsiteX10" fmla="*/ 19452 w 2054067"/>
              <a:gd name="connsiteY10" fmla="*/ 369660 h 491530"/>
              <a:gd name="connsiteX11" fmla="*/ 19452 w 2054067"/>
              <a:gd name="connsiteY11" fmla="*/ 481822 h 491530"/>
              <a:gd name="connsiteX12" fmla="*/ 9709 w 2054067"/>
              <a:gd name="connsiteY12" fmla="*/ 491530 h 491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54067" h="491530">
                <a:moveTo>
                  <a:pt x="9709" y="491530"/>
                </a:moveTo>
                <a:cubicBezTo>
                  <a:pt x="4347" y="491530"/>
                  <a:pt x="0" y="487184"/>
                  <a:pt x="0" y="481822"/>
                </a:cubicBezTo>
                <a:lnTo>
                  <a:pt x="0" y="369660"/>
                </a:lnTo>
                <a:cubicBezTo>
                  <a:pt x="270" y="165628"/>
                  <a:pt x="165606" y="288"/>
                  <a:pt x="369654" y="0"/>
                </a:cubicBezTo>
                <a:lnTo>
                  <a:pt x="1684378" y="0"/>
                </a:lnTo>
                <a:cubicBezTo>
                  <a:pt x="1888440" y="269"/>
                  <a:pt x="2053798" y="165614"/>
                  <a:pt x="2054067" y="369660"/>
                </a:cubicBezTo>
                <a:cubicBezTo>
                  <a:pt x="2053745" y="375031"/>
                  <a:pt x="2049130" y="379124"/>
                  <a:pt x="2043758" y="378802"/>
                </a:cubicBezTo>
                <a:cubicBezTo>
                  <a:pt x="2038836" y="378507"/>
                  <a:pt x="2034911" y="374582"/>
                  <a:pt x="2034616" y="369660"/>
                </a:cubicBezTo>
                <a:cubicBezTo>
                  <a:pt x="2034405" y="176332"/>
                  <a:pt x="1877722" y="19662"/>
                  <a:pt x="1684379" y="19450"/>
                </a:cubicBezTo>
                <a:lnTo>
                  <a:pt x="369654" y="19450"/>
                </a:lnTo>
                <a:cubicBezTo>
                  <a:pt x="176325" y="19681"/>
                  <a:pt x="19664" y="176346"/>
                  <a:pt x="19452" y="369660"/>
                </a:cubicBezTo>
                <a:lnTo>
                  <a:pt x="19452" y="481822"/>
                </a:lnTo>
                <a:cubicBezTo>
                  <a:pt x="19433" y="487189"/>
                  <a:pt x="15076" y="491530"/>
                  <a:pt x="9709" y="491530"/>
                </a:cubicBezTo>
                <a:close/>
              </a:path>
            </a:pathLst>
          </a:custGeom>
          <a:solidFill>
            <a:schemeClr val="accent5"/>
          </a:solidFill>
          <a:ln w="34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FD32C0D7-6D20-B8D4-57D5-D57B6CE54724}"/>
              </a:ext>
            </a:extLst>
          </p:cNvPr>
          <p:cNvSpPr txBox="1"/>
          <p:nvPr/>
        </p:nvSpPr>
        <p:spPr>
          <a:xfrm>
            <a:off x="672273" y="2418975"/>
            <a:ext cx="5283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01</a:t>
            </a:r>
          </a:p>
        </p:txBody>
      </p:sp>
      <p:sp>
        <p:nvSpPr>
          <p:cNvPr id="24" name="TextBox 23">
            <a:extLst>
              <a:ext uri="{FF2B5EF4-FFF2-40B4-BE49-F238E27FC236}">
                <a16:creationId xmlns:a16="http://schemas.microsoft.com/office/drawing/2014/main" id="{95F1DD6A-B1B2-DA44-C295-8537A78DBEFA}"/>
              </a:ext>
            </a:extLst>
          </p:cNvPr>
          <p:cNvSpPr txBox="1"/>
          <p:nvPr/>
        </p:nvSpPr>
        <p:spPr>
          <a:xfrm>
            <a:off x="3044304" y="2418975"/>
            <a:ext cx="65767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02</a:t>
            </a:r>
          </a:p>
        </p:txBody>
      </p:sp>
      <p:sp>
        <p:nvSpPr>
          <p:cNvPr id="28" name="TextBox 27">
            <a:extLst>
              <a:ext uri="{FF2B5EF4-FFF2-40B4-BE49-F238E27FC236}">
                <a16:creationId xmlns:a16="http://schemas.microsoft.com/office/drawing/2014/main" id="{9662CFB7-9177-500A-2C0A-B51E733A4159}"/>
              </a:ext>
            </a:extLst>
          </p:cNvPr>
          <p:cNvSpPr txBox="1"/>
          <p:nvPr/>
        </p:nvSpPr>
        <p:spPr>
          <a:xfrm>
            <a:off x="5360429" y="2418975"/>
            <a:ext cx="53859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03</a:t>
            </a:r>
          </a:p>
        </p:txBody>
      </p:sp>
      <p:cxnSp>
        <p:nvCxnSpPr>
          <p:cNvPr id="30" name="Straight Connector 29">
            <a:extLst>
              <a:ext uri="{FF2B5EF4-FFF2-40B4-BE49-F238E27FC236}">
                <a16:creationId xmlns:a16="http://schemas.microsoft.com/office/drawing/2014/main" id="{FAF70788-79CF-3716-CC97-FCDD81F54521}"/>
              </a:ext>
            </a:extLst>
          </p:cNvPr>
          <p:cNvCxnSpPr>
            <a:cxnSpLocks/>
          </p:cNvCxnSpPr>
          <p:nvPr/>
        </p:nvCxnSpPr>
        <p:spPr>
          <a:xfrm>
            <a:off x="722765" y="2896966"/>
            <a:ext cx="13290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F1D626F-A277-DA10-D437-66E65B93C098}"/>
              </a:ext>
            </a:extLst>
          </p:cNvPr>
          <p:cNvCxnSpPr>
            <a:cxnSpLocks/>
          </p:cNvCxnSpPr>
          <p:nvPr/>
        </p:nvCxnSpPr>
        <p:spPr>
          <a:xfrm>
            <a:off x="3097147" y="2896966"/>
            <a:ext cx="13290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510A18E-462E-0C4E-E994-39C1AE440DC5}"/>
              </a:ext>
            </a:extLst>
          </p:cNvPr>
          <p:cNvCxnSpPr>
            <a:cxnSpLocks/>
          </p:cNvCxnSpPr>
          <p:nvPr/>
        </p:nvCxnSpPr>
        <p:spPr>
          <a:xfrm>
            <a:off x="5443969" y="2896966"/>
            <a:ext cx="13290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reeform 4">
            <a:extLst>
              <a:ext uri="{FF2B5EF4-FFF2-40B4-BE49-F238E27FC236}">
                <a16:creationId xmlns:a16="http://schemas.microsoft.com/office/drawing/2014/main" id="{D7EE3156-83BB-523E-9EEF-69BD8231AFD9}"/>
              </a:ext>
            </a:extLst>
          </p:cNvPr>
          <p:cNvSpPr/>
          <p:nvPr/>
        </p:nvSpPr>
        <p:spPr>
          <a:xfrm>
            <a:off x="5081242" y="2072616"/>
            <a:ext cx="2053944" cy="491502"/>
          </a:xfrm>
          <a:custGeom>
            <a:avLst/>
            <a:gdLst>
              <a:gd name="connsiteX0" fmla="*/ 9709 w 2054065"/>
              <a:gd name="connsiteY0" fmla="*/ 491530 h 491530"/>
              <a:gd name="connsiteX1" fmla="*/ 0 w 2054065"/>
              <a:gd name="connsiteY1" fmla="*/ 481822 h 491530"/>
              <a:gd name="connsiteX2" fmla="*/ 0 w 2054065"/>
              <a:gd name="connsiteY2" fmla="*/ 369660 h 491530"/>
              <a:gd name="connsiteX3" fmla="*/ 369654 w 2054065"/>
              <a:gd name="connsiteY3" fmla="*/ 0 h 491530"/>
              <a:gd name="connsiteX4" fmla="*/ 1684377 w 2054065"/>
              <a:gd name="connsiteY4" fmla="*/ 0 h 491530"/>
              <a:gd name="connsiteX5" fmla="*/ 2054066 w 2054065"/>
              <a:gd name="connsiteY5" fmla="*/ 369660 h 491530"/>
              <a:gd name="connsiteX6" fmla="*/ 2043757 w 2054065"/>
              <a:gd name="connsiteY6" fmla="*/ 378802 h 491530"/>
              <a:gd name="connsiteX7" fmla="*/ 2034614 w 2054065"/>
              <a:gd name="connsiteY7" fmla="*/ 369660 h 491530"/>
              <a:gd name="connsiteX8" fmla="*/ 1684377 w 2054065"/>
              <a:gd name="connsiteY8" fmla="*/ 19450 h 491530"/>
              <a:gd name="connsiteX9" fmla="*/ 369654 w 2054065"/>
              <a:gd name="connsiteY9" fmla="*/ 19450 h 491530"/>
              <a:gd name="connsiteX10" fmla="*/ 19452 w 2054065"/>
              <a:gd name="connsiteY10" fmla="*/ 369660 h 491530"/>
              <a:gd name="connsiteX11" fmla="*/ 19452 w 2054065"/>
              <a:gd name="connsiteY11" fmla="*/ 481822 h 491530"/>
              <a:gd name="connsiteX12" fmla="*/ 9708 w 2054065"/>
              <a:gd name="connsiteY12" fmla="*/ 491530 h 491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54065" h="491530">
                <a:moveTo>
                  <a:pt x="9709" y="491530"/>
                </a:moveTo>
                <a:cubicBezTo>
                  <a:pt x="4347" y="491530"/>
                  <a:pt x="0" y="487184"/>
                  <a:pt x="0" y="481822"/>
                </a:cubicBezTo>
                <a:lnTo>
                  <a:pt x="0" y="369660"/>
                </a:lnTo>
                <a:cubicBezTo>
                  <a:pt x="269" y="165628"/>
                  <a:pt x="165606" y="288"/>
                  <a:pt x="369654" y="0"/>
                </a:cubicBezTo>
                <a:lnTo>
                  <a:pt x="1684377" y="0"/>
                </a:lnTo>
                <a:cubicBezTo>
                  <a:pt x="1888439" y="269"/>
                  <a:pt x="2053796" y="165614"/>
                  <a:pt x="2054066" y="369660"/>
                </a:cubicBezTo>
                <a:cubicBezTo>
                  <a:pt x="2053744" y="375031"/>
                  <a:pt x="2049129" y="379124"/>
                  <a:pt x="2043757" y="378802"/>
                </a:cubicBezTo>
                <a:cubicBezTo>
                  <a:pt x="2038835" y="378507"/>
                  <a:pt x="2034909" y="374582"/>
                  <a:pt x="2034614" y="369660"/>
                </a:cubicBezTo>
                <a:cubicBezTo>
                  <a:pt x="2034402" y="176332"/>
                  <a:pt x="1877720" y="19662"/>
                  <a:pt x="1684377" y="19450"/>
                </a:cubicBezTo>
                <a:lnTo>
                  <a:pt x="369654" y="19450"/>
                </a:lnTo>
                <a:cubicBezTo>
                  <a:pt x="176324" y="19681"/>
                  <a:pt x="19663" y="176346"/>
                  <a:pt x="19452" y="369660"/>
                </a:cubicBezTo>
                <a:lnTo>
                  <a:pt x="19452" y="481822"/>
                </a:lnTo>
                <a:cubicBezTo>
                  <a:pt x="19432" y="487189"/>
                  <a:pt x="15076" y="491530"/>
                  <a:pt x="9708" y="491530"/>
                </a:cubicBezTo>
                <a:close/>
              </a:path>
            </a:pathLst>
          </a:custGeom>
          <a:solidFill>
            <a:srgbClr val="6E74B7"/>
          </a:solidFill>
          <a:ln w="34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 name="Freeform 5">
            <a:extLst>
              <a:ext uri="{FF2B5EF4-FFF2-40B4-BE49-F238E27FC236}">
                <a16:creationId xmlns:a16="http://schemas.microsoft.com/office/drawing/2014/main" id="{24622FAE-EABC-CF92-52C4-608B828A650E}"/>
              </a:ext>
            </a:extLst>
          </p:cNvPr>
          <p:cNvSpPr/>
          <p:nvPr/>
        </p:nvSpPr>
        <p:spPr>
          <a:xfrm>
            <a:off x="5081242" y="3980819"/>
            <a:ext cx="2053944" cy="653390"/>
          </a:xfrm>
          <a:custGeom>
            <a:avLst/>
            <a:gdLst>
              <a:gd name="connsiteX0" fmla="*/ 1684377 w 2054065"/>
              <a:gd name="connsiteY0" fmla="*/ 653429 h 653428"/>
              <a:gd name="connsiteX1" fmla="*/ 369654 w 2054065"/>
              <a:gd name="connsiteY1" fmla="*/ 653429 h 653428"/>
              <a:gd name="connsiteX2" fmla="*/ 0 w 2054065"/>
              <a:gd name="connsiteY2" fmla="*/ 283804 h 653428"/>
              <a:gd name="connsiteX3" fmla="*/ 0 w 2054065"/>
              <a:gd name="connsiteY3" fmla="*/ 9160 h 653428"/>
              <a:gd name="connsiteX4" fmla="*/ 10309 w 2054065"/>
              <a:gd name="connsiteY4" fmla="*/ 18 h 653428"/>
              <a:gd name="connsiteX5" fmla="*/ 19452 w 2054065"/>
              <a:gd name="connsiteY5" fmla="*/ 9160 h 653428"/>
              <a:gd name="connsiteX6" fmla="*/ 19452 w 2054065"/>
              <a:gd name="connsiteY6" fmla="*/ 283804 h 653428"/>
              <a:gd name="connsiteX7" fmla="*/ 369654 w 2054065"/>
              <a:gd name="connsiteY7" fmla="*/ 633979 h 653428"/>
              <a:gd name="connsiteX8" fmla="*/ 1684377 w 2054065"/>
              <a:gd name="connsiteY8" fmla="*/ 633979 h 653428"/>
              <a:gd name="connsiteX9" fmla="*/ 2034614 w 2054065"/>
              <a:gd name="connsiteY9" fmla="*/ 283804 h 653428"/>
              <a:gd name="connsiteX10" fmla="*/ 2034614 w 2054065"/>
              <a:gd name="connsiteY10" fmla="*/ 9160 h 653428"/>
              <a:gd name="connsiteX11" fmla="*/ 2044923 w 2054065"/>
              <a:gd name="connsiteY11" fmla="*/ 18 h 653428"/>
              <a:gd name="connsiteX12" fmla="*/ 2054066 w 2054065"/>
              <a:gd name="connsiteY12" fmla="*/ 9160 h 653428"/>
              <a:gd name="connsiteX13" fmla="*/ 2054066 w 2054065"/>
              <a:gd name="connsiteY13" fmla="*/ 283804 h 653428"/>
              <a:gd name="connsiteX14" fmla="*/ 1684377 w 2054065"/>
              <a:gd name="connsiteY14" fmla="*/ 653429 h 65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54065" h="653428">
                <a:moveTo>
                  <a:pt x="1684377" y="653429"/>
                </a:moveTo>
                <a:lnTo>
                  <a:pt x="369654" y="653429"/>
                </a:lnTo>
                <a:cubicBezTo>
                  <a:pt x="165619" y="653140"/>
                  <a:pt x="289" y="487822"/>
                  <a:pt x="0" y="283804"/>
                </a:cubicBezTo>
                <a:lnTo>
                  <a:pt x="0" y="9160"/>
                </a:lnTo>
                <a:cubicBezTo>
                  <a:pt x="322" y="3789"/>
                  <a:pt x="4937" y="-304"/>
                  <a:pt x="10309" y="18"/>
                </a:cubicBezTo>
                <a:cubicBezTo>
                  <a:pt x="15231" y="313"/>
                  <a:pt x="19157" y="4238"/>
                  <a:pt x="19452" y="9160"/>
                </a:cubicBezTo>
                <a:lnTo>
                  <a:pt x="19452" y="283804"/>
                </a:lnTo>
                <a:cubicBezTo>
                  <a:pt x="19663" y="477112"/>
                  <a:pt x="176330" y="633767"/>
                  <a:pt x="369654" y="633979"/>
                </a:cubicBezTo>
                <a:lnTo>
                  <a:pt x="1684377" y="633979"/>
                </a:lnTo>
                <a:cubicBezTo>
                  <a:pt x="1877706" y="633767"/>
                  <a:pt x="2034383" y="477118"/>
                  <a:pt x="2034614" y="283804"/>
                </a:cubicBezTo>
                <a:lnTo>
                  <a:pt x="2034614" y="9160"/>
                </a:lnTo>
                <a:cubicBezTo>
                  <a:pt x="2034936" y="3789"/>
                  <a:pt x="2039552" y="-304"/>
                  <a:pt x="2044923" y="18"/>
                </a:cubicBezTo>
                <a:cubicBezTo>
                  <a:pt x="2049845" y="313"/>
                  <a:pt x="2053771" y="4238"/>
                  <a:pt x="2054066" y="9160"/>
                </a:cubicBezTo>
                <a:lnTo>
                  <a:pt x="2054066" y="283804"/>
                </a:lnTo>
                <a:cubicBezTo>
                  <a:pt x="2053777" y="487836"/>
                  <a:pt x="1888425" y="653159"/>
                  <a:pt x="1684377" y="653429"/>
                </a:cubicBezTo>
                <a:close/>
              </a:path>
            </a:pathLst>
          </a:custGeom>
          <a:solidFill>
            <a:schemeClr val="accent5"/>
          </a:solidFill>
          <a:ln w="34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 name="Rounded Rectangle 28">
            <a:extLst>
              <a:ext uri="{FF2B5EF4-FFF2-40B4-BE49-F238E27FC236}">
                <a16:creationId xmlns:a16="http://schemas.microsoft.com/office/drawing/2014/main" id="{012CCC4F-6223-C62B-5121-E0E9C9820EE2}"/>
              </a:ext>
            </a:extLst>
          </p:cNvPr>
          <p:cNvSpPr/>
          <p:nvPr/>
        </p:nvSpPr>
        <p:spPr>
          <a:xfrm rot="10800000">
            <a:off x="7581580" y="2209535"/>
            <a:ext cx="1751812" cy="2286260"/>
          </a:xfrm>
          <a:prstGeom prst="roundRect">
            <a:avLst/>
          </a:prstGeom>
          <a:solidFill>
            <a:srgbClr val="794771">
              <a:alpha val="65000"/>
            </a:srgbClr>
          </a:solidFill>
          <a:ln w="7661" cap="flat">
            <a:noFill/>
            <a:prstDash val="solid"/>
            <a:miter/>
          </a:ln>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Freeform 8">
            <a:extLst>
              <a:ext uri="{FF2B5EF4-FFF2-40B4-BE49-F238E27FC236}">
                <a16:creationId xmlns:a16="http://schemas.microsoft.com/office/drawing/2014/main" id="{E37475E7-FF8A-E992-3A7B-DD3716D7EE94}"/>
              </a:ext>
            </a:extLst>
          </p:cNvPr>
          <p:cNvSpPr/>
          <p:nvPr/>
        </p:nvSpPr>
        <p:spPr>
          <a:xfrm>
            <a:off x="7110034" y="2431181"/>
            <a:ext cx="347579" cy="1501937"/>
          </a:xfrm>
          <a:custGeom>
            <a:avLst/>
            <a:gdLst>
              <a:gd name="connsiteX0" fmla="*/ 173792 w 347600"/>
              <a:gd name="connsiteY0" fmla="*/ 1502026 h 1502026"/>
              <a:gd name="connsiteX1" fmla="*/ 18 w 347600"/>
              <a:gd name="connsiteY1" fmla="*/ 1328266 h 1502026"/>
              <a:gd name="connsiteX2" fmla="*/ 18 w 347600"/>
              <a:gd name="connsiteY2" fmla="*/ 10326 h 1502026"/>
              <a:gd name="connsiteX3" fmla="*/ 9161 w 347600"/>
              <a:gd name="connsiteY3" fmla="*/ 18 h 1502026"/>
              <a:gd name="connsiteX4" fmla="*/ 19469 w 347600"/>
              <a:gd name="connsiteY4" fmla="*/ 9160 h 1502026"/>
              <a:gd name="connsiteX5" fmla="*/ 19469 w 347600"/>
              <a:gd name="connsiteY5" fmla="*/ 10326 h 1502026"/>
              <a:gd name="connsiteX6" fmla="*/ 19469 w 347600"/>
              <a:gd name="connsiteY6" fmla="*/ 1328266 h 1502026"/>
              <a:gd name="connsiteX7" fmla="*/ 173791 w 347600"/>
              <a:gd name="connsiteY7" fmla="*/ 1482576 h 1502026"/>
              <a:gd name="connsiteX8" fmla="*/ 328113 w 347600"/>
              <a:gd name="connsiteY8" fmla="*/ 1328266 h 1502026"/>
              <a:gd name="connsiteX9" fmla="*/ 328114 w 347600"/>
              <a:gd name="connsiteY9" fmla="*/ 246139 h 1502026"/>
              <a:gd name="connsiteX10" fmla="*/ 337857 w 347600"/>
              <a:gd name="connsiteY10" fmla="*/ 236396 h 1502026"/>
              <a:gd name="connsiteX11" fmla="*/ 347601 w 347600"/>
              <a:gd name="connsiteY11" fmla="*/ 246139 h 1502026"/>
              <a:gd name="connsiteX12" fmla="*/ 347601 w 347600"/>
              <a:gd name="connsiteY12" fmla="*/ 1328266 h 1502026"/>
              <a:gd name="connsiteX13" fmla="*/ 173792 w 347600"/>
              <a:gd name="connsiteY13" fmla="*/ 1502026 h 150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7600" h="1502026">
                <a:moveTo>
                  <a:pt x="173792" y="1502026"/>
                </a:moveTo>
                <a:cubicBezTo>
                  <a:pt x="77859" y="1501930"/>
                  <a:pt x="114" y="1424191"/>
                  <a:pt x="18" y="1328266"/>
                </a:cubicBezTo>
                <a:lnTo>
                  <a:pt x="18" y="10326"/>
                </a:lnTo>
                <a:cubicBezTo>
                  <a:pt x="-304" y="4955"/>
                  <a:pt x="3789" y="340"/>
                  <a:pt x="9161" y="18"/>
                </a:cubicBezTo>
                <a:cubicBezTo>
                  <a:pt x="14532" y="-304"/>
                  <a:pt x="19147" y="3789"/>
                  <a:pt x="19469" y="9160"/>
                </a:cubicBezTo>
                <a:cubicBezTo>
                  <a:pt x="19493" y="9548"/>
                  <a:pt x="19493" y="9938"/>
                  <a:pt x="19469" y="10326"/>
                </a:cubicBezTo>
                <a:lnTo>
                  <a:pt x="19469" y="1328266"/>
                </a:lnTo>
                <a:cubicBezTo>
                  <a:pt x="19469" y="1413489"/>
                  <a:pt x="88562" y="1482576"/>
                  <a:pt x="173791" y="1482576"/>
                </a:cubicBezTo>
                <a:cubicBezTo>
                  <a:pt x="259021" y="1482576"/>
                  <a:pt x="328113" y="1413489"/>
                  <a:pt x="328113" y="1328266"/>
                </a:cubicBezTo>
                <a:lnTo>
                  <a:pt x="328114" y="246139"/>
                </a:lnTo>
                <a:cubicBezTo>
                  <a:pt x="328114" y="240758"/>
                  <a:pt x="332476" y="236396"/>
                  <a:pt x="337857" y="236396"/>
                </a:cubicBezTo>
                <a:cubicBezTo>
                  <a:pt x="343238" y="236396"/>
                  <a:pt x="347601" y="240758"/>
                  <a:pt x="347601" y="246139"/>
                </a:cubicBezTo>
                <a:lnTo>
                  <a:pt x="347601" y="1328266"/>
                </a:lnTo>
                <a:cubicBezTo>
                  <a:pt x="347485" y="1424197"/>
                  <a:pt x="269730" y="1501930"/>
                  <a:pt x="173792" y="1502026"/>
                </a:cubicBezTo>
                <a:close/>
              </a:path>
            </a:pathLst>
          </a:custGeom>
          <a:solidFill>
            <a:schemeClr val="accent5"/>
          </a:solidFill>
          <a:ln w="34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 name="Freeform 9">
            <a:extLst>
              <a:ext uri="{FF2B5EF4-FFF2-40B4-BE49-F238E27FC236}">
                <a16:creationId xmlns:a16="http://schemas.microsoft.com/office/drawing/2014/main" id="{D6F1D97C-303C-D28D-EB48-316A2B967DB5}"/>
              </a:ext>
            </a:extLst>
          </p:cNvPr>
          <p:cNvSpPr/>
          <p:nvPr/>
        </p:nvSpPr>
        <p:spPr>
          <a:xfrm>
            <a:off x="7412328" y="2638163"/>
            <a:ext cx="78290" cy="78285"/>
          </a:xfrm>
          <a:custGeom>
            <a:avLst/>
            <a:gdLst>
              <a:gd name="connsiteX0" fmla="*/ 78296 w 78295"/>
              <a:gd name="connsiteY0" fmla="*/ 39145 h 78290"/>
              <a:gd name="connsiteX1" fmla="*/ 39148 w 78295"/>
              <a:gd name="connsiteY1" fmla="*/ 78290 h 78290"/>
              <a:gd name="connsiteX2" fmla="*/ 0 w 78295"/>
              <a:gd name="connsiteY2" fmla="*/ 39145 h 78290"/>
              <a:gd name="connsiteX3" fmla="*/ 39148 w 78295"/>
              <a:gd name="connsiteY3" fmla="*/ 0 h 78290"/>
              <a:gd name="connsiteX4" fmla="*/ 78296 w 78295"/>
              <a:gd name="connsiteY4" fmla="*/ 39145 h 7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95" h="78290">
                <a:moveTo>
                  <a:pt x="78296" y="39145"/>
                </a:moveTo>
                <a:cubicBezTo>
                  <a:pt x="78296" y="60764"/>
                  <a:pt x="60768" y="78290"/>
                  <a:pt x="39148" y="78290"/>
                </a:cubicBezTo>
                <a:cubicBezTo>
                  <a:pt x="17527" y="78290"/>
                  <a:pt x="0" y="60764"/>
                  <a:pt x="0" y="39145"/>
                </a:cubicBezTo>
                <a:cubicBezTo>
                  <a:pt x="0" y="17526"/>
                  <a:pt x="17527" y="0"/>
                  <a:pt x="39148" y="0"/>
                </a:cubicBezTo>
                <a:cubicBezTo>
                  <a:pt x="60769" y="0"/>
                  <a:pt x="78296" y="17526"/>
                  <a:pt x="78296" y="39145"/>
                </a:cubicBezTo>
                <a:close/>
              </a:path>
            </a:pathLst>
          </a:custGeom>
          <a:solidFill>
            <a:schemeClr val="accent5"/>
          </a:solidFill>
          <a:ln w="34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40" name="Group 39">
            <a:extLst>
              <a:ext uri="{FF2B5EF4-FFF2-40B4-BE49-F238E27FC236}">
                <a16:creationId xmlns:a16="http://schemas.microsoft.com/office/drawing/2014/main" id="{AD485ED3-FBB2-05D8-33B4-AC6477CDEB54}"/>
              </a:ext>
            </a:extLst>
          </p:cNvPr>
          <p:cNvGrpSpPr/>
          <p:nvPr/>
        </p:nvGrpSpPr>
        <p:grpSpPr>
          <a:xfrm>
            <a:off x="7751187" y="2418976"/>
            <a:ext cx="1412597" cy="477991"/>
            <a:chOff x="8989417" y="2529572"/>
            <a:chExt cx="1714982" cy="580311"/>
          </a:xfrm>
        </p:grpSpPr>
        <p:sp>
          <p:nvSpPr>
            <p:cNvPr id="38" name="TextBox 37">
              <a:extLst>
                <a:ext uri="{FF2B5EF4-FFF2-40B4-BE49-F238E27FC236}">
                  <a16:creationId xmlns:a16="http://schemas.microsoft.com/office/drawing/2014/main" id="{1AD75C8B-60A6-5CE1-35D4-F2C46513689F}"/>
                </a:ext>
              </a:extLst>
            </p:cNvPr>
            <p:cNvSpPr txBox="1"/>
            <p:nvPr/>
          </p:nvSpPr>
          <p:spPr>
            <a:xfrm>
              <a:off x="8989417" y="2529572"/>
              <a:ext cx="640672" cy="56049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04</a:t>
              </a:r>
            </a:p>
          </p:txBody>
        </p:sp>
        <p:cxnSp>
          <p:nvCxnSpPr>
            <p:cNvPr id="39" name="Straight Connector 38">
              <a:extLst>
                <a:ext uri="{FF2B5EF4-FFF2-40B4-BE49-F238E27FC236}">
                  <a16:creationId xmlns:a16="http://schemas.microsoft.com/office/drawing/2014/main" id="{60E62682-1786-BF9C-6987-BBDCFCBB7787}"/>
                </a:ext>
              </a:extLst>
            </p:cNvPr>
            <p:cNvCxnSpPr>
              <a:cxnSpLocks/>
            </p:cNvCxnSpPr>
            <p:nvPr/>
          </p:nvCxnSpPr>
          <p:spPr>
            <a:xfrm>
              <a:off x="9090840" y="3109883"/>
              <a:ext cx="161355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09408007-5E44-92C8-0990-1BD3B4034E7E}"/>
              </a:ext>
            </a:extLst>
          </p:cNvPr>
          <p:cNvSpPr txBox="1"/>
          <p:nvPr/>
        </p:nvSpPr>
        <p:spPr>
          <a:xfrm>
            <a:off x="670967" y="2966827"/>
            <a:ext cx="1588693"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rPr>
              <a:t>Unified Resilience </a:t>
            </a:r>
            <a:endParaRPr kumimoji="0" lang="en-US" sz="2000" b="1" i="0" u="none" strike="noStrike" kern="1200" cap="none" spc="0" normalizeH="0" baseline="0" noProof="0" dirty="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04E21C8A-A37C-403D-594F-0CFCD3CD2C38}"/>
              </a:ext>
            </a:extLst>
          </p:cNvPr>
          <p:cNvSpPr txBox="1"/>
          <p:nvPr/>
        </p:nvSpPr>
        <p:spPr>
          <a:xfrm>
            <a:off x="2894935" y="2894194"/>
            <a:ext cx="1702004"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rPr>
              <a:t>Identity Resilience</a:t>
            </a:r>
          </a:p>
        </p:txBody>
      </p:sp>
      <p:sp>
        <p:nvSpPr>
          <p:cNvPr id="43" name="Freeform 42">
            <a:extLst>
              <a:ext uri="{FF2B5EF4-FFF2-40B4-BE49-F238E27FC236}">
                <a16:creationId xmlns:a16="http://schemas.microsoft.com/office/drawing/2014/main" id="{BFAE90BD-C967-4A5C-65AA-D62E3B3DED7D}"/>
              </a:ext>
            </a:extLst>
          </p:cNvPr>
          <p:cNvSpPr/>
          <p:nvPr/>
        </p:nvSpPr>
        <p:spPr>
          <a:xfrm>
            <a:off x="9766783" y="2071868"/>
            <a:ext cx="2053947" cy="491502"/>
          </a:xfrm>
          <a:custGeom>
            <a:avLst/>
            <a:gdLst>
              <a:gd name="connsiteX0" fmla="*/ 9709 w 2054067"/>
              <a:gd name="connsiteY0" fmla="*/ 491530 h 491530"/>
              <a:gd name="connsiteX1" fmla="*/ 0 w 2054067"/>
              <a:gd name="connsiteY1" fmla="*/ 481822 h 491530"/>
              <a:gd name="connsiteX2" fmla="*/ 0 w 2054067"/>
              <a:gd name="connsiteY2" fmla="*/ 369660 h 491530"/>
              <a:gd name="connsiteX3" fmla="*/ 369654 w 2054067"/>
              <a:gd name="connsiteY3" fmla="*/ 0 h 491530"/>
              <a:gd name="connsiteX4" fmla="*/ 1684378 w 2054067"/>
              <a:gd name="connsiteY4" fmla="*/ 0 h 491530"/>
              <a:gd name="connsiteX5" fmla="*/ 2054067 w 2054067"/>
              <a:gd name="connsiteY5" fmla="*/ 369660 h 491530"/>
              <a:gd name="connsiteX6" fmla="*/ 2043758 w 2054067"/>
              <a:gd name="connsiteY6" fmla="*/ 378802 h 491530"/>
              <a:gd name="connsiteX7" fmla="*/ 2034616 w 2054067"/>
              <a:gd name="connsiteY7" fmla="*/ 369660 h 491530"/>
              <a:gd name="connsiteX8" fmla="*/ 1684379 w 2054067"/>
              <a:gd name="connsiteY8" fmla="*/ 19450 h 491530"/>
              <a:gd name="connsiteX9" fmla="*/ 369654 w 2054067"/>
              <a:gd name="connsiteY9" fmla="*/ 19450 h 491530"/>
              <a:gd name="connsiteX10" fmla="*/ 19452 w 2054067"/>
              <a:gd name="connsiteY10" fmla="*/ 369660 h 491530"/>
              <a:gd name="connsiteX11" fmla="*/ 19452 w 2054067"/>
              <a:gd name="connsiteY11" fmla="*/ 481822 h 491530"/>
              <a:gd name="connsiteX12" fmla="*/ 9709 w 2054067"/>
              <a:gd name="connsiteY12" fmla="*/ 491530 h 491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54067" h="491530">
                <a:moveTo>
                  <a:pt x="9709" y="491530"/>
                </a:moveTo>
                <a:cubicBezTo>
                  <a:pt x="4347" y="491530"/>
                  <a:pt x="0" y="487184"/>
                  <a:pt x="0" y="481822"/>
                </a:cubicBezTo>
                <a:lnTo>
                  <a:pt x="0" y="369660"/>
                </a:lnTo>
                <a:cubicBezTo>
                  <a:pt x="270" y="165628"/>
                  <a:pt x="165606" y="288"/>
                  <a:pt x="369654" y="0"/>
                </a:cubicBezTo>
                <a:lnTo>
                  <a:pt x="1684378" y="0"/>
                </a:lnTo>
                <a:cubicBezTo>
                  <a:pt x="1888440" y="269"/>
                  <a:pt x="2053798" y="165614"/>
                  <a:pt x="2054067" y="369660"/>
                </a:cubicBezTo>
                <a:cubicBezTo>
                  <a:pt x="2053745" y="375031"/>
                  <a:pt x="2049130" y="379124"/>
                  <a:pt x="2043758" y="378802"/>
                </a:cubicBezTo>
                <a:cubicBezTo>
                  <a:pt x="2038836" y="378507"/>
                  <a:pt x="2034911" y="374582"/>
                  <a:pt x="2034616" y="369660"/>
                </a:cubicBezTo>
                <a:cubicBezTo>
                  <a:pt x="2034405" y="176332"/>
                  <a:pt x="1877722" y="19662"/>
                  <a:pt x="1684379" y="19450"/>
                </a:cubicBezTo>
                <a:lnTo>
                  <a:pt x="369654" y="19450"/>
                </a:lnTo>
                <a:cubicBezTo>
                  <a:pt x="176325" y="19681"/>
                  <a:pt x="19664" y="176346"/>
                  <a:pt x="19452" y="369660"/>
                </a:cubicBezTo>
                <a:lnTo>
                  <a:pt x="19452" y="481822"/>
                </a:lnTo>
                <a:cubicBezTo>
                  <a:pt x="19433" y="487189"/>
                  <a:pt x="15076" y="491530"/>
                  <a:pt x="9709" y="491530"/>
                </a:cubicBezTo>
                <a:close/>
              </a:path>
            </a:pathLst>
          </a:custGeom>
          <a:solidFill>
            <a:schemeClr val="accent5"/>
          </a:solidFill>
          <a:ln w="34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 name="Freeform 43">
            <a:extLst>
              <a:ext uri="{FF2B5EF4-FFF2-40B4-BE49-F238E27FC236}">
                <a16:creationId xmlns:a16="http://schemas.microsoft.com/office/drawing/2014/main" id="{3DEFBD8C-BEB9-9DF4-8485-491AA080860E}"/>
              </a:ext>
            </a:extLst>
          </p:cNvPr>
          <p:cNvSpPr/>
          <p:nvPr/>
        </p:nvSpPr>
        <p:spPr>
          <a:xfrm>
            <a:off x="9766783" y="2431180"/>
            <a:ext cx="2053961" cy="2202281"/>
          </a:xfrm>
          <a:custGeom>
            <a:avLst/>
            <a:gdLst>
              <a:gd name="connsiteX0" fmla="*/ 1684378 w 2054082"/>
              <a:gd name="connsiteY0" fmla="*/ 2202411 h 2202410"/>
              <a:gd name="connsiteX1" fmla="*/ 369654 w 2054082"/>
              <a:gd name="connsiteY1" fmla="*/ 2202411 h 2202410"/>
              <a:gd name="connsiteX2" fmla="*/ 0 w 2054082"/>
              <a:gd name="connsiteY2" fmla="*/ 1832786 h 2202410"/>
              <a:gd name="connsiteX3" fmla="*/ 0 w 2054082"/>
              <a:gd name="connsiteY3" fmla="*/ 1558142 h 2202410"/>
              <a:gd name="connsiteX4" fmla="*/ 10309 w 2054082"/>
              <a:gd name="connsiteY4" fmla="*/ 1549000 h 2202410"/>
              <a:gd name="connsiteX5" fmla="*/ 19452 w 2054082"/>
              <a:gd name="connsiteY5" fmla="*/ 1558142 h 2202410"/>
              <a:gd name="connsiteX6" fmla="*/ 19452 w 2054082"/>
              <a:gd name="connsiteY6" fmla="*/ 1832786 h 2202410"/>
              <a:gd name="connsiteX7" fmla="*/ 369654 w 2054082"/>
              <a:gd name="connsiteY7" fmla="*/ 2182961 h 2202410"/>
              <a:gd name="connsiteX8" fmla="*/ 1684378 w 2054082"/>
              <a:gd name="connsiteY8" fmla="*/ 2182961 h 2202410"/>
              <a:gd name="connsiteX9" fmla="*/ 2034615 w 2054082"/>
              <a:gd name="connsiteY9" fmla="*/ 1832786 h 2202410"/>
              <a:gd name="connsiteX10" fmla="*/ 2034614 w 2054082"/>
              <a:gd name="connsiteY10" fmla="*/ 10326 h 2202410"/>
              <a:gd name="connsiteX11" fmla="*/ 2043756 w 2054082"/>
              <a:gd name="connsiteY11" fmla="*/ 18 h 2202410"/>
              <a:gd name="connsiteX12" fmla="*/ 2054065 w 2054082"/>
              <a:gd name="connsiteY12" fmla="*/ 9160 h 2202410"/>
              <a:gd name="connsiteX13" fmla="*/ 2054065 w 2054082"/>
              <a:gd name="connsiteY13" fmla="*/ 10326 h 2202410"/>
              <a:gd name="connsiteX14" fmla="*/ 2054066 w 2054082"/>
              <a:gd name="connsiteY14" fmla="*/ 1832786 h 2202410"/>
              <a:gd name="connsiteX15" fmla="*/ 1684377 w 2054082"/>
              <a:gd name="connsiteY15" fmla="*/ 2202411 h 220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4082" h="2202410">
                <a:moveTo>
                  <a:pt x="1684378" y="2202411"/>
                </a:moveTo>
                <a:lnTo>
                  <a:pt x="369654" y="2202411"/>
                </a:lnTo>
                <a:cubicBezTo>
                  <a:pt x="165619" y="2202122"/>
                  <a:pt x="289" y="2036804"/>
                  <a:pt x="0" y="1832786"/>
                </a:cubicBezTo>
                <a:lnTo>
                  <a:pt x="0" y="1558142"/>
                </a:lnTo>
                <a:cubicBezTo>
                  <a:pt x="322" y="1552771"/>
                  <a:pt x="4937" y="1548678"/>
                  <a:pt x="10309" y="1549000"/>
                </a:cubicBezTo>
                <a:cubicBezTo>
                  <a:pt x="15231" y="1549295"/>
                  <a:pt x="19157" y="1553221"/>
                  <a:pt x="19452" y="1558142"/>
                </a:cubicBezTo>
                <a:lnTo>
                  <a:pt x="19452" y="1832786"/>
                </a:lnTo>
                <a:cubicBezTo>
                  <a:pt x="19663" y="2026094"/>
                  <a:pt x="176330" y="2182749"/>
                  <a:pt x="369654" y="2182961"/>
                </a:cubicBezTo>
                <a:lnTo>
                  <a:pt x="1684378" y="2182961"/>
                </a:lnTo>
                <a:cubicBezTo>
                  <a:pt x="1877707" y="2182749"/>
                  <a:pt x="2034384" y="2026100"/>
                  <a:pt x="2034615" y="1832786"/>
                </a:cubicBezTo>
                <a:lnTo>
                  <a:pt x="2034614" y="10326"/>
                </a:lnTo>
                <a:cubicBezTo>
                  <a:pt x="2034292" y="4955"/>
                  <a:pt x="2038385" y="340"/>
                  <a:pt x="2043756" y="18"/>
                </a:cubicBezTo>
                <a:cubicBezTo>
                  <a:pt x="2049128" y="-304"/>
                  <a:pt x="2053744" y="3789"/>
                  <a:pt x="2054065" y="9160"/>
                </a:cubicBezTo>
                <a:cubicBezTo>
                  <a:pt x="2054088" y="9548"/>
                  <a:pt x="2054088" y="9938"/>
                  <a:pt x="2054065" y="10326"/>
                </a:cubicBezTo>
                <a:lnTo>
                  <a:pt x="2054066" y="1832786"/>
                </a:lnTo>
                <a:cubicBezTo>
                  <a:pt x="2053778" y="2036818"/>
                  <a:pt x="1888426" y="2202142"/>
                  <a:pt x="1684377" y="2202411"/>
                </a:cubicBezTo>
                <a:close/>
              </a:path>
            </a:pathLst>
          </a:custGeom>
          <a:solidFill>
            <a:schemeClr val="accent5"/>
          </a:solidFill>
          <a:ln w="34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 name="Rounded Rectangle 28">
            <a:extLst>
              <a:ext uri="{FF2B5EF4-FFF2-40B4-BE49-F238E27FC236}">
                <a16:creationId xmlns:a16="http://schemas.microsoft.com/office/drawing/2014/main" id="{36ABE505-6FA4-B371-6CFB-D28E7FBD7FF9}"/>
              </a:ext>
            </a:extLst>
          </p:cNvPr>
          <p:cNvSpPr/>
          <p:nvPr/>
        </p:nvSpPr>
        <p:spPr>
          <a:xfrm rot="10800000">
            <a:off x="9917858" y="2208787"/>
            <a:ext cx="1751812" cy="2286260"/>
          </a:xfrm>
          <a:prstGeom prst="roundRect">
            <a:avLst/>
          </a:prstGeom>
          <a:solidFill>
            <a:srgbClr val="794771">
              <a:alpha val="65000"/>
            </a:srgbClr>
          </a:solidFill>
          <a:ln w="7661" cap="flat">
            <a:noFill/>
            <a:prstDash val="solid"/>
            <a:miter/>
          </a:ln>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Freeform 9">
            <a:extLst>
              <a:ext uri="{FF2B5EF4-FFF2-40B4-BE49-F238E27FC236}">
                <a16:creationId xmlns:a16="http://schemas.microsoft.com/office/drawing/2014/main" id="{45778FA0-7492-EF50-E6E1-FCAEFA09BB93}"/>
              </a:ext>
            </a:extLst>
          </p:cNvPr>
          <p:cNvSpPr/>
          <p:nvPr/>
        </p:nvSpPr>
        <p:spPr>
          <a:xfrm>
            <a:off x="9758334" y="2637415"/>
            <a:ext cx="78290" cy="78285"/>
          </a:xfrm>
          <a:custGeom>
            <a:avLst/>
            <a:gdLst>
              <a:gd name="connsiteX0" fmla="*/ 78296 w 78295"/>
              <a:gd name="connsiteY0" fmla="*/ 39145 h 78290"/>
              <a:gd name="connsiteX1" fmla="*/ 39148 w 78295"/>
              <a:gd name="connsiteY1" fmla="*/ 78290 h 78290"/>
              <a:gd name="connsiteX2" fmla="*/ 0 w 78295"/>
              <a:gd name="connsiteY2" fmla="*/ 39145 h 78290"/>
              <a:gd name="connsiteX3" fmla="*/ 39148 w 78295"/>
              <a:gd name="connsiteY3" fmla="*/ 0 h 78290"/>
              <a:gd name="connsiteX4" fmla="*/ 78296 w 78295"/>
              <a:gd name="connsiteY4" fmla="*/ 39145 h 7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95" h="78290">
                <a:moveTo>
                  <a:pt x="78296" y="39145"/>
                </a:moveTo>
                <a:cubicBezTo>
                  <a:pt x="78296" y="60764"/>
                  <a:pt x="60768" y="78290"/>
                  <a:pt x="39148" y="78290"/>
                </a:cubicBezTo>
                <a:cubicBezTo>
                  <a:pt x="17527" y="78290"/>
                  <a:pt x="0" y="60764"/>
                  <a:pt x="0" y="39145"/>
                </a:cubicBezTo>
                <a:cubicBezTo>
                  <a:pt x="0" y="17526"/>
                  <a:pt x="17527" y="0"/>
                  <a:pt x="39148" y="0"/>
                </a:cubicBezTo>
                <a:cubicBezTo>
                  <a:pt x="60769" y="0"/>
                  <a:pt x="78296" y="17526"/>
                  <a:pt x="78296" y="39145"/>
                </a:cubicBezTo>
                <a:close/>
              </a:path>
            </a:pathLst>
          </a:custGeom>
          <a:solidFill>
            <a:schemeClr val="accent5"/>
          </a:solidFill>
          <a:ln w="34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47" name="Group 46">
            <a:extLst>
              <a:ext uri="{FF2B5EF4-FFF2-40B4-BE49-F238E27FC236}">
                <a16:creationId xmlns:a16="http://schemas.microsoft.com/office/drawing/2014/main" id="{68D32AA1-3E31-3F54-99AD-8CAC116CCCCC}"/>
              </a:ext>
            </a:extLst>
          </p:cNvPr>
          <p:cNvGrpSpPr/>
          <p:nvPr/>
        </p:nvGrpSpPr>
        <p:grpSpPr>
          <a:xfrm>
            <a:off x="10058281" y="2418228"/>
            <a:ext cx="1412597" cy="477991"/>
            <a:chOff x="8989417" y="2529572"/>
            <a:chExt cx="1714982" cy="580311"/>
          </a:xfrm>
        </p:grpSpPr>
        <p:sp>
          <p:nvSpPr>
            <p:cNvPr id="48" name="TextBox 47">
              <a:extLst>
                <a:ext uri="{FF2B5EF4-FFF2-40B4-BE49-F238E27FC236}">
                  <a16:creationId xmlns:a16="http://schemas.microsoft.com/office/drawing/2014/main" id="{6F9C6F20-FC78-95D3-90C3-910FD530ED49}"/>
                </a:ext>
              </a:extLst>
            </p:cNvPr>
            <p:cNvSpPr txBox="1"/>
            <p:nvPr/>
          </p:nvSpPr>
          <p:spPr>
            <a:xfrm>
              <a:off x="8989417" y="2529572"/>
              <a:ext cx="640672" cy="56049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05</a:t>
              </a:r>
            </a:p>
          </p:txBody>
        </p:sp>
        <p:cxnSp>
          <p:nvCxnSpPr>
            <p:cNvPr id="49" name="Straight Connector 48">
              <a:extLst>
                <a:ext uri="{FF2B5EF4-FFF2-40B4-BE49-F238E27FC236}">
                  <a16:creationId xmlns:a16="http://schemas.microsoft.com/office/drawing/2014/main" id="{6CBE8799-87A5-D733-B739-2765805E4545}"/>
                </a:ext>
              </a:extLst>
            </p:cNvPr>
            <p:cNvCxnSpPr>
              <a:cxnSpLocks/>
            </p:cNvCxnSpPr>
            <p:nvPr/>
          </p:nvCxnSpPr>
          <p:spPr>
            <a:xfrm>
              <a:off x="9090840" y="3109883"/>
              <a:ext cx="161355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1" name="Freeform 5">
            <a:extLst>
              <a:ext uri="{FF2B5EF4-FFF2-40B4-BE49-F238E27FC236}">
                <a16:creationId xmlns:a16="http://schemas.microsoft.com/office/drawing/2014/main" id="{391483D1-59AD-A1E9-ACD2-F75301DFDA45}"/>
              </a:ext>
            </a:extLst>
          </p:cNvPr>
          <p:cNvSpPr/>
          <p:nvPr/>
        </p:nvSpPr>
        <p:spPr>
          <a:xfrm>
            <a:off x="7423801" y="4000767"/>
            <a:ext cx="2053944" cy="653390"/>
          </a:xfrm>
          <a:custGeom>
            <a:avLst/>
            <a:gdLst>
              <a:gd name="connsiteX0" fmla="*/ 1684377 w 2054065"/>
              <a:gd name="connsiteY0" fmla="*/ 653429 h 653428"/>
              <a:gd name="connsiteX1" fmla="*/ 369654 w 2054065"/>
              <a:gd name="connsiteY1" fmla="*/ 653429 h 653428"/>
              <a:gd name="connsiteX2" fmla="*/ 0 w 2054065"/>
              <a:gd name="connsiteY2" fmla="*/ 283804 h 653428"/>
              <a:gd name="connsiteX3" fmla="*/ 0 w 2054065"/>
              <a:gd name="connsiteY3" fmla="*/ 9160 h 653428"/>
              <a:gd name="connsiteX4" fmla="*/ 10309 w 2054065"/>
              <a:gd name="connsiteY4" fmla="*/ 18 h 653428"/>
              <a:gd name="connsiteX5" fmla="*/ 19452 w 2054065"/>
              <a:gd name="connsiteY5" fmla="*/ 9160 h 653428"/>
              <a:gd name="connsiteX6" fmla="*/ 19452 w 2054065"/>
              <a:gd name="connsiteY6" fmla="*/ 283804 h 653428"/>
              <a:gd name="connsiteX7" fmla="*/ 369654 w 2054065"/>
              <a:gd name="connsiteY7" fmla="*/ 633979 h 653428"/>
              <a:gd name="connsiteX8" fmla="*/ 1684377 w 2054065"/>
              <a:gd name="connsiteY8" fmla="*/ 633979 h 653428"/>
              <a:gd name="connsiteX9" fmla="*/ 2034614 w 2054065"/>
              <a:gd name="connsiteY9" fmla="*/ 283804 h 653428"/>
              <a:gd name="connsiteX10" fmla="*/ 2034614 w 2054065"/>
              <a:gd name="connsiteY10" fmla="*/ 9160 h 653428"/>
              <a:gd name="connsiteX11" fmla="*/ 2044923 w 2054065"/>
              <a:gd name="connsiteY11" fmla="*/ 18 h 653428"/>
              <a:gd name="connsiteX12" fmla="*/ 2054066 w 2054065"/>
              <a:gd name="connsiteY12" fmla="*/ 9160 h 653428"/>
              <a:gd name="connsiteX13" fmla="*/ 2054066 w 2054065"/>
              <a:gd name="connsiteY13" fmla="*/ 283804 h 653428"/>
              <a:gd name="connsiteX14" fmla="*/ 1684377 w 2054065"/>
              <a:gd name="connsiteY14" fmla="*/ 653429 h 65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54065" h="653428">
                <a:moveTo>
                  <a:pt x="1684377" y="653429"/>
                </a:moveTo>
                <a:lnTo>
                  <a:pt x="369654" y="653429"/>
                </a:lnTo>
                <a:cubicBezTo>
                  <a:pt x="165619" y="653140"/>
                  <a:pt x="289" y="487822"/>
                  <a:pt x="0" y="283804"/>
                </a:cubicBezTo>
                <a:lnTo>
                  <a:pt x="0" y="9160"/>
                </a:lnTo>
                <a:cubicBezTo>
                  <a:pt x="322" y="3789"/>
                  <a:pt x="4937" y="-304"/>
                  <a:pt x="10309" y="18"/>
                </a:cubicBezTo>
                <a:cubicBezTo>
                  <a:pt x="15231" y="313"/>
                  <a:pt x="19157" y="4238"/>
                  <a:pt x="19452" y="9160"/>
                </a:cubicBezTo>
                <a:lnTo>
                  <a:pt x="19452" y="283804"/>
                </a:lnTo>
                <a:cubicBezTo>
                  <a:pt x="19663" y="477112"/>
                  <a:pt x="176330" y="633767"/>
                  <a:pt x="369654" y="633979"/>
                </a:cubicBezTo>
                <a:lnTo>
                  <a:pt x="1684377" y="633979"/>
                </a:lnTo>
                <a:cubicBezTo>
                  <a:pt x="1877706" y="633767"/>
                  <a:pt x="2034383" y="477118"/>
                  <a:pt x="2034614" y="283804"/>
                </a:cubicBezTo>
                <a:lnTo>
                  <a:pt x="2034614" y="9160"/>
                </a:lnTo>
                <a:cubicBezTo>
                  <a:pt x="2034936" y="3789"/>
                  <a:pt x="2039552" y="-304"/>
                  <a:pt x="2044923" y="18"/>
                </a:cubicBezTo>
                <a:cubicBezTo>
                  <a:pt x="2049845" y="313"/>
                  <a:pt x="2053771" y="4238"/>
                  <a:pt x="2054066" y="9160"/>
                </a:cubicBezTo>
                <a:lnTo>
                  <a:pt x="2054066" y="283804"/>
                </a:lnTo>
                <a:cubicBezTo>
                  <a:pt x="2053777" y="487836"/>
                  <a:pt x="1888425" y="653159"/>
                  <a:pt x="1684377" y="653429"/>
                </a:cubicBezTo>
                <a:close/>
              </a:path>
            </a:pathLst>
          </a:custGeom>
          <a:solidFill>
            <a:schemeClr val="accent5"/>
          </a:solidFill>
          <a:ln w="34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2" name="Freeform 8">
            <a:extLst>
              <a:ext uri="{FF2B5EF4-FFF2-40B4-BE49-F238E27FC236}">
                <a16:creationId xmlns:a16="http://schemas.microsoft.com/office/drawing/2014/main" id="{74430893-CDBA-FD1E-4E5C-50ADAFDF0D9A}"/>
              </a:ext>
            </a:extLst>
          </p:cNvPr>
          <p:cNvSpPr/>
          <p:nvPr/>
        </p:nvSpPr>
        <p:spPr>
          <a:xfrm>
            <a:off x="9462321" y="2451129"/>
            <a:ext cx="347579" cy="1501937"/>
          </a:xfrm>
          <a:custGeom>
            <a:avLst/>
            <a:gdLst>
              <a:gd name="connsiteX0" fmla="*/ 173792 w 347600"/>
              <a:gd name="connsiteY0" fmla="*/ 1502026 h 1502026"/>
              <a:gd name="connsiteX1" fmla="*/ 18 w 347600"/>
              <a:gd name="connsiteY1" fmla="*/ 1328266 h 1502026"/>
              <a:gd name="connsiteX2" fmla="*/ 18 w 347600"/>
              <a:gd name="connsiteY2" fmla="*/ 10326 h 1502026"/>
              <a:gd name="connsiteX3" fmla="*/ 9161 w 347600"/>
              <a:gd name="connsiteY3" fmla="*/ 18 h 1502026"/>
              <a:gd name="connsiteX4" fmla="*/ 19469 w 347600"/>
              <a:gd name="connsiteY4" fmla="*/ 9160 h 1502026"/>
              <a:gd name="connsiteX5" fmla="*/ 19469 w 347600"/>
              <a:gd name="connsiteY5" fmla="*/ 10326 h 1502026"/>
              <a:gd name="connsiteX6" fmla="*/ 19469 w 347600"/>
              <a:gd name="connsiteY6" fmla="*/ 1328266 h 1502026"/>
              <a:gd name="connsiteX7" fmla="*/ 173791 w 347600"/>
              <a:gd name="connsiteY7" fmla="*/ 1482576 h 1502026"/>
              <a:gd name="connsiteX8" fmla="*/ 328113 w 347600"/>
              <a:gd name="connsiteY8" fmla="*/ 1328266 h 1502026"/>
              <a:gd name="connsiteX9" fmla="*/ 328114 w 347600"/>
              <a:gd name="connsiteY9" fmla="*/ 246139 h 1502026"/>
              <a:gd name="connsiteX10" fmla="*/ 337857 w 347600"/>
              <a:gd name="connsiteY10" fmla="*/ 236396 h 1502026"/>
              <a:gd name="connsiteX11" fmla="*/ 347601 w 347600"/>
              <a:gd name="connsiteY11" fmla="*/ 246139 h 1502026"/>
              <a:gd name="connsiteX12" fmla="*/ 347601 w 347600"/>
              <a:gd name="connsiteY12" fmla="*/ 1328266 h 1502026"/>
              <a:gd name="connsiteX13" fmla="*/ 173792 w 347600"/>
              <a:gd name="connsiteY13" fmla="*/ 1502026 h 150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7600" h="1502026">
                <a:moveTo>
                  <a:pt x="173792" y="1502026"/>
                </a:moveTo>
                <a:cubicBezTo>
                  <a:pt x="77859" y="1501930"/>
                  <a:pt x="114" y="1424191"/>
                  <a:pt x="18" y="1328266"/>
                </a:cubicBezTo>
                <a:lnTo>
                  <a:pt x="18" y="10326"/>
                </a:lnTo>
                <a:cubicBezTo>
                  <a:pt x="-304" y="4955"/>
                  <a:pt x="3789" y="340"/>
                  <a:pt x="9161" y="18"/>
                </a:cubicBezTo>
                <a:cubicBezTo>
                  <a:pt x="14532" y="-304"/>
                  <a:pt x="19147" y="3789"/>
                  <a:pt x="19469" y="9160"/>
                </a:cubicBezTo>
                <a:cubicBezTo>
                  <a:pt x="19493" y="9548"/>
                  <a:pt x="19493" y="9938"/>
                  <a:pt x="19469" y="10326"/>
                </a:cubicBezTo>
                <a:lnTo>
                  <a:pt x="19469" y="1328266"/>
                </a:lnTo>
                <a:cubicBezTo>
                  <a:pt x="19469" y="1413489"/>
                  <a:pt x="88562" y="1482576"/>
                  <a:pt x="173791" y="1482576"/>
                </a:cubicBezTo>
                <a:cubicBezTo>
                  <a:pt x="259021" y="1482576"/>
                  <a:pt x="328113" y="1413489"/>
                  <a:pt x="328113" y="1328266"/>
                </a:cubicBezTo>
                <a:lnTo>
                  <a:pt x="328114" y="246139"/>
                </a:lnTo>
                <a:cubicBezTo>
                  <a:pt x="328114" y="240758"/>
                  <a:pt x="332476" y="236396"/>
                  <a:pt x="337857" y="236396"/>
                </a:cubicBezTo>
                <a:cubicBezTo>
                  <a:pt x="343238" y="236396"/>
                  <a:pt x="347601" y="240758"/>
                  <a:pt x="347601" y="246139"/>
                </a:cubicBezTo>
                <a:lnTo>
                  <a:pt x="347601" y="1328266"/>
                </a:lnTo>
                <a:cubicBezTo>
                  <a:pt x="347485" y="1424197"/>
                  <a:pt x="269730" y="1501930"/>
                  <a:pt x="173792" y="1502026"/>
                </a:cubicBezTo>
                <a:close/>
              </a:path>
            </a:pathLst>
          </a:custGeom>
          <a:solidFill>
            <a:schemeClr val="accent5"/>
          </a:solidFill>
          <a:ln w="34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 name="TextBox 15">
            <a:extLst>
              <a:ext uri="{FF2B5EF4-FFF2-40B4-BE49-F238E27FC236}">
                <a16:creationId xmlns:a16="http://schemas.microsoft.com/office/drawing/2014/main" id="{B165A5A6-E8B3-FAF3-7953-2AB4A2F0278B}"/>
              </a:ext>
            </a:extLst>
          </p:cNvPr>
          <p:cNvSpPr txBox="1"/>
          <p:nvPr/>
        </p:nvSpPr>
        <p:spPr>
          <a:xfrm>
            <a:off x="5316029" y="2936199"/>
            <a:ext cx="1702004"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rPr>
              <a:t>Cyber Resilience </a:t>
            </a:r>
          </a:p>
        </p:txBody>
      </p:sp>
      <p:sp>
        <p:nvSpPr>
          <p:cNvPr id="12" name="TextBox 15">
            <a:extLst>
              <a:ext uri="{FF2B5EF4-FFF2-40B4-BE49-F238E27FC236}">
                <a16:creationId xmlns:a16="http://schemas.microsoft.com/office/drawing/2014/main" id="{A95F42CB-9467-5750-1475-650061261420}"/>
              </a:ext>
            </a:extLst>
          </p:cNvPr>
          <p:cNvSpPr txBox="1"/>
          <p:nvPr/>
        </p:nvSpPr>
        <p:spPr>
          <a:xfrm>
            <a:off x="7719700" y="2879893"/>
            <a:ext cx="1702004"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2000" b="1" dirty="0">
                <a:solidFill>
                  <a:srgbClr val="FFFFFF"/>
                </a:solidFill>
                <a:latin typeface="Arial" panose="020B0604020202020204"/>
              </a:rPr>
              <a:t>Data</a:t>
            </a:r>
            <a:r>
              <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rPr>
              <a:t> Resilience </a:t>
            </a:r>
          </a:p>
        </p:txBody>
      </p:sp>
      <p:sp>
        <p:nvSpPr>
          <p:cNvPr id="25" name="TextBox 15">
            <a:extLst>
              <a:ext uri="{FF2B5EF4-FFF2-40B4-BE49-F238E27FC236}">
                <a16:creationId xmlns:a16="http://schemas.microsoft.com/office/drawing/2014/main" id="{C7BCEA63-4E10-7038-6028-BAC47BF98EE4}"/>
              </a:ext>
            </a:extLst>
          </p:cNvPr>
          <p:cNvSpPr txBox="1"/>
          <p:nvPr/>
        </p:nvSpPr>
        <p:spPr>
          <a:xfrm>
            <a:off x="10041573" y="2966827"/>
            <a:ext cx="1702004"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2000" b="1" dirty="0">
                <a:solidFill>
                  <a:srgbClr val="FFFFFF"/>
                </a:solidFill>
                <a:latin typeface="Arial" panose="020B0604020202020204"/>
              </a:rPr>
              <a:t>AI</a:t>
            </a:r>
            <a:r>
              <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rPr>
              <a:t> Resilience </a:t>
            </a:r>
          </a:p>
        </p:txBody>
      </p:sp>
    </p:spTree>
    <p:extLst>
      <p:ext uri="{BB962C8B-B14F-4D97-AF65-F5344CB8AC3E}">
        <p14:creationId xmlns:p14="http://schemas.microsoft.com/office/powerpoint/2010/main" val="15410722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Marcador de contenido 4">
            <a:extLst>
              <a:ext uri="{FF2B5EF4-FFF2-40B4-BE49-F238E27FC236}">
                <a16:creationId xmlns:a16="http://schemas.microsoft.com/office/drawing/2014/main" id="{65581B0F-381B-B029-15DF-F303E9805653}"/>
              </a:ext>
            </a:extLst>
          </p:cNvPr>
          <p:cNvPicPr>
            <a:picLocks noGrp="1" noChangeAspect="1"/>
          </p:cNvPicPr>
          <p:nvPr>
            <p:ph idx="1"/>
          </p:nvPr>
        </p:nvPicPr>
        <p:blipFill>
          <a:blip r:embed="rId2"/>
          <a:stretch>
            <a:fillRect/>
          </a:stretch>
        </p:blipFill>
        <p:spPr>
          <a:xfrm>
            <a:off x="120650" y="172436"/>
            <a:ext cx="11950700" cy="6513129"/>
          </a:xfrm>
          <a:prstGeom prst="rect">
            <a:avLst/>
          </a:prstGeom>
          <a:noFill/>
        </p:spPr>
      </p:pic>
    </p:spTree>
    <p:extLst>
      <p:ext uri="{BB962C8B-B14F-4D97-AF65-F5344CB8AC3E}">
        <p14:creationId xmlns:p14="http://schemas.microsoft.com/office/powerpoint/2010/main" val="31476314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7088142-4E39-D38C-FE05-4EE650E68611}"/>
              </a:ext>
            </a:extLst>
          </p:cNvPr>
          <p:cNvSpPr>
            <a:spLocks noGrp="1"/>
          </p:cNvSpPr>
          <p:nvPr>
            <p:ph type="title"/>
          </p:nvPr>
        </p:nvSpPr>
        <p:spPr>
          <a:xfrm>
            <a:off x="475649" y="1931982"/>
            <a:ext cx="11240701" cy="2751277"/>
          </a:xfrm>
        </p:spPr>
        <p:txBody>
          <a:bodyPr/>
          <a:lstStyle/>
          <a:p>
            <a:r>
              <a:rPr lang="en-GB" dirty="0"/>
              <a:t>The new resilience </a:t>
            </a:r>
            <a:r>
              <a:rPr lang="en-GB" dirty="0" err="1"/>
              <a:t>disziplin</a:t>
            </a:r>
            <a:r>
              <a:rPr lang="en-GB" dirty="0"/>
              <a:t> </a:t>
            </a:r>
            <a:r>
              <a:rPr lang="en-GB" dirty="0" err="1"/>
              <a:t>ResOps</a:t>
            </a:r>
            <a:r>
              <a:rPr lang="en-GB" dirty="0"/>
              <a:t>!</a:t>
            </a:r>
          </a:p>
        </p:txBody>
      </p:sp>
      <p:sp>
        <p:nvSpPr>
          <p:cNvPr id="3" name="Footer Placeholder 2">
            <a:extLst>
              <a:ext uri="{FF2B5EF4-FFF2-40B4-BE49-F238E27FC236}">
                <a16:creationId xmlns:a16="http://schemas.microsoft.com/office/drawing/2014/main" id="{226DBF41-7C56-EC88-706A-30C74F9F31BC}"/>
              </a:ext>
            </a:extLst>
          </p:cNvPr>
          <p:cNvSpPr>
            <a:spLocks noGrp="1"/>
          </p:cNvSpPr>
          <p:nvPr>
            <p:ph type="ftr" sz="quarter" idx="10"/>
          </p:nvPr>
        </p:nvSpPr>
        <p:spPr/>
        <p:txBody>
          <a:bodyPr/>
          <a:lstStyle/>
          <a:p>
            <a:r>
              <a:rPr lang="en-US"/>
              <a:t>© Commvault 2026</a:t>
            </a:r>
          </a:p>
        </p:txBody>
      </p:sp>
      <p:pic>
        <p:nvPicPr>
          <p:cNvPr id="9" name="Graphic 47">
            <a:extLst>
              <a:ext uri="{FF2B5EF4-FFF2-40B4-BE49-F238E27FC236}">
                <a16:creationId xmlns:a16="http://schemas.microsoft.com/office/drawing/2014/main" id="{FB820903-8CDB-075E-2568-CEF3F5BB37E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98831" y="2442463"/>
            <a:ext cx="1148888" cy="1148888"/>
          </a:xfrm>
          <a:prstGeom prst="rect">
            <a:avLst/>
          </a:prstGeom>
        </p:spPr>
      </p:pic>
    </p:spTree>
    <p:extLst>
      <p:ext uri="{BB962C8B-B14F-4D97-AF65-F5344CB8AC3E}">
        <p14:creationId xmlns:p14="http://schemas.microsoft.com/office/powerpoint/2010/main" val="61513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Imagen 3">
            <a:extLst>
              <a:ext uri="{FF2B5EF4-FFF2-40B4-BE49-F238E27FC236}">
                <a16:creationId xmlns:a16="http://schemas.microsoft.com/office/drawing/2014/main" id="{537597DA-5E4C-3691-CFDC-E24C903233BD}"/>
              </a:ext>
            </a:extLst>
          </p:cNvPr>
          <p:cNvPicPr>
            <a:picLocks noChangeAspect="1"/>
          </p:cNvPicPr>
          <p:nvPr/>
        </p:nvPicPr>
        <p:blipFill>
          <a:blip r:embed="rId2"/>
          <a:srcRect l="394" r="920"/>
          <a:stretch>
            <a:fillRect/>
          </a:stretch>
        </p:blipFill>
        <p:spPr>
          <a:xfrm>
            <a:off x="20" y="1282"/>
            <a:ext cx="12191980" cy="6856718"/>
          </a:xfrm>
          <a:prstGeom prst="rect">
            <a:avLst/>
          </a:prstGeom>
        </p:spPr>
      </p:pic>
    </p:spTree>
    <p:extLst>
      <p:ext uri="{BB962C8B-B14F-4D97-AF65-F5344CB8AC3E}">
        <p14:creationId xmlns:p14="http://schemas.microsoft.com/office/powerpoint/2010/main" val="21775819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2">
            <a:extLst>
              <a:ext uri="{FF2B5EF4-FFF2-40B4-BE49-F238E27FC236}">
                <a16:creationId xmlns:a16="http://schemas.microsoft.com/office/drawing/2014/main" id="{3BF1B02B-8157-ECEA-B655-2AE77DC9499A}"/>
              </a:ext>
            </a:extLst>
          </p:cNvPr>
          <p:cNvPicPr>
            <a:picLocks noChangeAspect="1"/>
          </p:cNvPicPr>
          <p:nvPr/>
        </p:nvPicPr>
        <p:blipFill>
          <a:blip r:embed="rId3"/>
          <a:srcRect b="23361"/>
          <a:stretch>
            <a:fillRect/>
          </a:stretch>
        </p:blipFill>
        <p:spPr>
          <a:xfrm>
            <a:off x="-38100" y="0"/>
            <a:ext cx="12230100" cy="6877051"/>
          </a:xfrm>
          <a:prstGeom prst="rect">
            <a:avLst/>
          </a:prstGeom>
        </p:spPr>
      </p:pic>
      <p:pic>
        <p:nvPicPr>
          <p:cNvPr id="24" name="Picture 23">
            <a:extLst>
              <a:ext uri="{FF2B5EF4-FFF2-40B4-BE49-F238E27FC236}">
                <a16:creationId xmlns:a16="http://schemas.microsoft.com/office/drawing/2014/main" id="{87FC5510-5647-E4D2-1E8C-65BB8B9C25E7}"/>
              </a:ext>
            </a:extLst>
          </p:cNvPr>
          <p:cNvPicPr>
            <a:picLocks noChangeAspect="1"/>
          </p:cNvPicPr>
          <p:nvPr/>
        </p:nvPicPr>
        <p:blipFill>
          <a:blip r:embed="rId4"/>
          <a:stretch>
            <a:fillRect/>
          </a:stretch>
        </p:blipFill>
        <p:spPr>
          <a:xfrm>
            <a:off x="656006" y="1570287"/>
            <a:ext cx="10848241" cy="4474900"/>
          </a:xfrm>
          <a:prstGeom prst="rect">
            <a:avLst/>
          </a:prstGeom>
        </p:spPr>
      </p:pic>
      <p:pic>
        <p:nvPicPr>
          <p:cNvPr id="4" name="Frame 5" descr="preencoded.png"/>
          <p:cNvPicPr>
            <a:picLocks noChangeAspect="1"/>
          </p:cNvPicPr>
          <p:nvPr/>
        </p:nvPicPr>
        <p:blipFill>
          <a:blip>
            <a:extLst>
              <a:ext uri="{96DAC541-7B7A-43D3-8B79-37D633B846F1}">
                <asvg:svgBlip xmlns:asvg="http://schemas.microsoft.com/office/drawing/2016/SVG/main" r:embed="rId5"/>
              </a:ext>
            </a:extLst>
          </a:blip>
          <a:srcRect/>
          <a:stretch/>
        </p:blipFill>
        <p:spPr>
          <a:xfrm>
            <a:off x="8223252" y="2279423"/>
            <a:ext cx="1308291" cy="1092428"/>
          </a:xfrm>
          <a:prstGeom prst="rect">
            <a:avLst/>
          </a:prstGeom>
        </p:spPr>
      </p:pic>
      <p:sp>
        <p:nvSpPr>
          <p:cNvPr id="5" name="Market Dynamics"/>
          <p:cNvSpPr/>
          <p:nvPr/>
        </p:nvSpPr>
        <p:spPr>
          <a:xfrm>
            <a:off x="558802" y="533401"/>
            <a:ext cx="3040063" cy="292100"/>
          </a:xfrm>
          <a:prstGeom prst="rect">
            <a:avLst/>
          </a:prstGeom>
          <a:noFill/>
          <a:ln/>
        </p:spPr>
        <p:txBody>
          <a:bodyPr wrap="square" lIns="0" tIns="0" rIns="0" bIns="0" rtlCol="0" anchor="t"/>
          <a:lstStyle/>
          <a:p>
            <a:pPr defTabSz="914424">
              <a:lnSpc>
                <a:spcPct val="116667"/>
              </a:lnSpc>
            </a:pPr>
            <a:r>
              <a:rPr lang="en-US" sz="1000" b="1" kern="0" spc="200" dirty="0">
                <a:solidFill>
                  <a:srgbClr val="6D7494"/>
                </a:solidFill>
                <a:latin typeface="Arial" panose="020B0604020202020204" pitchFamily="34" charset="0"/>
                <a:ea typeface="Galano Grotesque SemiBold" pitchFamily="34" charset="-122"/>
                <a:cs typeface="Arial" panose="020B0604020202020204" pitchFamily="34" charset="0"/>
                <a:sym typeface="Arial"/>
              </a:rPr>
              <a:t>OUR VISION</a:t>
            </a:r>
            <a:endParaRPr lang="en-US" sz="1000" dirty="0">
              <a:solidFill>
                <a:srgbClr val="000000"/>
              </a:solidFill>
              <a:latin typeface="Arial"/>
              <a:cs typeface="Arial"/>
              <a:sym typeface="Arial"/>
            </a:endParaRPr>
          </a:p>
        </p:txBody>
      </p:sp>
      <p:sp>
        <p:nvSpPr>
          <p:cNvPr id="6" name="Enabling ResOps The new operating model of the enterprise"/>
          <p:cNvSpPr/>
          <p:nvPr/>
        </p:nvSpPr>
        <p:spPr>
          <a:xfrm>
            <a:off x="-6350" y="825501"/>
            <a:ext cx="12204700" cy="1257300"/>
          </a:xfrm>
          <a:prstGeom prst="rect">
            <a:avLst/>
          </a:prstGeom>
          <a:noFill/>
          <a:ln/>
        </p:spPr>
        <p:txBody>
          <a:bodyPr wrap="square" lIns="0" tIns="0" rIns="0" bIns="0" rtlCol="0" anchor="t"/>
          <a:lstStyle/>
          <a:p>
            <a:pPr algn="ctr" defTabSz="914424">
              <a:lnSpc>
                <a:spcPct val="91667"/>
              </a:lnSpc>
            </a:pPr>
            <a:r>
              <a:rPr lang="en-US" sz="4500" kern="0" dirty="0">
                <a:solidFill>
                  <a:srgbClr val="FFFFFF"/>
                </a:solidFill>
                <a:latin typeface="Arial" panose="020B0604020202020204" pitchFamily="34" charset="0"/>
                <a:ea typeface="Galano Grotesque Regular" pitchFamily="34" charset="-122"/>
                <a:cs typeface="Arial" panose="020B0604020202020204" pitchFamily="34" charset="0"/>
                <a:sym typeface="Arial"/>
              </a:rPr>
              <a:t>Enabling </a:t>
            </a:r>
            <a:r>
              <a:rPr lang="en-US" sz="4500" kern="0" dirty="0">
                <a:solidFill>
                  <a:srgbClr val="AF8DB9"/>
                </a:solidFill>
                <a:latin typeface="Arial" panose="020B0604020202020204" pitchFamily="34" charset="0"/>
                <a:ea typeface="Galano Grotesque Regular" pitchFamily="34" charset="-122"/>
                <a:cs typeface="Arial" panose="020B0604020202020204" pitchFamily="34" charset="0"/>
                <a:sym typeface="Arial"/>
              </a:rPr>
              <a:t>Resilience Operations: </a:t>
            </a:r>
          </a:p>
          <a:p>
            <a:pPr algn="ctr" defTabSz="914424">
              <a:lnSpc>
                <a:spcPct val="91667"/>
              </a:lnSpc>
            </a:pPr>
            <a:r>
              <a:rPr lang="en-US" sz="4500" kern="0" dirty="0">
                <a:solidFill>
                  <a:srgbClr val="FFFFFF"/>
                </a:solidFill>
                <a:latin typeface="Arial" panose="020B0604020202020204" pitchFamily="34" charset="0"/>
                <a:ea typeface="Galano Grotesque Regular" pitchFamily="34" charset="-122"/>
                <a:cs typeface="Arial" panose="020B0604020202020204" pitchFamily="34" charset="0"/>
                <a:sym typeface="Arial"/>
              </a:rPr>
              <a:t>The new operating model of the enterprise.</a:t>
            </a:r>
            <a:endParaRPr lang="en-US" sz="4500" dirty="0">
              <a:solidFill>
                <a:srgbClr val="000000"/>
              </a:solidFill>
              <a:latin typeface="Arial"/>
              <a:cs typeface="Arial"/>
              <a:sym typeface="Arial"/>
            </a:endParaRPr>
          </a:p>
        </p:txBody>
      </p:sp>
      <p:sp>
        <p:nvSpPr>
          <p:cNvPr id="7" name="RECOVER"/>
          <p:cNvSpPr/>
          <p:nvPr/>
        </p:nvSpPr>
        <p:spPr>
          <a:xfrm>
            <a:off x="3810001" y="2914649"/>
            <a:ext cx="1098551" cy="95251"/>
          </a:xfrm>
          <a:prstGeom prst="rect">
            <a:avLst/>
          </a:prstGeom>
          <a:noFill/>
          <a:ln/>
        </p:spPr>
        <p:txBody>
          <a:bodyPr wrap="square" lIns="0" tIns="0" rIns="0" bIns="0" rtlCol="0" anchor="t"/>
          <a:lstStyle/>
          <a:p>
            <a:pPr defTabSz="914424">
              <a:lnSpc>
                <a:spcPct val="85833"/>
              </a:lnSpc>
            </a:pPr>
            <a:r>
              <a:rPr lang="en-US" sz="751" b="1" u="sng" kern="0">
                <a:solidFill>
                  <a:srgbClr val="CBB7C8"/>
                </a:solidFill>
                <a:latin typeface="Arial" panose="020B0604020202020204" pitchFamily="34" charset="0"/>
                <a:ea typeface="Galano Grotesque SemiBold" pitchFamily="34" charset="-122"/>
                <a:cs typeface="Arial" panose="020B0604020202020204" pitchFamily="34" charset="0"/>
                <a:sym typeface="Arial"/>
              </a:rPr>
              <a:t>RECOVER</a:t>
            </a:r>
            <a:endParaRPr lang="en-US" sz="751" u="sng">
              <a:solidFill>
                <a:srgbClr val="000000"/>
              </a:solidFill>
              <a:latin typeface="Arial"/>
              <a:cs typeface="Arial"/>
              <a:sym typeface="Arial"/>
            </a:endParaRPr>
          </a:p>
        </p:txBody>
      </p:sp>
      <p:sp>
        <p:nvSpPr>
          <p:cNvPr id="8" name="Restoring clean known good data states"/>
          <p:cNvSpPr/>
          <p:nvPr/>
        </p:nvSpPr>
        <p:spPr>
          <a:xfrm>
            <a:off x="3810001" y="3086100"/>
            <a:ext cx="1073151" cy="635000"/>
          </a:xfrm>
          <a:prstGeom prst="rect">
            <a:avLst/>
          </a:prstGeom>
          <a:noFill/>
          <a:ln/>
        </p:spPr>
        <p:txBody>
          <a:bodyPr wrap="square" lIns="0" tIns="0" rIns="0" bIns="0" rtlCol="0" anchor="t"/>
          <a:lstStyle/>
          <a:p>
            <a:pPr defTabSz="914424">
              <a:lnSpc>
                <a:spcPct val="85833"/>
              </a:lnSpc>
            </a:pPr>
            <a:r>
              <a:rPr lang="en-US" sz="1200" kern="0">
                <a:solidFill>
                  <a:srgbClr val="FFFFFF"/>
                </a:solidFill>
                <a:latin typeface="Arial" panose="020B0604020202020204" pitchFamily="34" charset="0"/>
                <a:ea typeface="Galano Grotesque Regular" pitchFamily="34" charset="-122"/>
                <a:cs typeface="Arial" panose="020B0604020202020204" pitchFamily="34" charset="0"/>
                <a:sym typeface="Arial"/>
              </a:rPr>
              <a:t>Restoring</a:t>
            </a:r>
            <a:r>
              <a:rPr lang="en-US" sz="1200" kern="0">
                <a:solidFill>
                  <a:srgbClr val="CBB7C8"/>
                </a:solidFill>
                <a:latin typeface="Arial" panose="020B0604020202020204" pitchFamily="34" charset="0"/>
                <a:ea typeface="Galano Grotesque Regular" pitchFamily="34" charset="-122"/>
                <a:cs typeface="Arial" panose="020B0604020202020204" pitchFamily="34" charset="0"/>
                <a:sym typeface="Arial"/>
              </a:rPr>
              <a:t> clean, known good data states</a:t>
            </a:r>
            <a:endParaRPr lang="en-US" sz="1200">
              <a:solidFill>
                <a:srgbClr val="000000"/>
              </a:solidFill>
              <a:latin typeface="Arial"/>
              <a:cs typeface="Arial"/>
              <a:sym typeface="Arial"/>
            </a:endParaRPr>
          </a:p>
        </p:txBody>
      </p:sp>
      <p:sp>
        <p:nvSpPr>
          <p:cNvPr id="9" name="DISCOVER AND PROTECT"/>
          <p:cNvSpPr/>
          <p:nvPr/>
        </p:nvSpPr>
        <p:spPr>
          <a:xfrm>
            <a:off x="1168401" y="4076700"/>
            <a:ext cx="2419351" cy="95251"/>
          </a:xfrm>
          <a:prstGeom prst="rect">
            <a:avLst/>
          </a:prstGeom>
          <a:noFill/>
          <a:ln/>
        </p:spPr>
        <p:txBody>
          <a:bodyPr wrap="square" lIns="0" tIns="0" rIns="0" bIns="0" rtlCol="0" anchor="t"/>
          <a:lstStyle/>
          <a:p>
            <a:pPr defTabSz="914424">
              <a:lnSpc>
                <a:spcPct val="85833"/>
              </a:lnSpc>
            </a:pPr>
            <a:r>
              <a:rPr lang="en-US" sz="751" b="1" u="sng" kern="0">
                <a:solidFill>
                  <a:srgbClr val="CBB7C8"/>
                </a:solidFill>
                <a:latin typeface="Arial" panose="020B0604020202020204" pitchFamily="34" charset="0"/>
                <a:ea typeface="Galano Grotesque SemiBold" pitchFamily="34" charset="-122"/>
                <a:cs typeface="Arial" panose="020B0604020202020204" pitchFamily="34" charset="0"/>
                <a:sym typeface="Arial"/>
              </a:rPr>
              <a:t>DISCOVER AND PROTECT</a:t>
            </a:r>
            <a:endParaRPr lang="en-US" sz="751" u="sng">
              <a:solidFill>
                <a:srgbClr val="000000"/>
              </a:solidFill>
              <a:latin typeface="Arial"/>
              <a:cs typeface="Arial"/>
              <a:sym typeface="Arial"/>
            </a:endParaRPr>
          </a:p>
        </p:txBody>
      </p:sp>
      <p:sp>
        <p:nvSpPr>
          <p:cNvPr id="10" name="Securing AI data at the sources"/>
          <p:cNvSpPr/>
          <p:nvPr/>
        </p:nvSpPr>
        <p:spPr>
          <a:xfrm>
            <a:off x="1168400" y="4248150"/>
            <a:ext cx="2362200" cy="158751"/>
          </a:xfrm>
          <a:prstGeom prst="rect">
            <a:avLst/>
          </a:prstGeom>
          <a:noFill/>
          <a:ln/>
        </p:spPr>
        <p:txBody>
          <a:bodyPr wrap="square" lIns="0" tIns="0" rIns="0" bIns="0" rtlCol="0" anchor="t"/>
          <a:lstStyle/>
          <a:p>
            <a:pPr defTabSz="914424">
              <a:lnSpc>
                <a:spcPct val="85833"/>
              </a:lnSpc>
            </a:pPr>
            <a:r>
              <a:rPr lang="en-US" sz="1200" kern="0">
                <a:solidFill>
                  <a:srgbClr val="FFFFFF"/>
                </a:solidFill>
                <a:latin typeface="Arial" panose="020B0604020202020204" pitchFamily="34" charset="0"/>
                <a:ea typeface="Galano Grotesque Regular" pitchFamily="34" charset="-122"/>
                <a:cs typeface="Arial" panose="020B0604020202020204" pitchFamily="34" charset="0"/>
                <a:sym typeface="Arial"/>
              </a:rPr>
              <a:t>Protecting </a:t>
            </a:r>
            <a:r>
              <a:rPr lang="en-US" sz="1200" kern="0">
                <a:solidFill>
                  <a:srgbClr val="CBB7C8"/>
                </a:solidFill>
                <a:latin typeface="Arial" panose="020B0604020202020204" pitchFamily="34" charset="0"/>
                <a:ea typeface="Galano Grotesque Regular" pitchFamily="34" charset="-122"/>
                <a:cs typeface="Arial" panose="020B0604020202020204" pitchFamily="34" charset="0"/>
                <a:sym typeface="Arial"/>
              </a:rPr>
              <a:t>data across all environments</a:t>
            </a:r>
            <a:endParaRPr lang="en-US" sz="1200">
              <a:solidFill>
                <a:srgbClr val="000000"/>
              </a:solidFill>
              <a:latin typeface="Arial"/>
              <a:cs typeface="Arial"/>
              <a:sym typeface="Arial"/>
            </a:endParaRPr>
          </a:p>
        </p:txBody>
      </p:sp>
      <p:sp>
        <p:nvSpPr>
          <p:cNvPr id="11" name="DETECT"/>
          <p:cNvSpPr/>
          <p:nvPr/>
        </p:nvSpPr>
        <p:spPr>
          <a:xfrm>
            <a:off x="8286750" y="2343149"/>
            <a:ext cx="1225551" cy="95251"/>
          </a:xfrm>
          <a:prstGeom prst="rect">
            <a:avLst/>
          </a:prstGeom>
          <a:noFill/>
          <a:ln/>
        </p:spPr>
        <p:txBody>
          <a:bodyPr wrap="square" lIns="0" tIns="0" rIns="0" bIns="0" rtlCol="0" anchor="t"/>
          <a:lstStyle/>
          <a:p>
            <a:pPr defTabSz="914424">
              <a:lnSpc>
                <a:spcPct val="85833"/>
              </a:lnSpc>
            </a:pPr>
            <a:r>
              <a:rPr lang="en-US" sz="751" b="1" u="sng" kern="0">
                <a:solidFill>
                  <a:srgbClr val="CBB7C8"/>
                </a:solidFill>
                <a:latin typeface="Arial" panose="020B0604020202020204" pitchFamily="34" charset="0"/>
                <a:ea typeface="Galano Grotesque SemiBold" pitchFamily="34" charset="-122"/>
                <a:cs typeface="Arial" panose="020B0604020202020204" pitchFamily="34" charset="0"/>
                <a:sym typeface="Arial"/>
              </a:rPr>
              <a:t>DETECT</a:t>
            </a:r>
            <a:endParaRPr lang="en-US" sz="751" u="sng">
              <a:solidFill>
                <a:srgbClr val="000000"/>
              </a:solidFill>
              <a:latin typeface="Arial"/>
              <a:cs typeface="Arial"/>
              <a:sym typeface="Arial"/>
            </a:endParaRPr>
          </a:p>
        </p:txBody>
      </p:sp>
      <p:sp>
        <p:nvSpPr>
          <p:cNvPr id="12" name="Observing changes in real time including malicious and unintended"/>
          <p:cNvSpPr/>
          <p:nvPr/>
        </p:nvSpPr>
        <p:spPr>
          <a:xfrm>
            <a:off x="8286751" y="2514601"/>
            <a:ext cx="1193800" cy="793751"/>
          </a:xfrm>
          <a:prstGeom prst="rect">
            <a:avLst/>
          </a:prstGeom>
          <a:noFill/>
          <a:ln/>
        </p:spPr>
        <p:txBody>
          <a:bodyPr wrap="square" lIns="0" tIns="0" rIns="0" bIns="0" rtlCol="0" anchor="t"/>
          <a:lstStyle/>
          <a:p>
            <a:pPr defTabSz="914424">
              <a:lnSpc>
                <a:spcPct val="85833"/>
              </a:lnSpc>
            </a:pPr>
            <a:r>
              <a:rPr lang="en-US" sz="1200" kern="0">
                <a:solidFill>
                  <a:srgbClr val="FFFFFF"/>
                </a:solidFill>
                <a:latin typeface="Arial" panose="020B0604020202020204" pitchFamily="34" charset="0"/>
                <a:ea typeface="Galano Grotesque Regular" pitchFamily="34" charset="-122"/>
                <a:cs typeface="Arial" panose="020B0604020202020204" pitchFamily="34" charset="0"/>
                <a:sym typeface="Arial"/>
              </a:rPr>
              <a:t>Observing </a:t>
            </a:r>
            <a:r>
              <a:rPr lang="en-US" sz="1200" kern="0">
                <a:solidFill>
                  <a:srgbClr val="CBB7C8"/>
                </a:solidFill>
                <a:latin typeface="Arial" panose="020B0604020202020204" pitchFamily="34" charset="0"/>
                <a:ea typeface="Galano Grotesque Regular" pitchFamily="34" charset="-122"/>
                <a:cs typeface="Arial" panose="020B0604020202020204" pitchFamily="34" charset="0"/>
                <a:sym typeface="Arial"/>
              </a:rPr>
              <a:t>changes in real time (including malicious and unintended)</a:t>
            </a:r>
            <a:endParaRPr lang="en-US" sz="1200">
              <a:solidFill>
                <a:srgbClr val="000000"/>
              </a:solidFill>
              <a:latin typeface="Arial"/>
              <a:cs typeface="Arial"/>
              <a:sym typeface="Arial"/>
            </a:endParaRPr>
          </a:p>
        </p:txBody>
      </p:sp>
      <p:sp>
        <p:nvSpPr>
          <p:cNvPr id="13" name="CONTINUOUS BUSINESS"/>
          <p:cNvSpPr/>
          <p:nvPr/>
        </p:nvSpPr>
        <p:spPr>
          <a:xfrm>
            <a:off x="10420350" y="3860800"/>
            <a:ext cx="1225551" cy="95251"/>
          </a:xfrm>
          <a:prstGeom prst="rect">
            <a:avLst/>
          </a:prstGeom>
          <a:noFill/>
          <a:ln/>
        </p:spPr>
        <p:txBody>
          <a:bodyPr wrap="square" lIns="0" tIns="0" rIns="0" bIns="0" rtlCol="0" anchor="t"/>
          <a:lstStyle/>
          <a:p>
            <a:pPr defTabSz="914424">
              <a:lnSpc>
                <a:spcPct val="85833"/>
              </a:lnSpc>
            </a:pPr>
            <a:r>
              <a:rPr lang="en-US" sz="751" b="1" u="sng" kern="0">
                <a:solidFill>
                  <a:srgbClr val="CBB7C8"/>
                </a:solidFill>
                <a:latin typeface="Arial" panose="020B0604020202020204" pitchFamily="34" charset="0"/>
                <a:ea typeface="Galano Grotesque SemiBold" pitchFamily="34" charset="-122"/>
                <a:cs typeface="Arial" panose="020B0604020202020204" pitchFamily="34" charset="0"/>
                <a:sym typeface="Arial"/>
              </a:rPr>
              <a:t>CONTINUOUS BUSINESS</a:t>
            </a:r>
            <a:endParaRPr lang="en-US" sz="751" u="sng">
              <a:solidFill>
                <a:srgbClr val="000000"/>
              </a:solidFill>
              <a:latin typeface="Arial"/>
              <a:cs typeface="Arial"/>
              <a:sym typeface="Arial"/>
            </a:endParaRPr>
          </a:p>
        </p:txBody>
      </p:sp>
      <p:sp>
        <p:nvSpPr>
          <p:cNvPr id="14" name="Feeding safe governed data back into AI systems"/>
          <p:cNvSpPr/>
          <p:nvPr/>
        </p:nvSpPr>
        <p:spPr>
          <a:xfrm>
            <a:off x="10420351" y="4032251"/>
            <a:ext cx="1193800" cy="635000"/>
          </a:xfrm>
          <a:prstGeom prst="rect">
            <a:avLst/>
          </a:prstGeom>
          <a:noFill/>
          <a:ln/>
        </p:spPr>
        <p:txBody>
          <a:bodyPr wrap="square" lIns="0" tIns="0" rIns="0" bIns="0" rtlCol="0" anchor="t"/>
          <a:lstStyle/>
          <a:p>
            <a:pPr defTabSz="914424">
              <a:lnSpc>
                <a:spcPct val="85833"/>
              </a:lnSpc>
            </a:pPr>
            <a:r>
              <a:rPr lang="en-US" sz="1200" kern="0">
                <a:solidFill>
                  <a:srgbClr val="FFFFFF"/>
                </a:solidFill>
                <a:latin typeface="Arial" panose="020B0604020202020204" pitchFamily="34" charset="0"/>
                <a:ea typeface="Galano Grotesque Regular" pitchFamily="34" charset="-122"/>
                <a:cs typeface="Arial" panose="020B0604020202020204" pitchFamily="34" charset="0"/>
                <a:sym typeface="Arial"/>
              </a:rPr>
              <a:t>Feeding </a:t>
            </a:r>
            <a:r>
              <a:rPr lang="en-US" sz="1200" kern="0">
                <a:solidFill>
                  <a:srgbClr val="CBB7C8"/>
                </a:solidFill>
                <a:latin typeface="Arial" panose="020B0604020202020204" pitchFamily="34" charset="0"/>
                <a:ea typeface="Galano Grotesque Regular" pitchFamily="34" charset="-122"/>
                <a:cs typeface="Arial" panose="020B0604020202020204" pitchFamily="34" charset="0"/>
                <a:sym typeface="Arial"/>
              </a:rPr>
              <a:t>safe, governed data back into critical systems</a:t>
            </a:r>
            <a:endParaRPr lang="en-US" sz="1200">
              <a:solidFill>
                <a:srgbClr val="000000"/>
              </a:solidFill>
              <a:latin typeface="Arial"/>
              <a:cs typeface="Arial"/>
              <a:sym typeface="Arial"/>
            </a:endParaRPr>
          </a:p>
        </p:txBody>
      </p:sp>
      <p:sp>
        <p:nvSpPr>
          <p:cNvPr id="16" name="From passive to active Resilience that delivers a trusted foundation of clean AI-ready data at enterprise scale"/>
          <p:cNvSpPr/>
          <p:nvPr/>
        </p:nvSpPr>
        <p:spPr>
          <a:xfrm>
            <a:off x="2508249" y="6121401"/>
            <a:ext cx="7181851" cy="495300"/>
          </a:xfrm>
          <a:prstGeom prst="rect">
            <a:avLst/>
          </a:prstGeom>
          <a:noFill/>
          <a:ln/>
        </p:spPr>
        <p:txBody>
          <a:bodyPr wrap="square" lIns="0" tIns="0" rIns="0" bIns="0" rtlCol="0" anchor="ctr"/>
          <a:lstStyle/>
          <a:p>
            <a:pPr algn="ctr" defTabSz="914424">
              <a:lnSpc>
                <a:spcPct val="91667"/>
              </a:lnSpc>
            </a:pPr>
            <a:r>
              <a:rPr lang="en-US" sz="1751">
                <a:solidFill>
                  <a:srgbClr val="AF8DB9"/>
                </a:solidFill>
                <a:latin typeface="Arial" panose="020B0604020202020204" pitchFamily="34" charset="0"/>
                <a:ea typeface="Galano Grotesque Light" pitchFamily="34" charset="-122"/>
                <a:cs typeface="Arial" panose="020B0604020202020204" pitchFamily="34" charset="0"/>
                <a:sym typeface="Arial"/>
              </a:rPr>
              <a:t>From passive to active: </a:t>
            </a:r>
            <a:r>
              <a:rPr lang="en-US" sz="1751">
                <a:solidFill>
                  <a:srgbClr val="D9D9D9"/>
                </a:solidFill>
                <a:latin typeface="Arial" panose="020B0604020202020204" pitchFamily="34" charset="0"/>
                <a:ea typeface="Galano Grotesque Light" pitchFamily="34" charset="-122"/>
                <a:cs typeface="Arial" panose="020B0604020202020204" pitchFamily="34" charset="0"/>
                <a:sym typeface="Arial"/>
              </a:rPr>
              <a:t>Resilience that delivers a trusted foundation of clean, AI-ready data at enterprise scale.</a:t>
            </a:r>
            <a:endParaRPr lang="en-US" sz="1751">
              <a:solidFill>
                <a:srgbClr val="000000"/>
              </a:solidFill>
              <a:latin typeface="Arial"/>
              <a:cs typeface="Arial"/>
              <a:sym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Imagen 3">
            <a:extLst>
              <a:ext uri="{FF2B5EF4-FFF2-40B4-BE49-F238E27FC236}">
                <a16:creationId xmlns:a16="http://schemas.microsoft.com/office/drawing/2014/main" id="{31920ECC-9B62-02F9-9605-D7A7DF96A088}"/>
              </a:ext>
            </a:extLst>
          </p:cNvPr>
          <p:cNvPicPr>
            <a:picLocks noChangeAspect="1"/>
          </p:cNvPicPr>
          <p:nvPr/>
        </p:nvPicPr>
        <p:blipFill>
          <a:blip r:embed="rId2"/>
          <a:srcRect r="425" b="-1"/>
          <a:stretch>
            <a:fillRect/>
          </a:stretch>
        </p:blipFill>
        <p:spPr>
          <a:xfrm>
            <a:off x="20" y="1282"/>
            <a:ext cx="12191980" cy="6856718"/>
          </a:xfrm>
          <a:prstGeom prst="rect">
            <a:avLst/>
          </a:prstGeom>
        </p:spPr>
      </p:pic>
    </p:spTree>
    <p:extLst>
      <p:ext uri="{BB962C8B-B14F-4D97-AF65-F5344CB8AC3E}">
        <p14:creationId xmlns:p14="http://schemas.microsoft.com/office/powerpoint/2010/main" val="40115767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Marcador de contenido 3">
            <a:extLst>
              <a:ext uri="{FF2B5EF4-FFF2-40B4-BE49-F238E27FC236}">
                <a16:creationId xmlns:a16="http://schemas.microsoft.com/office/drawing/2014/main" id="{CAD40DE3-11F8-5C37-87D2-196FA1C67E32}"/>
              </a:ext>
            </a:extLst>
          </p:cNvPr>
          <p:cNvPicPr>
            <a:picLocks noGrp="1" noChangeAspect="1"/>
          </p:cNvPicPr>
          <p:nvPr>
            <p:ph idx="1"/>
          </p:nvPr>
        </p:nvPicPr>
        <p:blipFill>
          <a:blip r:embed="rId2"/>
          <a:srcRect r="425" b="-1"/>
          <a:stretch>
            <a:fillRect/>
          </a:stretch>
        </p:blipFill>
        <p:spPr>
          <a:xfrm>
            <a:off x="20" y="1282"/>
            <a:ext cx="12191980" cy="6856718"/>
          </a:xfrm>
          <a:prstGeom prst="rect">
            <a:avLst/>
          </a:prstGeom>
        </p:spPr>
      </p:pic>
    </p:spTree>
    <p:extLst>
      <p:ext uri="{BB962C8B-B14F-4D97-AF65-F5344CB8AC3E}">
        <p14:creationId xmlns:p14="http://schemas.microsoft.com/office/powerpoint/2010/main" val="26811187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Marcador de contenido 3">
            <a:extLst>
              <a:ext uri="{FF2B5EF4-FFF2-40B4-BE49-F238E27FC236}">
                <a16:creationId xmlns:a16="http://schemas.microsoft.com/office/drawing/2014/main" id="{8EB6E69A-F9D8-F2FC-2D70-2AB18D01C75A}"/>
              </a:ext>
            </a:extLst>
          </p:cNvPr>
          <p:cNvPicPr>
            <a:picLocks noGrp="1" noChangeAspect="1"/>
          </p:cNvPicPr>
          <p:nvPr>
            <p:ph idx="1"/>
          </p:nvPr>
        </p:nvPicPr>
        <p:blipFill>
          <a:blip r:embed="rId2"/>
          <a:srcRect t="461"/>
          <a:stretch>
            <a:fillRect/>
          </a:stretch>
        </p:blipFill>
        <p:spPr>
          <a:xfrm>
            <a:off x="20" y="1282"/>
            <a:ext cx="12191980" cy="6856718"/>
          </a:xfrm>
          <a:prstGeom prst="rect">
            <a:avLst/>
          </a:prstGeom>
        </p:spPr>
      </p:pic>
    </p:spTree>
    <p:extLst>
      <p:ext uri="{BB962C8B-B14F-4D97-AF65-F5344CB8AC3E}">
        <p14:creationId xmlns:p14="http://schemas.microsoft.com/office/powerpoint/2010/main" val="6894496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Imagen 3">
            <a:extLst>
              <a:ext uri="{FF2B5EF4-FFF2-40B4-BE49-F238E27FC236}">
                <a16:creationId xmlns:a16="http://schemas.microsoft.com/office/drawing/2014/main" id="{189F1610-1C2D-9676-6F6E-9D29AD1E0787}"/>
              </a:ext>
            </a:extLst>
          </p:cNvPr>
          <p:cNvPicPr>
            <a:picLocks noChangeAspect="1"/>
          </p:cNvPicPr>
          <p:nvPr/>
        </p:nvPicPr>
        <p:blipFill>
          <a:blip r:embed="rId2"/>
          <a:srcRect t="461"/>
          <a:stretch>
            <a:fillRect/>
          </a:stretch>
        </p:blipFill>
        <p:spPr>
          <a:xfrm>
            <a:off x="20" y="1282"/>
            <a:ext cx="12191980" cy="6856718"/>
          </a:xfrm>
          <a:prstGeom prst="rect">
            <a:avLst/>
          </a:prstGeom>
        </p:spPr>
      </p:pic>
    </p:spTree>
    <p:extLst>
      <p:ext uri="{BB962C8B-B14F-4D97-AF65-F5344CB8AC3E}">
        <p14:creationId xmlns:p14="http://schemas.microsoft.com/office/powerpoint/2010/main" val="25335337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4442AE-8BD6-6581-53D0-A9B13663E1D9}"/>
            </a:ext>
          </a:extLst>
        </p:cNvPr>
        <p:cNvGrpSpPr/>
        <p:nvPr/>
      </p:nvGrpSpPr>
      <p:grpSpPr>
        <a:xfrm>
          <a:off x="0" y="0"/>
          <a:ext cx="0" cy="0"/>
          <a:chOff x="0" y="0"/>
          <a:chExt cx="0" cy="0"/>
        </a:xfrm>
      </p:grpSpPr>
      <p:pic>
        <p:nvPicPr>
          <p:cNvPr id="2" name="2" descr="preencoded.png">
            <a:extLst>
              <a:ext uri="{FF2B5EF4-FFF2-40B4-BE49-F238E27FC236}">
                <a16:creationId xmlns:a16="http://schemas.microsoft.com/office/drawing/2014/main" id="{B7DBBDF3-210E-3B54-93A6-DCE9D3FFDF49}"/>
              </a:ext>
            </a:extLst>
          </p:cNvPr>
          <p:cNvPicPr>
            <a:picLocks noChangeAspect="1"/>
          </p:cNvPicPr>
          <p:nvPr/>
        </p:nvPicPr>
        <p:blipFill>
          <a:blip r:embed="rId8"/>
          <a:srcRect/>
          <a:stretch/>
        </p:blipFill>
        <p:spPr>
          <a:xfrm>
            <a:off x="0" y="0"/>
            <a:ext cx="12192000" cy="6858000"/>
          </a:xfrm>
          <a:prstGeom prst="rect">
            <a:avLst/>
          </a:prstGeom>
        </p:spPr>
      </p:pic>
      <p:sp>
        <p:nvSpPr>
          <p:cNvPr id="146" name="The enterprise is investing in AIand the infrastructure required to scale and secure it To get on their shortlist we must reset perception">
            <a:extLst>
              <a:ext uri="{FF2B5EF4-FFF2-40B4-BE49-F238E27FC236}">
                <a16:creationId xmlns:a16="http://schemas.microsoft.com/office/drawing/2014/main" id="{3DF2C760-2FA5-A32F-0C7E-293217A3B778}"/>
              </a:ext>
            </a:extLst>
          </p:cNvPr>
          <p:cNvSpPr/>
          <p:nvPr/>
        </p:nvSpPr>
        <p:spPr>
          <a:xfrm>
            <a:off x="552500" y="409235"/>
            <a:ext cx="11118011" cy="749482"/>
          </a:xfrm>
          <a:prstGeom prst="rect">
            <a:avLst/>
          </a:prstGeom>
          <a:noFill/>
          <a:ln/>
        </p:spPr>
        <p:txBody>
          <a:bodyPr wrap="square" lIns="0" tIns="0" rIns="0" bIns="0" rtlCol="0" anchor="t"/>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nSpc>
                <a:spcPts val="4510"/>
              </a:lnSpc>
            </a:pPr>
            <a:r>
              <a:rPr lang="en-US" sz="2800" dirty="0">
                <a:solidFill>
                  <a:schemeClr val="bg1"/>
                </a:solidFill>
                <a:latin typeface="+mj-lt"/>
                <a:ea typeface="+mj-ea"/>
                <a:cs typeface="+mj-cs"/>
              </a:rPr>
              <a:t>Commvault Cloud Unity: Five Platform Services for Unified Resilience</a:t>
            </a:r>
          </a:p>
        </p:txBody>
      </p:sp>
      <p:sp>
        <p:nvSpPr>
          <p:cNvPr id="44" name="Rectangle 43">
            <a:extLst>
              <a:ext uri="{FF2B5EF4-FFF2-40B4-BE49-F238E27FC236}">
                <a16:creationId xmlns:a16="http://schemas.microsoft.com/office/drawing/2014/main" id="{CA6D4FB5-1AF8-8A04-C26F-850570CDFBE2}"/>
              </a:ext>
            </a:extLst>
          </p:cNvPr>
          <p:cNvSpPr>
            <a:spLocks/>
          </p:cNvSpPr>
          <p:nvPr/>
        </p:nvSpPr>
        <p:spPr>
          <a:xfrm rot="16200000">
            <a:off x="7207324" y="-2427571"/>
            <a:ext cx="802795" cy="8103481"/>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6">
              <a:defRPr/>
            </a:pPr>
            <a:endParaRPr lang="es-ES_tradnl" sz="1800">
              <a:solidFill>
                <a:srgbClr val="FFFFFF"/>
              </a:solidFill>
              <a:latin typeface="Arial" panose="020B0604020202020204" pitchFamily="34" charset="0"/>
              <a:cs typeface="Arial" panose="020B0604020202020204" pitchFamily="34" charset="0"/>
            </a:endParaRPr>
          </a:p>
        </p:txBody>
      </p:sp>
      <p:grpSp>
        <p:nvGrpSpPr>
          <p:cNvPr id="133" name="Group 132">
            <a:extLst>
              <a:ext uri="{FF2B5EF4-FFF2-40B4-BE49-F238E27FC236}">
                <a16:creationId xmlns:a16="http://schemas.microsoft.com/office/drawing/2014/main" id="{82D9AB03-14E1-DC91-A15E-A6E006CB9749}"/>
              </a:ext>
            </a:extLst>
          </p:cNvPr>
          <p:cNvGrpSpPr/>
          <p:nvPr/>
        </p:nvGrpSpPr>
        <p:grpSpPr>
          <a:xfrm>
            <a:off x="3638550" y="1627266"/>
            <a:ext cx="7201898" cy="232582"/>
            <a:chOff x="6085643" y="4306447"/>
            <a:chExt cx="5298074" cy="232582"/>
          </a:xfrm>
        </p:grpSpPr>
        <p:sp>
          <p:nvSpPr>
            <p:cNvPr id="134" name="Rectangle 133">
              <a:extLst>
                <a:ext uri="{FF2B5EF4-FFF2-40B4-BE49-F238E27FC236}">
                  <a16:creationId xmlns:a16="http://schemas.microsoft.com/office/drawing/2014/main" id="{2B933F0F-3738-68B1-547A-EB7234A68563}"/>
                </a:ext>
              </a:extLst>
            </p:cNvPr>
            <p:cNvSpPr/>
            <p:nvPr/>
          </p:nvSpPr>
          <p:spPr>
            <a:xfrm>
              <a:off x="6085643" y="4328487"/>
              <a:ext cx="1241149" cy="210542"/>
            </a:xfrm>
            <a:prstGeom prst="rect">
              <a:avLst/>
            </a:prstGeom>
            <a:noFill/>
            <a:ln w="25400" cap="flat" cmpd="sng" algn="ctr">
              <a:noFill/>
              <a:prstDash val="solid"/>
            </a:ln>
            <a:effectLst/>
          </p:spPr>
          <p:txBody>
            <a:bodyPr lIns="0" tIns="0" rIns="0" bIns="0" rtlCol="0" anchor="ct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6">
                <a:defRPr/>
              </a:pPr>
              <a:r>
                <a:rPr lang="en-US" sz="1200" kern="0">
                  <a:solidFill>
                    <a:srgbClr val="FFFFFF"/>
                  </a:solidFill>
                  <a:effectLst>
                    <a:outerShdw blurRad="38100" dist="38100" dir="2700000" algn="tl">
                      <a:srgbClr val="000000">
                        <a:alpha val="43137"/>
                      </a:srgbClr>
                    </a:outerShdw>
                  </a:effectLst>
                  <a:latin typeface="Arial"/>
                  <a:cs typeface="Arial"/>
                </a:rPr>
                <a:t>Multi-Cloud data protection</a:t>
              </a:r>
            </a:p>
          </p:txBody>
        </p:sp>
        <p:sp>
          <p:nvSpPr>
            <p:cNvPr id="135" name="Rectangle 134">
              <a:extLst>
                <a:ext uri="{FF2B5EF4-FFF2-40B4-BE49-F238E27FC236}">
                  <a16:creationId xmlns:a16="http://schemas.microsoft.com/office/drawing/2014/main" id="{A1AD5973-ECFF-0894-7FBA-B6E32FF0E8F8}"/>
                </a:ext>
              </a:extLst>
            </p:cNvPr>
            <p:cNvSpPr/>
            <p:nvPr/>
          </p:nvSpPr>
          <p:spPr>
            <a:xfrm>
              <a:off x="7507396" y="4328487"/>
              <a:ext cx="1148553" cy="210542"/>
            </a:xfrm>
            <a:prstGeom prst="rect">
              <a:avLst/>
            </a:prstGeom>
            <a:noFill/>
            <a:ln w="25400" cap="flat" cmpd="sng" algn="ctr">
              <a:noFill/>
              <a:prstDash val="solid"/>
            </a:ln>
            <a:effectLst/>
          </p:spPr>
          <p:txBody>
            <a:bodyPr lIns="0" tIns="0" rIns="0" bIns="0" rtlCol="0" anchor="ct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6">
                <a:defRPr/>
              </a:pPr>
              <a:r>
                <a:rPr lang="en-US" sz="1200" kern="0">
                  <a:solidFill>
                    <a:srgbClr val="FFFFFF"/>
                  </a:solidFill>
                  <a:effectLst>
                    <a:outerShdw blurRad="38100" dist="38100" dir="2700000" algn="tl">
                      <a:srgbClr val="000000">
                        <a:alpha val="43137"/>
                      </a:srgbClr>
                    </a:outerShdw>
                  </a:effectLst>
                  <a:latin typeface="Arial"/>
                  <a:cs typeface="Arial"/>
                </a:rPr>
                <a:t>Easy onboarding</a:t>
              </a:r>
            </a:p>
          </p:txBody>
        </p:sp>
        <p:sp>
          <p:nvSpPr>
            <p:cNvPr id="136" name="Rectangle 135">
              <a:extLst>
                <a:ext uri="{FF2B5EF4-FFF2-40B4-BE49-F238E27FC236}">
                  <a16:creationId xmlns:a16="http://schemas.microsoft.com/office/drawing/2014/main" id="{3B14193A-36D9-545F-1207-1E92F30D7B6E}"/>
                </a:ext>
              </a:extLst>
            </p:cNvPr>
            <p:cNvSpPr/>
            <p:nvPr/>
          </p:nvSpPr>
          <p:spPr>
            <a:xfrm>
              <a:off x="8836553" y="4328487"/>
              <a:ext cx="1102920" cy="210542"/>
            </a:xfrm>
            <a:prstGeom prst="rect">
              <a:avLst/>
            </a:prstGeom>
            <a:noFill/>
            <a:ln w="25400" cap="flat" cmpd="sng" algn="ctr">
              <a:noFill/>
              <a:prstDash val="solid"/>
            </a:ln>
            <a:effectLst/>
          </p:spPr>
          <p:txBody>
            <a:bodyPr lIns="0" tIns="0" rIns="0" bIns="0" rtlCol="0" anchor="ct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6">
                <a:defRPr/>
              </a:pPr>
              <a:r>
                <a:rPr lang="en-US" sz="1200" kern="0">
                  <a:solidFill>
                    <a:srgbClr val="FFFFFF"/>
                  </a:solidFill>
                  <a:effectLst>
                    <a:outerShdw blurRad="38100" dist="38100" dir="2700000" algn="tl">
                      <a:srgbClr val="000000">
                        <a:alpha val="43137"/>
                      </a:srgbClr>
                    </a:outerShdw>
                  </a:effectLst>
                  <a:latin typeface="Arial"/>
                  <a:cs typeface="Arial"/>
                </a:rPr>
                <a:t>Deep workload support</a:t>
              </a:r>
            </a:p>
          </p:txBody>
        </p:sp>
        <p:cxnSp>
          <p:nvCxnSpPr>
            <p:cNvPr id="137" name="Straight Arrow Connector 136">
              <a:extLst>
                <a:ext uri="{FF2B5EF4-FFF2-40B4-BE49-F238E27FC236}">
                  <a16:creationId xmlns:a16="http://schemas.microsoft.com/office/drawing/2014/main" id="{A39DC715-F097-334A-2216-1FF5F177339F}"/>
                </a:ext>
              </a:extLst>
            </p:cNvPr>
            <p:cNvCxnSpPr>
              <a:cxnSpLocks/>
            </p:cNvCxnSpPr>
            <p:nvPr/>
          </p:nvCxnSpPr>
          <p:spPr>
            <a:xfrm>
              <a:off x="8746251" y="4328487"/>
              <a:ext cx="0" cy="210542"/>
            </a:xfrm>
            <a:prstGeom prst="straightConnector1">
              <a:avLst/>
            </a:prstGeom>
            <a:ln w="12700" cap="flat" cmpd="sng" algn="ctr">
              <a:solidFill>
                <a:schemeClr val="tx2">
                  <a:lumMod val="40000"/>
                  <a:lumOff val="60000"/>
                  <a:alpha val="6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E3A24A6D-B979-1B59-7906-1064B2F5A3BA}"/>
                </a:ext>
              </a:extLst>
            </p:cNvPr>
            <p:cNvCxnSpPr>
              <a:cxnSpLocks/>
            </p:cNvCxnSpPr>
            <p:nvPr/>
          </p:nvCxnSpPr>
          <p:spPr>
            <a:xfrm>
              <a:off x="7417094" y="4328487"/>
              <a:ext cx="0" cy="210542"/>
            </a:xfrm>
            <a:prstGeom prst="straightConnector1">
              <a:avLst/>
            </a:prstGeom>
            <a:ln w="12700" cap="flat" cmpd="sng" algn="ctr">
              <a:solidFill>
                <a:schemeClr val="tx2">
                  <a:lumMod val="40000"/>
                  <a:lumOff val="60000"/>
                  <a:alpha val="6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9" name="Rectangle 138">
              <a:extLst>
                <a:ext uri="{FF2B5EF4-FFF2-40B4-BE49-F238E27FC236}">
                  <a16:creationId xmlns:a16="http://schemas.microsoft.com/office/drawing/2014/main" id="{143B4960-9D4C-ED64-9F40-99C7CDFD2FFF}"/>
                </a:ext>
              </a:extLst>
            </p:cNvPr>
            <p:cNvSpPr/>
            <p:nvPr/>
          </p:nvSpPr>
          <p:spPr>
            <a:xfrm>
              <a:off x="10185313" y="4306447"/>
              <a:ext cx="1198404" cy="210542"/>
            </a:xfrm>
            <a:prstGeom prst="rect">
              <a:avLst/>
            </a:prstGeom>
            <a:noFill/>
            <a:ln w="25400" cap="flat" cmpd="sng" algn="ctr">
              <a:noFill/>
              <a:prstDash val="solid"/>
            </a:ln>
            <a:effectLst/>
          </p:spPr>
          <p:txBody>
            <a:bodyPr lIns="0" tIns="0" rIns="0" bIns="0" rtlCol="0" anchor="ct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6">
                <a:defRPr/>
              </a:pPr>
              <a:r>
                <a:rPr lang="en-US" sz="1200" kern="0">
                  <a:solidFill>
                    <a:srgbClr val="FFFFFF"/>
                  </a:solidFill>
                  <a:effectLst>
                    <a:outerShdw blurRad="38100" dist="38100" dir="2700000" algn="tl">
                      <a:srgbClr val="000000">
                        <a:alpha val="43137"/>
                      </a:srgbClr>
                    </a:outerShdw>
                  </a:effectLst>
                  <a:latin typeface="Arial"/>
                  <a:cs typeface="Arial"/>
                </a:rPr>
                <a:t>Integrated cyber resilience</a:t>
              </a:r>
            </a:p>
          </p:txBody>
        </p:sp>
        <p:cxnSp>
          <p:nvCxnSpPr>
            <p:cNvPr id="140" name="Straight Arrow Connector 139">
              <a:extLst>
                <a:ext uri="{FF2B5EF4-FFF2-40B4-BE49-F238E27FC236}">
                  <a16:creationId xmlns:a16="http://schemas.microsoft.com/office/drawing/2014/main" id="{CF38FA0F-45CE-D74D-00B3-C89D71ECA74D}"/>
                </a:ext>
              </a:extLst>
            </p:cNvPr>
            <p:cNvCxnSpPr>
              <a:cxnSpLocks/>
            </p:cNvCxnSpPr>
            <p:nvPr/>
          </p:nvCxnSpPr>
          <p:spPr>
            <a:xfrm>
              <a:off x="10029775" y="4328487"/>
              <a:ext cx="0" cy="210542"/>
            </a:xfrm>
            <a:prstGeom prst="straightConnector1">
              <a:avLst/>
            </a:prstGeom>
            <a:ln w="12700" cap="flat" cmpd="sng" algn="ctr">
              <a:solidFill>
                <a:schemeClr val="tx2">
                  <a:lumMod val="40000"/>
                  <a:lumOff val="60000"/>
                  <a:alpha val="6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5" name="Rectangle 6563" descr="preencoded.png">
            <a:extLst>
              <a:ext uri="{FF2B5EF4-FFF2-40B4-BE49-F238E27FC236}">
                <a16:creationId xmlns:a16="http://schemas.microsoft.com/office/drawing/2014/main" id="{5335CEDC-D090-7977-BF36-C4AA61BA6079}"/>
              </a:ext>
            </a:extLst>
          </p:cNvPr>
          <p:cNvPicPr>
            <a:picLocks noChangeAspect="1"/>
          </p:cNvPicPr>
          <p:nvPr>
            <p:custDataLst>
              <p:tags r:id="rId1"/>
            </p:custDataLst>
          </p:nvPr>
        </p:nvPicPr>
        <p:blipFill>
          <a:blip>
            <a:extLst>
              <a:ext uri="{96DAC541-7B7A-43D3-8B79-37D633B846F1}">
                <asvg:svgBlip xmlns:asvg="http://schemas.microsoft.com/office/drawing/2016/SVG/main" r:embed="rId9"/>
              </a:ext>
            </a:extLst>
          </a:blip>
          <a:srcRect/>
          <a:stretch/>
        </p:blipFill>
        <p:spPr>
          <a:xfrm>
            <a:off x="574934" y="1235120"/>
            <a:ext cx="1969246" cy="1680103"/>
          </a:xfrm>
          <a:prstGeom prst="rect">
            <a:avLst/>
          </a:prstGeom>
        </p:spPr>
      </p:pic>
      <p:pic>
        <p:nvPicPr>
          <p:cNvPr id="141" name="Rectangle 6563" descr="preencoded.png">
            <a:extLst>
              <a:ext uri="{FF2B5EF4-FFF2-40B4-BE49-F238E27FC236}">
                <a16:creationId xmlns:a16="http://schemas.microsoft.com/office/drawing/2014/main" id="{9627761A-B604-5BD3-AC05-10CAECCB9F91}"/>
              </a:ext>
            </a:extLst>
          </p:cNvPr>
          <p:cNvPicPr>
            <a:picLocks noChangeAspect="1"/>
          </p:cNvPicPr>
          <p:nvPr>
            <p:custDataLst>
              <p:tags r:id="rId2"/>
            </p:custDataLst>
          </p:nvPr>
        </p:nvPicPr>
        <p:blipFill>
          <a:blip>
            <a:extLst>
              <a:ext uri="{96DAC541-7B7A-43D3-8B79-37D633B846F1}">
                <asvg:svgBlip xmlns:asvg="http://schemas.microsoft.com/office/drawing/2016/SVG/main" r:embed="rId9"/>
              </a:ext>
            </a:extLst>
          </a:blip>
          <a:srcRect/>
          <a:stretch/>
        </p:blipFill>
        <p:spPr>
          <a:xfrm>
            <a:off x="2659089" y="1241277"/>
            <a:ext cx="919267" cy="784291"/>
          </a:xfrm>
          <a:prstGeom prst="rect">
            <a:avLst/>
          </a:prstGeom>
        </p:spPr>
      </p:pic>
      <p:sp>
        <p:nvSpPr>
          <p:cNvPr id="47" name="Rectangle 46">
            <a:extLst>
              <a:ext uri="{FF2B5EF4-FFF2-40B4-BE49-F238E27FC236}">
                <a16:creationId xmlns:a16="http://schemas.microsoft.com/office/drawing/2014/main" id="{2028441A-6764-6336-6EDD-219113022899}"/>
              </a:ext>
            </a:extLst>
          </p:cNvPr>
          <p:cNvSpPr>
            <a:spLocks/>
          </p:cNvSpPr>
          <p:nvPr/>
        </p:nvSpPr>
        <p:spPr>
          <a:xfrm>
            <a:off x="1248988" y="1352488"/>
            <a:ext cx="1271497" cy="1395797"/>
          </a:xfrm>
          <a:prstGeom prst="rect">
            <a:avLst/>
          </a:prstGeom>
          <a:noFill/>
          <a:ln w="317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defRPr/>
            </a:pPr>
            <a:r>
              <a:rPr lang="en-US" sz="1400" b="1" cap="all">
                <a:solidFill>
                  <a:srgbClr val="FFFFFF"/>
                </a:solidFill>
                <a:latin typeface="Arial"/>
                <a:cs typeface="Arial"/>
              </a:rPr>
              <a:t>UNIFIED DATA PROTECTION</a:t>
            </a:r>
          </a:p>
        </p:txBody>
      </p:sp>
      <p:sp>
        <p:nvSpPr>
          <p:cNvPr id="161" name="TextBox 160">
            <a:extLst>
              <a:ext uri="{FF2B5EF4-FFF2-40B4-BE49-F238E27FC236}">
                <a16:creationId xmlns:a16="http://schemas.microsoft.com/office/drawing/2014/main" id="{9AECBAFF-1880-E00F-A083-E9751323B057}"/>
              </a:ext>
            </a:extLst>
          </p:cNvPr>
          <p:cNvSpPr txBox="1"/>
          <p:nvPr/>
        </p:nvSpPr>
        <p:spPr>
          <a:xfrm>
            <a:off x="763691" y="1788777"/>
            <a:ext cx="547929" cy="523220"/>
          </a:xfrm>
          <a:prstGeom prst="rect">
            <a:avLst/>
          </a:prstGeom>
          <a:noFill/>
        </p:spPr>
        <p:txBody>
          <a:bodyPr wrap="square" lIns="91440" tIns="45720" rIns="91440" bIns="4572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2800" b="1">
                <a:solidFill>
                  <a:schemeClr val="bg1"/>
                </a:solidFill>
                <a:latin typeface="Arial"/>
                <a:cs typeface="Arial"/>
              </a:rPr>
              <a:t>1.</a:t>
            </a:r>
          </a:p>
        </p:txBody>
      </p:sp>
      <p:sp>
        <p:nvSpPr>
          <p:cNvPr id="35" name="Rectangle 34">
            <a:extLst>
              <a:ext uri="{FF2B5EF4-FFF2-40B4-BE49-F238E27FC236}">
                <a16:creationId xmlns:a16="http://schemas.microsoft.com/office/drawing/2014/main" id="{C7B93117-CEC9-237E-31B5-DF19357A6D46}"/>
              </a:ext>
            </a:extLst>
          </p:cNvPr>
          <p:cNvSpPr>
            <a:spLocks/>
          </p:cNvSpPr>
          <p:nvPr/>
        </p:nvSpPr>
        <p:spPr>
          <a:xfrm rot="16200000">
            <a:off x="7208528" y="-1536603"/>
            <a:ext cx="761732" cy="8071328"/>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6">
              <a:defRPr/>
            </a:pPr>
            <a:endParaRPr lang="es-ES_tradnl" sz="1800">
              <a:solidFill>
                <a:srgbClr val="FFFFFF"/>
              </a:solidFill>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DD57813F-8B8D-6161-542B-B11864E0495D}"/>
              </a:ext>
            </a:extLst>
          </p:cNvPr>
          <p:cNvSpPr>
            <a:spLocks/>
          </p:cNvSpPr>
          <p:nvPr/>
        </p:nvSpPr>
        <p:spPr>
          <a:xfrm>
            <a:off x="4927214" y="2502064"/>
            <a:ext cx="1251946" cy="246221"/>
          </a:xfrm>
          <a:prstGeom prst="rect">
            <a:avLst/>
          </a:prstGeom>
          <a:noFill/>
          <a:ln w="25400" cap="flat" cmpd="sng" algn="ctr">
            <a:noFill/>
            <a:prstDash val="solid"/>
          </a:ln>
          <a:effectLst/>
        </p:spPr>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6">
              <a:defRPr/>
            </a:pPr>
            <a:r>
              <a:rPr lang="en-US" sz="1200" kern="0">
                <a:solidFill>
                  <a:srgbClr val="FFFFFF"/>
                </a:solidFill>
                <a:latin typeface="Arial"/>
                <a:cs typeface="Arial"/>
              </a:rPr>
              <a:t>HyperScale X</a:t>
            </a:r>
          </a:p>
        </p:txBody>
      </p:sp>
      <p:sp>
        <p:nvSpPr>
          <p:cNvPr id="40" name="Rectangle 39">
            <a:extLst>
              <a:ext uri="{FF2B5EF4-FFF2-40B4-BE49-F238E27FC236}">
                <a16:creationId xmlns:a16="http://schemas.microsoft.com/office/drawing/2014/main" id="{9EB00585-2CBA-CFF6-92EF-FA2C9D52C642}"/>
              </a:ext>
            </a:extLst>
          </p:cNvPr>
          <p:cNvSpPr>
            <a:spLocks/>
          </p:cNvSpPr>
          <p:nvPr/>
        </p:nvSpPr>
        <p:spPr>
          <a:xfrm>
            <a:off x="6586086" y="2502064"/>
            <a:ext cx="1502014" cy="246221"/>
          </a:xfrm>
          <a:prstGeom prst="rect">
            <a:avLst/>
          </a:prstGeom>
          <a:noFill/>
          <a:ln w="25400" cap="flat" cmpd="sng" algn="ctr">
            <a:noFill/>
            <a:prstDash val="solid"/>
          </a:ln>
          <a:effectLst/>
        </p:spPr>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6">
              <a:defRPr/>
            </a:pPr>
            <a:r>
              <a:rPr lang="en-US" sz="1200" kern="0" err="1">
                <a:solidFill>
                  <a:srgbClr val="FFFFFF"/>
                </a:solidFill>
                <a:latin typeface="Arial"/>
                <a:cs typeface="Arial"/>
              </a:rPr>
              <a:t>HyperScale</a:t>
            </a:r>
            <a:r>
              <a:rPr lang="en-US" sz="1200" kern="0">
                <a:solidFill>
                  <a:srgbClr val="FFFFFF"/>
                </a:solidFill>
                <a:latin typeface="Arial"/>
                <a:cs typeface="Arial"/>
              </a:rPr>
              <a:t> Flex</a:t>
            </a:r>
          </a:p>
        </p:txBody>
      </p:sp>
      <p:sp>
        <p:nvSpPr>
          <p:cNvPr id="41" name="Rectangle 40">
            <a:extLst>
              <a:ext uri="{FF2B5EF4-FFF2-40B4-BE49-F238E27FC236}">
                <a16:creationId xmlns:a16="http://schemas.microsoft.com/office/drawing/2014/main" id="{9DA215B7-3EA5-3597-CD40-EDF2ADC9CD8A}"/>
              </a:ext>
            </a:extLst>
          </p:cNvPr>
          <p:cNvSpPr>
            <a:spLocks/>
          </p:cNvSpPr>
          <p:nvPr/>
        </p:nvSpPr>
        <p:spPr>
          <a:xfrm>
            <a:off x="8491324" y="2502064"/>
            <a:ext cx="1593385" cy="246221"/>
          </a:xfrm>
          <a:prstGeom prst="rect">
            <a:avLst/>
          </a:prstGeom>
          <a:noFill/>
          <a:ln w="25400" cap="flat" cmpd="sng" algn="ctr">
            <a:noFill/>
            <a:prstDash val="solid"/>
          </a:ln>
          <a:effectLst/>
        </p:spPr>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6">
              <a:defRPr/>
            </a:pPr>
            <a:r>
              <a:rPr lang="en-US" sz="1200" kern="0">
                <a:solidFill>
                  <a:srgbClr val="FFFFFF"/>
                </a:solidFill>
                <a:latin typeface="Arial"/>
                <a:cs typeface="Arial"/>
              </a:rPr>
              <a:t>HyperScale Edge</a:t>
            </a:r>
          </a:p>
        </p:txBody>
      </p:sp>
      <p:pic>
        <p:nvPicPr>
          <p:cNvPr id="142" name="Rectangle 6563" descr="preencoded.png">
            <a:extLst>
              <a:ext uri="{FF2B5EF4-FFF2-40B4-BE49-F238E27FC236}">
                <a16:creationId xmlns:a16="http://schemas.microsoft.com/office/drawing/2014/main" id="{E9709E3D-7770-D8F4-4884-6D79E9E9991B}"/>
              </a:ext>
            </a:extLst>
          </p:cNvPr>
          <p:cNvPicPr>
            <a:picLocks noChangeAspect="1"/>
          </p:cNvPicPr>
          <p:nvPr/>
        </p:nvPicPr>
        <p:blipFill>
          <a:blip>
            <a:extLst>
              <a:ext uri="{96DAC541-7B7A-43D3-8B79-37D633B846F1}">
                <asvg:svgBlip xmlns:asvg="http://schemas.microsoft.com/office/drawing/2016/SVG/main" r:embed="rId9"/>
              </a:ext>
            </a:extLst>
          </a:blip>
          <a:srcRect/>
          <a:stretch/>
        </p:blipFill>
        <p:spPr>
          <a:xfrm>
            <a:off x="2650229" y="2095636"/>
            <a:ext cx="919267" cy="784291"/>
          </a:xfrm>
          <a:prstGeom prst="rect">
            <a:avLst/>
          </a:prstGeom>
        </p:spPr>
      </p:pic>
      <p:sp>
        <p:nvSpPr>
          <p:cNvPr id="38" name="Rectangle 37">
            <a:extLst>
              <a:ext uri="{FF2B5EF4-FFF2-40B4-BE49-F238E27FC236}">
                <a16:creationId xmlns:a16="http://schemas.microsoft.com/office/drawing/2014/main" id="{6439C856-DCF2-F72E-DB8A-2A7837A8E8DF}"/>
              </a:ext>
            </a:extLst>
          </p:cNvPr>
          <p:cNvSpPr>
            <a:spLocks/>
          </p:cNvSpPr>
          <p:nvPr/>
        </p:nvSpPr>
        <p:spPr>
          <a:xfrm>
            <a:off x="2709710" y="2184727"/>
            <a:ext cx="741221" cy="568846"/>
          </a:xfrm>
          <a:prstGeom prst="rect">
            <a:avLst/>
          </a:prstGeom>
          <a:noFill/>
          <a:ln w="317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defRPr/>
            </a:pPr>
            <a:r>
              <a:rPr lang="en-US" sz="1400" b="1" cap="all">
                <a:solidFill>
                  <a:srgbClr val="FFFFFF"/>
                </a:solidFill>
                <a:latin typeface="Arial"/>
                <a:cs typeface="Arial"/>
              </a:rPr>
              <a:t>Hybrid</a:t>
            </a:r>
          </a:p>
        </p:txBody>
      </p:sp>
      <p:sp>
        <p:nvSpPr>
          <p:cNvPr id="147" name="Rectangle 146">
            <a:extLst>
              <a:ext uri="{FF2B5EF4-FFF2-40B4-BE49-F238E27FC236}">
                <a16:creationId xmlns:a16="http://schemas.microsoft.com/office/drawing/2014/main" id="{DD5F559F-0777-4763-725B-0BBE4FBD4BF3}"/>
              </a:ext>
            </a:extLst>
          </p:cNvPr>
          <p:cNvSpPr>
            <a:spLocks/>
          </p:cNvSpPr>
          <p:nvPr/>
        </p:nvSpPr>
        <p:spPr>
          <a:xfrm>
            <a:off x="3811928" y="2123269"/>
            <a:ext cx="7482941" cy="309464"/>
          </a:xfrm>
          <a:prstGeom prst="rect">
            <a:avLst/>
          </a:prstGeom>
          <a:noFill/>
          <a:ln w="25400" cap="flat" cmpd="sng" algn="ctr">
            <a:noFill/>
            <a:prstDash val="solid"/>
          </a:ln>
          <a:effectLst/>
        </p:spPr>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defRPr/>
            </a:pPr>
            <a:r>
              <a:rPr lang="en-US" sz="1400" b="1" kern="0">
                <a:solidFill>
                  <a:srgbClr val="FFFFFF"/>
                </a:solidFill>
                <a:latin typeface="Arial"/>
                <a:cs typeface="Arial"/>
              </a:rPr>
              <a:t>The most flexible hybrid, on-prem, and edge data protection.</a:t>
            </a:r>
            <a:endParaRPr lang="en-US">
              <a:latin typeface="Arial"/>
              <a:cs typeface="Arial"/>
            </a:endParaRPr>
          </a:p>
        </p:txBody>
      </p:sp>
      <p:cxnSp>
        <p:nvCxnSpPr>
          <p:cNvPr id="148" name="Straight Arrow Connector 147">
            <a:extLst>
              <a:ext uri="{FF2B5EF4-FFF2-40B4-BE49-F238E27FC236}">
                <a16:creationId xmlns:a16="http://schemas.microsoft.com/office/drawing/2014/main" id="{DBD7EC30-5DAD-A74E-6142-E8F3EA470D5E}"/>
              </a:ext>
            </a:extLst>
          </p:cNvPr>
          <p:cNvCxnSpPr>
            <a:cxnSpLocks/>
          </p:cNvCxnSpPr>
          <p:nvPr/>
        </p:nvCxnSpPr>
        <p:spPr>
          <a:xfrm>
            <a:off x="6378612" y="2537743"/>
            <a:ext cx="0" cy="210542"/>
          </a:xfrm>
          <a:prstGeom prst="straightConnector1">
            <a:avLst/>
          </a:prstGeom>
          <a:ln w="12700" cap="flat" cmpd="sng" algn="ctr">
            <a:solidFill>
              <a:schemeClr val="tx2">
                <a:lumMod val="40000"/>
                <a:lumOff val="60000"/>
                <a:alpha val="6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64D6CD0D-2A83-E0AC-DDEE-C1D42861D2E6}"/>
              </a:ext>
            </a:extLst>
          </p:cNvPr>
          <p:cNvCxnSpPr>
            <a:cxnSpLocks/>
          </p:cNvCxnSpPr>
          <p:nvPr/>
        </p:nvCxnSpPr>
        <p:spPr>
          <a:xfrm>
            <a:off x="8286029" y="2539962"/>
            <a:ext cx="0" cy="210542"/>
          </a:xfrm>
          <a:prstGeom prst="straightConnector1">
            <a:avLst/>
          </a:prstGeom>
          <a:ln w="12700" cap="flat" cmpd="sng" algn="ctr">
            <a:solidFill>
              <a:schemeClr val="tx2">
                <a:lumMod val="40000"/>
                <a:lumOff val="60000"/>
                <a:alpha val="6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43" name="Rectangle 6563" descr="preencoded.png">
            <a:extLst>
              <a:ext uri="{FF2B5EF4-FFF2-40B4-BE49-F238E27FC236}">
                <a16:creationId xmlns:a16="http://schemas.microsoft.com/office/drawing/2014/main" id="{88D31D8C-9B92-D993-733D-72D978BABEF5}"/>
              </a:ext>
            </a:extLst>
          </p:cNvPr>
          <p:cNvPicPr>
            <a:picLocks noChangeAspect="1"/>
          </p:cNvPicPr>
          <p:nvPr/>
        </p:nvPicPr>
        <p:blipFill>
          <a:blip>
            <a:extLst>
              <a:ext uri="{96DAC541-7B7A-43D3-8B79-37D633B846F1}">
                <asvg:svgBlip xmlns:asvg="http://schemas.microsoft.com/office/drawing/2016/SVG/main" r:embed="rId9"/>
              </a:ext>
            </a:extLst>
          </a:blip>
          <a:srcRect/>
          <a:stretch/>
        </p:blipFill>
        <p:spPr>
          <a:xfrm>
            <a:off x="574848" y="2978998"/>
            <a:ext cx="3004992" cy="784291"/>
          </a:xfrm>
          <a:prstGeom prst="rect">
            <a:avLst/>
          </a:prstGeom>
        </p:spPr>
      </p:pic>
      <p:sp>
        <p:nvSpPr>
          <p:cNvPr id="32" name="Rectangle 31">
            <a:extLst>
              <a:ext uri="{FF2B5EF4-FFF2-40B4-BE49-F238E27FC236}">
                <a16:creationId xmlns:a16="http://schemas.microsoft.com/office/drawing/2014/main" id="{7BDF8FE1-3C4B-88F9-41D5-8678A64A1B83}"/>
              </a:ext>
            </a:extLst>
          </p:cNvPr>
          <p:cNvSpPr>
            <a:spLocks/>
          </p:cNvSpPr>
          <p:nvPr/>
        </p:nvSpPr>
        <p:spPr>
          <a:xfrm>
            <a:off x="1235505" y="3104044"/>
            <a:ext cx="2112832" cy="557123"/>
          </a:xfrm>
          <a:prstGeom prst="rect">
            <a:avLst/>
          </a:prstGeom>
          <a:noFill/>
          <a:ln w="317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6">
              <a:defRPr/>
            </a:pPr>
            <a:r>
              <a:rPr lang="en-US" sz="1400" b="1" cap="all">
                <a:solidFill>
                  <a:srgbClr val="FFFFFF"/>
                </a:solidFill>
                <a:latin typeface="Arial"/>
                <a:cs typeface="Arial"/>
              </a:rPr>
              <a:t>Identity Resilience</a:t>
            </a:r>
          </a:p>
        </p:txBody>
      </p:sp>
      <p:sp>
        <p:nvSpPr>
          <p:cNvPr id="150" name="Rectangle 149">
            <a:extLst>
              <a:ext uri="{FF2B5EF4-FFF2-40B4-BE49-F238E27FC236}">
                <a16:creationId xmlns:a16="http://schemas.microsoft.com/office/drawing/2014/main" id="{1469D076-5E91-E425-FE27-C64049410CCA}"/>
              </a:ext>
            </a:extLst>
          </p:cNvPr>
          <p:cNvSpPr>
            <a:spLocks/>
          </p:cNvSpPr>
          <p:nvPr/>
        </p:nvSpPr>
        <p:spPr>
          <a:xfrm rot="16200000">
            <a:off x="7201180" y="-655927"/>
            <a:ext cx="784290" cy="8047653"/>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6">
              <a:defRPr/>
            </a:pPr>
            <a:endParaRPr lang="es-ES_tradnl" sz="1800">
              <a:solidFill>
                <a:srgbClr val="FFFFFF"/>
              </a:solidFill>
              <a:latin typeface="Arial" panose="020B0604020202020204" pitchFamily="34" charset="0"/>
              <a:cs typeface="Arial" panose="020B0604020202020204" pitchFamily="34" charset="0"/>
            </a:endParaRPr>
          </a:p>
        </p:txBody>
      </p:sp>
      <p:sp>
        <p:nvSpPr>
          <p:cNvPr id="132" name="Rectangle 131">
            <a:extLst>
              <a:ext uri="{FF2B5EF4-FFF2-40B4-BE49-F238E27FC236}">
                <a16:creationId xmlns:a16="http://schemas.microsoft.com/office/drawing/2014/main" id="{AE49BC27-7364-8635-C4BA-1B916F54413F}"/>
              </a:ext>
            </a:extLst>
          </p:cNvPr>
          <p:cNvSpPr>
            <a:spLocks/>
          </p:cNvSpPr>
          <p:nvPr/>
        </p:nvSpPr>
        <p:spPr>
          <a:xfrm>
            <a:off x="4656266" y="2886082"/>
            <a:ext cx="6004258" cy="457729"/>
          </a:xfrm>
          <a:prstGeom prst="rect">
            <a:avLst/>
          </a:prstGeom>
          <a:noFill/>
          <a:ln w="25400" cap="flat" cmpd="sng" algn="ctr">
            <a:noFill/>
            <a:prstDash val="solid"/>
          </a:ln>
          <a:effectLst/>
        </p:spPr>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defRPr/>
            </a:pPr>
            <a:r>
              <a:rPr lang="en-US" sz="1400" b="1" kern="0">
                <a:solidFill>
                  <a:srgbClr val="FFFFFF"/>
                </a:solidFill>
                <a:latin typeface="Arial"/>
                <a:cs typeface="Arial"/>
              </a:rPr>
              <a:t>Integrated identity resilience for Active Directory, Okta, and Entra ID.</a:t>
            </a:r>
            <a:endParaRPr lang="en-US">
              <a:latin typeface="Arial"/>
              <a:cs typeface="Arial"/>
            </a:endParaRPr>
          </a:p>
        </p:txBody>
      </p:sp>
      <p:pic>
        <p:nvPicPr>
          <p:cNvPr id="151" name="AD_logo.png">
            <a:extLst>
              <a:ext uri="{FF2B5EF4-FFF2-40B4-BE49-F238E27FC236}">
                <a16:creationId xmlns:a16="http://schemas.microsoft.com/office/drawing/2014/main" id="{158C442A-7E7B-9AEA-C4D0-3F9C23684D77}"/>
              </a:ext>
            </a:extLst>
          </p:cNvPr>
          <p:cNvPicPr>
            <a:picLocks noChangeAspect="1"/>
          </p:cNvPicPr>
          <p:nvPr>
            <p:custDataLst>
              <p:tags r:id="rId3"/>
            </p:custDataLst>
          </p:nvPr>
        </p:nvPicPr>
        <p:blipFill>
          <a:blip r:embed="rId10" cstate="screen">
            <a:duotone>
              <a:schemeClr val="bg2">
                <a:shade val="45000"/>
                <a:satMod val="135000"/>
              </a:schemeClr>
              <a:prstClr val="white"/>
            </a:duotone>
            <a:extLst>
              <a:ext uri="{BEBA8EAE-BF5A-486C-A8C5-ECC9F3942E4B}">
                <a14:imgProps xmlns:a14="http://schemas.microsoft.com/office/drawing/2010/main">
                  <a14:imgLayer r:embed="rId11">
                    <a14:imgEffect>
                      <a14:colorTemperature colorTemp="1500"/>
                    </a14:imgEffect>
                    <a14:imgEffect>
                      <a14:saturation sat="0"/>
                    </a14:imgEffect>
                  </a14:imgLayer>
                </a14:imgProps>
              </a:ext>
              <a:ext uri="{28A0092B-C50C-407E-A947-70E740481C1C}">
                <a14:useLocalDpi xmlns:a14="http://schemas.microsoft.com/office/drawing/2010/main"/>
              </a:ext>
            </a:extLst>
          </a:blip>
          <a:srcRect/>
          <a:stretch/>
        </p:blipFill>
        <p:spPr>
          <a:xfrm>
            <a:off x="6832563" y="3038468"/>
            <a:ext cx="1578856" cy="884160"/>
          </a:xfrm>
          <a:prstGeom prst="rect">
            <a:avLst/>
          </a:prstGeom>
        </p:spPr>
      </p:pic>
      <p:pic>
        <p:nvPicPr>
          <p:cNvPr id="152" name="AD_logo.png">
            <a:extLst>
              <a:ext uri="{FF2B5EF4-FFF2-40B4-BE49-F238E27FC236}">
                <a16:creationId xmlns:a16="http://schemas.microsoft.com/office/drawing/2014/main" id="{156FB86F-43F7-8F36-78F3-D2367BAB21A7}"/>
              </a:ext>
            </a:extLst>
          </p:cNvPr>
          <p:cNvPicPr>
            <a:picLocks noChangeAspect="1"/>
          </p:cNvPicPr>
          <p:nvPr>
            <p:custDataLst>
              <p:tags r:id="rId4"/>
            </p:custDataLst>
          </p:nvPr>
        </p:nvPicPr>
        <p:blipFill>
          <a:blip>
            <a:biLevel thresh="25000"/>
            <a:extLst>
              <a:ext uri="{96DAC541-7B7A-43D3-8B79-37D633B846F1}">
                <asvg:svgBlip xmlns:asvg="http://schemas.microsoft.com/office/drawing/2016/SVG/main" r:embed="rId12"/>
              </a:ext>
            </a:extLst>
          </a:blip>
          <a:srcRect/>
          <a:stretch/>
        </p:blipFill>
        <p:spPr>
          <a:xfrm>
            <a:off x="4910266" y="3346111"/>
            <a:ext cx="1462242" cy="242537"/>
          </a:xfrm>
          <a:prstGeom prst="rect">
            <a:avLst/>
          </a:prstGeom>
        </p:spPr>
      </p:pic>
      <p:pic>
        <p:nvPicPr>
          <p:cNvPr id="153" name="AD_logo.png">
            <a:extLst>
              <a:ext uri="{FF2B5EF4-FFF2-40B4-BE49-F238E27FC236}">
                <a16:creationId xmlns:a16="http://schemas.microsoft.com/office/drawing/2014/main" id="{1F791C92-231A-37BB-416F-5177B50BD6A5}"/>
              </a:ext>
            </a:extLst>
          </p:cNvPr>
          <p:cNvPicPr>
            <a:picLocks noChangeAspect="1"/>
          </p:cNvPicPr>
          <p:nvPr>
            <p:custDataLst>
              <p:tags r:id="rId5"/>
            </p:custDataLst>
          </p:nvPr>
        </p:nvPicPr>
        <p:blipFill>
          <a:blip r:embed="rId13" cstate="screen">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9034224" y="3365020"/>
            <a:ext cx="588255" cy="198536"/>
          </a:xfrm>
          <a:prstGeom prst="rect">
            <a:avLst/>
          </a:prstGeom>
        </p:spPr>
      </p:pic>
      <p:sp>
        <p:nvSpPr>
          <p:cNvPr id="163" name="TextBox 162">
            <a:extLst>
              <a:ext uri="{FF2B5EF4-FFF2-40B4-BE49-F238E27FC236}">
                <a16:creationId xmlns:a16="http://schemas.microsoft.com/office/drawing/2014/main" id="{4DBCB31B-99B2-028E-685B-DFEDDBE07391}"/>
              </a:ext>
            </a:extLst>
          </p:cNvPr>
          <p:cNvSpPr txBox="1"/>
          <p:nvPr/>
        </p:nvSpPr>
        <p:spPr>
          <a:xfrm>
            <a:off x="748788" y="3130968"/>
            <a:ext cx="547929" cy="523220"/>
          </a:xfrm>
          <a:prstGeom prst="rect">
            <a:avLst/>
          </a:prstGeom>
          <a:noFill/>
        </p:spPr>
        <p:txBody>
          <a:bodyPr wrap="square" lIns="91440" tIns="45720" rIns="91440" bIns="4572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2800" b="1">
                <a:solidFill>
                  <a:schemeClr val="bg1"/>
                </a:solidFill>
                <a:latin typeface="Arial"/>
                <a:cs typeface="Arial"/>
              </a:rPr>
              <a:t>2.</a:t>
            </a:r>
          </a:p>
        </p:txBody>
      </p:sp>
      <p:pic>
        <p:nvPicPr>
          <p:cNvPr id="144" name="Rectangle 6563" descr="preencoded.png">
            <a:extLst>
              <a:ext uri="{FF2B5EF4-FFF2-40B4-BE49-F238E27FC236}">
                <a16:creationId xmlns:a16="http://schemas.microsoft.com/office/drawing/2014/main" id="{88B89D80-A4F9-315E-198A-7DB01115CB7F}"/>
              </a:ext>
            </a:extLst>
          </p:cNvPr>
          <p:cNvPicPr>
            <a:picLocks noChangeAspect="1"/>
          </p:cNvPicPr>
          <p:nvPr/>
        </p:nvPicPr>
        <p:blipFill>
          <a:blip>
            <a:extLst>
              <a:ext uri="{96DAC541-7B7A-43D3-8B79-37D633B846F1}">
                <asvg:svgBlip xmlns:asvg="http://schemas.microsoft.com/office/drawing/2016/SVG/main" r:embed="rId9"/>
              </a:ext>
            </a:extLst>
          </a:blip>
          <a:srcRect/>
          <a:stretch/>
        </p:blipFill>
        <p:spPr>
          <a:xfrm>
            <a:off x="559393" y="3844564"/>
            <a:ext cx="3027340" cy="784291"/>
          </a:xfrm>
          <a:prstGeom prst="rect">
            <a:avLst/>
          </a:prstGeom>
        </p:spPr>
      </p:pic>
      <p:sp>
        <p:nvSpPr>
          <p:cNvPr id="23" name="Rectangle 22">
            <a:extLst>
              <a:ext uri="{FF2B5EF4-FFF2-40B4-BE49-F238E27FC236}">
                <a16:creationId xmlns:a16="http://schemas.microsoft.com/office/drawing/2014/main" id="{CD24A0CC-7479-2574-0587-6795172768D4}"/>
              </a:ext>
            </a:extLst>
          </p:cNvPr>
          <p:cNvSpPr>
            <a:spLocks/>
          </p:cNvSpPr>
          <p:nvPr/>
        </p:nvSpPr>
        <p:spPr>
          <a:xfrm>
            <a:off x="1254707" y="3952286"/>
            <a:ext cx="2100373" cy="568846"/>
          </a:xfrm>
          <a:prstGeom prst="rect">
            <a:avLst/>
          </a:prstGeom>
          <a:noFill/>
          <a:ln w="317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6">
              <a:defRPr/>
            </a:pPr>
            <a:r>
              <a:rPr lang="en-US" sz="1400" b="1" cap="all">
                <a:solidFill>
                  <a:srgbClr val="FFFFFF"/>
                </a:solidFill>
                <a:latin typeface="Arial"/>
                <a:cs typeface="Arial"/>
              </a:rPr>
              <a:t>Cyber Resilience</a:t>
            </a:r>
          </a:p>
        </p:txBody>
      </p:sp>
      <p:sp>
        <p:nvSpPr>
          <p:cNvPr id="154" name="Rectangle 153">
            <a:extLst>
              <a:ext uri="{FF2B5EF4-FFF2-40B4-BE49-F238E27FC236}">
                <a16:creationId xmlns:a16="http://schemas.microsoft.com/office/drawing/2014/main" id="{B751B4B5-5DF4-9B5C-EBF7-3DA0B49C5CED}"/>
              </a:ext>
            </a:extLst>
          </p:cNvPr>
          <p:cNvSpPr>
            <a:spLocks/>
          </p:cNvSpPr>
          <p:nvPr/>
        </p:nvSpPr>
        <p:spPr>
          <a:xfrm rot="16200000">
            <a:off x="7241531" y="196356"/>
            <a:ext cx="761732" cy="8071328"/>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6">
              <a:defRPr/>
            </a:pPr>
            <a:endParaRPr lang="es-ES_tradnl" sz="1800">
              <a:solidFill>
                <a:srgbClr val="FFFFFF"/>
              </a:solidFill>
              <a:latin typeface="Arial" panose="020B0604020202020204" pitchFamily="34" charset="0"/>
              <a:cs typeface="Arial" panose="020B0604020202020204" pitchFamily="34" charset="0"/>
            </a:endParaRPr>
          </a:p>
        </p:txBody>
      </p:sp>
      <p:sp>
        <p:nvSpPr>
          <p:cNvPr id="155" name="Rectangle 154">
            <a:extLst>
              <a:ext uri="{FF2B5EF4-FFF2-40B4-BE49-F238E27FC236}">
                <a16:creationId xmlns:a16="http://schemas.microsoft.com/office/drawing/2014/main" id="{015E03B5-9682-0720-2364-8018F07896B4}"/>
              </a:ext>
            </a:extLst>
          </p:cNvPr>
          <p:cNvSpPr>
            <a:spLocks/>
          </p:cNvSpPr>
          <p:nvPr/>
        </p:nvSpPr>
        <p:spPr>
          <a:xfrm>
            <a:off x="4348715" y="3842938"/>
            <a:ext cx="6941429" cy="378902"/>
          </a:xfrm>
          <a:prstGeom prst="rect">
            <a:avLst/>
          </a:prstGeom>
          <a:noFill/>
          <a:ln w="25400" cap="flat" cmpd="sng" algn="ctr">
            <a:noFill/>
            <a:prstDash val="solid"/>
          </a:ln>
          <a:effectLst/>
        </p:spPr>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defRPr/>
            </a:pPr>
            <a:r>
              <a:rPr lang="en-US" sz="1400" b="1" kern="0">
                <a:solidFill>
                  <a:srgbClr val="FFFFFF"/>
                </a:solidFill>
                <a:latin typeface="Arial"/>
                <a:cs typeface="Arial"/>
              </a:rPr>
              <a:t>Unique cyber resilience for the cleanest, fastest, most complete recovery. </a:t>
            </a:r>
            <a:endParaRPr lang="en-US">
              <a:latin typeface="Arial"/>
              <a:cs typeface="Arial"/>
            </a:endParaRPr>
          </a:p>
        </p:txBody>
      </p:sp>
      <p:sp>
        <p:nvSpPr>
          <p:cNvPr id="13" name="Rectangle 12">
            <a:extLst>
              <a:ext uri="{FF2B5EF4-FFF2-40B4-BE49-F238E27FC236}">
                <a16:creationId xmlns:a16="http://schemas.microsoft.com/office/drawing/2014/main" id="{61EB367E-5E95-C6BE-053D-B886879DD9BD}"/>
              </a:ext>
            </a:extLst>
          </p:cNvPr>
          <p:cNvSpPr/>
          <p:nvPr/>
        </p:nvSpPr>
        <p:spPr>
          <a:xfrm>
            <a:off x="4833658" y="4138171"/>
            <a:ext cx="1693163" cy="402033"/>
          </a:xfrm>
          <a:prstGeom prst="rect">
            <a:avLst/>
          </a:prstGeom>
          <a:noFill/>
          <a:ln w="25400" cap="flat" cmpd="sng" algn="ctr">
            <a:noFill/>
            <a:prstDash val="solid"/>
          </a:ln>
          <a:effectLst/>
        </p:spPr>
        <p:txBody>
          <a:bodyPr lIns="0" tIns="0" rIns="0" bIns="0" rtlCol="0" anchor="ct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6">
              <a:defRPr/>
            </a:pPr>
            <a:r>
              <a:rPr lang="en-US" sz="1200" kern="0">
                <a:solidFill>
                  <a:srgbClr val="FFFFFF"/>
                </a:solidFill>
                <a:effectLst>
                  <a:outerShdw blurRad="38100" dist="38100" dir="2700000" algn="tl">
                    <a:srgbClr val="000000">
                      <a:alpha val="43137"/>
                    </a:srgbClr>
                  </a:outerShdw>
                </a:effectLst>
                <a:latin typeface="Arial"/>
                <a:cs typeface="Arial"/>
              </a:rPr>
              <a:t>Threat Detection</a:t>
            </a:r>
          </a:p>
        </p:txBody>
      </p:sp>
      <p:sp>
        <p:nvSpPr>
          <p:cNvPr id="14" name="Rectangle 13">
            <a:extLst>
              <a:ext uri="{FF2B5EF4-FFF2-40B4-BE49-F238E27FC236}">
                <a16:creationId xmlns:a16="http://schemas.microsoft.com/office/drawing/2014/main" id="{8B380E3B-5AA5-5C22-9749-4A7905FE9583}"/>
              </a:ext>
            </a:extLst>
          </p:cNvPr>
          <p:cNvSpPr/>
          <p:nvPr/>
        </p:nvSpPr>
        <p:spPr>
          <a:xfrm>
            <a:off x="6883411" y="4184608"/>
            <a:ext cx="1267064" cy="402033"/>
          </a:xfrm>
          <a:prstGeom prst="rect">
            <a:avLst/>
          </a:prstGeom>
          <a:noFill/>
          <a:ln w="25400" cap="flat" cmpd="sng" algn="ctr">
            <a:noFill/>
            <a:prstDash val="solid"/>
          </a:ln>
          <a:effectLst/>
        </p:spPr>
        <p:txBody>
          <a:bodyPr lIns="0" tIns="0" rIns="0" bIns="0" rtlCol="0" anchor="ct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6">
              <a:defRPr/>
            </a:pPr>
            <a:r>
              <a:rPr lang="en-US" sz="1200" kern="0">
                <a:solidFill>
                  <a:srgbClr val="FFFFFF"/>
                </a:solidFill>
                <a:effectLst>
                  <a:outerShdw blurRad="38100" dist="38100" dir="2700000" algn="tl">
                    <a:srgbClr val="000000">
                      <a:alpha val="43137"/>
                    </a:srgbClr>
                  </a:outerShdw>
                </a:effectLst>
                <a:latin typeface="Arial"/>
                <a:cs typeface="Arial"/>
              </a:rPr>
              <a:t>Cleanroom Recovery</a:t>
            </a:r>
          </a:p>
        </p:txBody>
      </p:sp>
      <p:sp>
        <p:nvSpPr>
          <p:cNvPr id="17" name="Rectangle 16">
            <a:extLst>
              <a:ext uri="{FF2B5EF4-FFF2-40B4-BE49-F238E27FC236}">
                <a16:creationId xmlns:a16="http://schemas.microsoft.com/office/drawing/2014/main" id="{9FCD12A2-F5DF-8310-F5EF-4D2170EF2D27}"/>
              </a:ext>
            </a:extLst>
          </p:cNvPr>
          <p:cNvSpPr/>
          <p:nvPr/>
        </p:nvSpPr>
        <p:spPr>
          <a:xfrm>
            <a:off x="8287210" y="4114262"/>
            <a:ext cx="2134236" cy="402033"/>
          </a:xfrm>
          <a:prstGeom prst="rect">
            <a:avLst/>
          </a:prstGeom>
          <a:noFill/>
          <a:ln w="25400" cap="flat" cmpd="sng" algn="ctr">
            <a:noFill/>
            <a:prstDash val="solid"/>
          </a:ln>
          <a:effectLst/>
        </p:spPr>
        <p:txBody>
          <a:bodyPr lIns="0" tIns="0" rIns="0" bIns="0" rtlCol="0" anchor="ct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defRPr/>
            </a:pPr>
            <a:r>
              <a:rPr lang="en-US" sz="1200" kern="0">
                <a:solidFill>
                  <a:srgbClr val="FFFFFF"/>
                </a:solidFill>
                <a:effectLst>
                  <a:outerShdw blurRad="38100" dist="38100" dir="2700000" algn="tl">
                    <a:srgbClr val="000000">
                      <a:alpha val="43137"/>
                    </a:srgbClr>
                  </a:outerShdw>
                </a:effectLst>
                <a:latin typeface="Arial"/>
                <a:cs typeface="Arial"/>
              </a:rPr>
              <a:t>Synthetic Recovery</a:t>
            </a:r>
          </a:p>
        </p:txBody>
      </p:sp>
      <p:cxnSp>
        <p:nvCxnSpPr>
          <p:cNvPr id="156" name="Straight Arrow Connector 155">
            <a:extLst>
              <a:ext uri="{FF2B5EF4-FFF2-40B4-BE49-F238E27FC236}">
                <a16:creationId xmlns:a16="http://schemas.microsoft.com/office/drawing/2014/main" id="{40777253-E697-9854-0ECC-A29D7096E789}"/>
              </a:ext>
            </a:extLst>
          </p:cNvPr>
          <p:cNvCxnSpPr>
            <a:cxnSpLocks/>
          </p:cNvCxnSpPr>
          <p:nvPr/>
        </p:nvCxnSpPr>
        <p:spPr>
          <a:xfrm>
            <a:off x="6581049" y="4244868"/>
            <a:ext cx="0" cy="210542"/>
          </a:xfrm>
          <a:prstGeom prst="straightConnector1">
            <a:avLst/>
          </a:prstGeom>
          <a:ln w="12700" cap="flat" cmpd="sng" algn="ctr">
            <a:solidFill>
              <a:schemeClr val="tx2">
                <a:lumMod val="40000"/>
                <a:lumOff val="60000"/>
                <a:alpha val="6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FDA78751-859A-06A2-39B5-D096F4987AD7}"/>
              </a:ext>
            </a:extLst>
          </p:cNvPr>
          <p:cNvCxnSpPr>
            <a:cxnSpLocks/>
          </p:cNvCxnSpPr>
          <p:nvPr/>
        </p:nvCxnSpPr>
        <p:spPr>
          <a:xfrm>
            <a:off x="8325798" y="4244868"/>
            <a:ext cx="0" cy="210542"/>
          </a:xfrm>
          <a:prstGeom prst="straightConnector1">
            <a:avLst/>
          </a:prstGeom>
          <a:ln w="12700" cap="flat" cmpd="sng" algn="ctr">
            <a:solidFill>
              <a:schemeClr val="tx2">
                <a:lumMod val="40000"/>
                <a:lumOff val="60000"/>
                <a:alpha val="6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A757ACD2-1214-8022-9A47-BAE2793ACC0E}"/>
              </a:ext>
            </a:extLst>
          </p:cNvPr>
          <p:cNvSpPr txBox="1"/>
          <p:nvPr/>
        </p:nvSpPr>
        <p:spPr>
          <a:xfrm>
            <a:off x="749224" y="3993076"/>
            <a:ext cx="547929" cy="523220"/>
          </a:xfrm>
          <a:prstGeom prst="rect">
            <a:avLst/>
          </a:prstGeom>
          <a:noFill/>
        </p:spPr>
        <p:txBody>
          <a:bodyPr wrap="square" lIns="91440" tIns="45720" rIns="91440" bIns="4572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2800" b="1">
                <a:solidFill>
                  <a:schemeClr val="bg1"/>
                </a:solidFill>
                <a:latin typeface="Arial"/>
                <a:cs typeface="Arial"/>
              </a:rPr>
              <a:t>3.</a:t>
            </a:r>
          </a:p>
        </p:txBody>
      </p:sp>
      <p:pic>
        <p:nvPicPr>
          <p:cNvPr id="20" name="Rectangle 6563" descr="preencoded.png">
            <a:extLst>
              <a:ext uri="{FF2B5EF4-FFF2-40B4-BE49-F238E27FC236}">
                <a16:creationId xmlns:a16="http://schemas.microsoft.com/office/drawing/2014/main" id="{DC9CCCBC-0E1A-76BB-8FB8-22D0CB6702BD}"/>
              </a:ext>
            </a:extLst>
          </p:cNvPr>
          <p:cNvPicPr>
            <a:picLocks noChangeAspect="1"/>
          </p:cNvPicPr>
          <p:nvPr/>
        </p:nvPicPr>
        <p:blipFill>
          <a:blip>
            <a:extLst>
              <a:ext uri="{96DAC541-7B7A-43D3-8B79-37D633B846F1}">
                <asvg:svgBlip xmlns:asvg="http://schemas.microsoft.com/office/drawing/2016/SVG/main" r:embed="rId9"/>
              </a:ext>
            </a:extLst>
          </a:blip>
          <a:srcRect/>
          <a:stretch/>
        </p:blipFill>
        <p:spPr>
          <a:xfrm>
            <a:off x="556401" y="5537693"/>
            <a:ext cx="3027340" cy="784291"/>
          </a:xfrm>
          <a:prstGeom prst="rect">
            <a:avLst/>
          </a:prstGeom>
        </p:spPr>
      </p:pic>
      <p:sp>
        <p:nvSpPr>
          <p:cNvPr id="21" name="Rectangle 20">
            <a:extLst>
              <a:ext uri="{FF2B5EF4-FFF2-40B4-BE49-F238E27FC236}">
                <a16:creationId xmlns:a16="http://schemas.microsoft.com/office/drawing/2014/main" id="{4CEB79AA-71BE-AE6E-6D2A-F5B2CC0F785B}"/>
              </a:ext>
            </a:extLst>
          </p:cNvPr>
          <p:cNvSpPr>
            <a:spLocks/>
          </p:cNvSpPr>
          <p:nvPr/>
        </p:nvSpPr>
        <p:spPr>
          <a:xfrm>
            <a:off x="1239357" y="5721548"/>
            <a:ext cx="1879587" cy="437064"/>
          </a:xfrm>
          <a:prstGeom prst="rect">
            <a:avLst/>
          </a:prstGeom>
          <a:noFill/>
          <a:ln w="317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nSpc>
                <a:spcPct val="90000"/>
              </a:lnSpc>
              <a:defRPr/>
            </a:pPr>
            <a:r>
              <a:rPr lang="en-US" sz="1400" b="1" cap="all">
                <a:solidFill>
                  <a:srgbClr val="FFFFFF"/>
                </a:solidFill>
                <a:latin typeface="Arial"/>
                <a:cs typeface="Arial"/>
              </a:rPr>
              <a:t>PROTECT &amp; LEVERAGE AI</a:t>
            </a:r>
          </a:p>
        </p:txBody>
      </p:sp>
      <p:sp>
        <p:nvSpPr>
          <p:cNvPr id="22" name="Rectangle 21">
            <a:extLst>
              <a:ext uri="{FF2B5EF4-FFF2-40B4-BE49-F238E27FC236}">
                <a16:creationId xmlns:a16="http://schemas.microsoft.com/office/drawing/2014/main" id="{85CD1977-6CB4-0AE0-5475-DCC6B824CC14}"/>
              </a:ext>
            </a:extLst>
          </p:cNvPr>
          <p:cNvSpPr>
            <a:spLocks/>
          </p:cNvSpPr>
          <p:nvPr/>
        </p:nvSpPr>
        <p:spPr>
          <a:xfrm rot="16200000">
            <a:off x="7213045" y="1909829"/>
            <a:ext cx="761732" cy="8049395"/>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6">
              <a:defRPr/>
            </a:pPr>
            <a:endParaRPr lang="es-ES_tradnl" sz="1800">
              <a:solidFill>
                <a:srgbClr val="FFFFFF"/>
              </a:solidFill>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33F5EEA7-978F-88EC-6844-4FC426797BAF}"/>
              </a:ext>
            </a:extLst>
          </p:cNvPr>
          <p:cNvSpPr>
            <a:spLocks/>
          </p:cNvSpPr>
          <p:nvPr/>
        </p:nvSpPr>
        <p:spPr>
          <a:xfrm>
            <a:off x="5081430" y="5915009"/>
            <a:ext cx="902490" cy="246221"/>
          </a:xfrm>
          <a:prstGeom prst="rect">
            <a:avLst/>
          </a:prstGeom>
          <a:noFill/>
          <a:ln w="25400" cap="flat" cmpd="sng" algn="ctr">
            <a:noFill/>
            <a:prstDash val="solid"/>
          </a:ln>
          <a:effectLst/>
        </p:spPr>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6">
              <a:defRPr/>
            </a:pPr>
            <a:r>
              <a:rPr lang="en-US" sz="1200" kern="0">
                <a:solidFill>
                  <a:srgbClr val="FFFFFF"/>
                </a:solidFill>
                <a:latin typeface="Arial"/>
                <a:cs typeface="Arial"/>
              </a:rPr>
              <a:t>Protect AI</a:t>
            </a:r>
          </a:p>
        </p:txBody>
      </p:sp>
      <p:sp>
        <p:nvSpPr>
          <p:cNvPr id="28" name="Rectangle 27">
            <a:extLst>
              <a:ext uri="{FF2B5EF4-FFF2-40B4-BE49-F238E27FC236}">
                <a16:creationId xmlns:a16="http://schemas.microsoft.com/office/drawing/2014/main" id="{9A84FD2F-FB60-E169-FF01-2CF1AF5F7CD2}"/>
              </a:ext>
            </a:extLst>
          </p:cNvPr>
          <p:cNvSpPr>
            <a:spLocks/>
          </p:cNvSpPr>
          <p:nvPr/>
        </p:nvSpPr>
        <p:spPr>
          <a:xfrm>
            <a:off x="6763545" y="5915009"/>
            <a:ext cx="1106072" cy="246221"/>
          </a:xfrm>
          <a:prstGeom prst="rect">
            <a:avLst/>
          </a:prstGeom>
          <a:noFill/>
          <a:ln w="25400" cap="flat" cmpd="sng" algn="ctr">
            <a:noFill/>
            <a:prstDash val="solid"/>
          </a:ln>
          <a:effectLst/>
        </p:spPr>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6">
              <a:defRPr/>
            </a:pPr>
            <a:r>
              <a:rPr lang="en-US" sz="1200" kern="0">
                <a:solidFill>
                  <a:srgbClr val="FFFFFF"/>
                </a:solidFill>
                <a:latin typeface="Arial"/>
                <a:cs typeface="Arial"/>
              </a:rPr>
              <a:t>Leverage AI</a:t>
            </a:r>
          </a:p>
        </p:txBody>
      </p:sp>
      <p:sp>
        <p:nvSpPr>
          <p:cNvPr id="30" name="Rectangle 29">
            <a:extLst>
              <a:ext uri="{FF2B5EF4-FFF2-40B4-BE49-F238E27FC236}">
                <a16:creationId xmlns:a16="http://schemas.microsoft.com/office/drawing/2014/main" id="{24C6A0E4-96C2-394D-AD78-EAD36FD1680E}"/>
              </a:ext>
            </a:extLst>
          </p:cNvPr>
          <p:cNvSpPr>
            <a:spLocks/>
          </p:cNvSpPr>
          <p:nvPr/>
        </p:nvSpPr>
        <p:spPr>
          <a:xfrm>
            <a:off x="8822672" y="5915009"/>
            <a:ext cx="889666" cy="246221"/>
          </a:xfrm>
          <a:prstGeom prst="rect">
            <a:avLst/>
          </a:prstGeom>
          <a:noFill/>
          <a:ln w="25400" cap="flat" cmpd="sng" algn="ctr">
            <a:noFill/>
            <a:prstDash val="solid"/>
          </a:ln>
          <a:effectLst/>
        </p:spPr>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6">
              <a:defRPr/>
            </a:pPr>
            <a:r>
              <a:rPr lang="en-US" sz="1200" kern="0">
                <a:solidFill>
                  <a:srgbClr val="FFFFFF"/>
                </a:solidFill>
                <a:latin typeface="Arial"/>
                <a:cs typeface="Arial"/>
              </a:rPr>
              <a:t>Extend AI</a:t>
            </a:r>
          </a:p>
        </p:txBody>
      </p:sp>
      <p:cxnSp>
        <p:nvCxnSpPr>
          <p:cNvPr id="31" name="Straight Arrow Connector 30">
            <a:extLst>
              <a:ext uri="{FF2B5EF4-FFF2-40B4-BE49-F238E27FC236}">
                <a16:creationId xmlns:a16="http://schemas.microsoft.com/office/drawing/2014/main" id="{BA7A0A89-DD7F-4F37-BB5C-DBFF4DBB57C4}"/>
              </a:ext>
            </a:extLst>
          </p:cNvPr>
          <p:cNvCxnSpPr>
            <a:cxnSpLocks/>
          </p:cNvCxnSpPr>
          <p:nvPr/>
        </p:nvCxnSpPr>
        <p:spPr>
          <a:xfrm>
            <a:off x="8269199" y="5768519"/>
            <a:ext cx="0" cy="539201"/>
          </a:xfrm>
          <a:prstGeom prst="straightConnector1">
            <a:avLst/>
          </a:prstGeom>
          <a:ln w="12700" cap="flat" cmpd="sng" algn="ctr">
            <a:solidFill>
              <a:schemeClr val="tx2">
                <a:lumMod val="40000"/>
                <a:lumOff val="60000"/>
                <a:alpha val="4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AA44BA7E-7A49-8C32-354F-999DCBB11750}"/>
              </a:ext>
            </a:extLst>
          </p:cNvPr>
          <p:cNvCxnSpPr>
            <a:cxnSpLocks/>
          </p:cNvCxnSpPr>
          <p:nvPr/>
        </p:nvCxnSpPr>
        <p:spPr>
          <a:xfrm>
            <a:off x="6363961" y="5768519"/>
            <a:ext cx="0" cy="539201"/>
          </a:xfrm>
          <a:prstGeom prst="straightConnector1">
            <a:avLst/>
          </a:prstGeom>
          <a:ln w="12700" cap="flat" cmpd="sng" algn="ctr">
            <a:solidFill>
              <a:schemeClr val="tx2">
                <a:lumMod val="40000"/>
                <a:lumOff val="60000"/>
                <a:alpha val="4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DF45294D-40AD-861C-CF5E-422A360C2E6B}"/>
              </a:ext>
            </a:extLst>
          </p:cNvPr>
          <p:cNvSpPr>
            <a:spLocks/>
          </p:cNvSpPr>
          <p:nvPr/>
        </p:nvSpPr>
        <p:spPr>
          <a:xfrm>
            <a:off x="4473363" y="5545533"/>
            <a:ext cx="6339458" cy="369476"/>
          </a:xfrm>
          <a:prstGeom prst="rect">
            <a:avLst/>
          </a:prstGeom>
          <a:noFill/>
          <a:ln w="25400" cap="flat" cmpd="sng" algn="ctr">
            <a:noFill/>
            <a:prstDash val="solid"/>
          </a:ln>
          <a:effectLst/>
        </p:spPr>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defRPr/>
            </a:pPr>
            <a:r>
              <a:rPr lang="en-US" sz="1400" b="1" kern="0">
                <a:solidFill>
                  <a:srgbClr val="FFFFFF"/>
                </a:solidFill>
                <a:latin typeface="Arial"/>
                <a:cs typeface="Arial"/>
              </a:rPr>
              <a:t>Unified AI resilience to protect, leverage, and extend AI workloads.</a:t>
            </a:r>
            <a:endParaRPr lang="en-US">
              <a:latin typeface="Arial"/>
              <a:cs typeface="Arial"/>
            </a:endParaRPr>
          </a:p>
        </p:txBody>
      </p:sp>
      <p:sp>
        <p:nvSpPr>
          <p:cNvPr id="37" name="TextBox 36">
            <a:extLst>
              <a:ext uri="{FF2B5EF4-FFF2-40B4-BE49-F238E27FC236}">
                <a16:creationId xmlns:a16="http://schemas.microsoft.com/office/drawing/2014/main" id="{51948956-9CE2-BFAD-1BE4-73B1E83B3BEC}"/>
              </a:ext>
            </a:extLst>
          </p:cNvPr>
          <p:cNvSpPr txBox="1"/>
          <p:nvPr/>
        </p:nvSpPr>
        <p:spPr>
          <a:xfrm>
            <a:off x="714084" y="5672453"/>
            <a:ext cx="547929" cy="523220"/>
          </a:xfrm>
          <a:prstGeom prst="rect">
            <a:avLst/>
          </a:prstGeom>
          <a:noFill/>
        </p:spPr>
        <p:txBody>
          <a:bodyPr wrap="square" rtlCol="0">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2800" b="1">
                <a:solidFill>
                  <a:schemeClr val="bg1"/>
                </a:solidFill>
                <a:latin typeface="Arial" panose="020B0604020202020204" pitchFamily="34" charset="0"/>
                <a:cs typeface="Arial" panose="020B0604020202020204" pitchFamily="34" charset="0"/>
              </a:rPr>
              <a:t>5.</a:t>
            </a:r>
          </a:p>
        </p:txBody>
      </p:sp>
      <p:pic>
        <p:nvPicPr>
          <p:cNvPr id="145" name="Rectangle 6563" descr="preencoded.png">
            <a:extLst>
              <a:ext uri="{FF2B5EF4-FFF2-40B4-BE49-F238E27FC236}">
                <a16:creationId xmlns:a16="http://schemas.microsoft.com/office/drawing/2014/main" id="{01BCFD9A-95F5-A15A-C751-B4B95E636C27}"/>
              </a:ext>
            </a:extLst>
          </p:cNvPr>
          <p:cNvPicPr>
            <a:picLocks noChangeAspect="1"/>
          </p:cNvPicPr>
          <p:nvPr/>
        </p:nvPicPr>
        <p:blipFill>
          <a:blip>
            <a:extLst>
              <a:ext uri="{96DAC541-7B7A-43D3-8B79-37D633B846F1}">
                <asvg:svgBlip xmlns:asvg="http://schemas.microsoft.com/office/drawing/2016/SVG/main" r:embed="rId9"/>
              </a:ext>
            </a:extLst>
          </a:blip>
          <a:srcRect/>
          <a:stretch/>
        </p:blipFill>
        <p:spPr>
          <a:xfrm>
            <a:off x="565161" y="4712325"/>
            <a:ext cx="3027340" cy="750063"/>
          </a:xfrm>
          <a:prstGeom prst="rect">
            <a:avLst/>
          </a:prstGeom>
        </p:spPr>
      </p:pic>
      <p:sp>
        <p:nvSpPr>
          <p:cNvPr id="29" name="Rectangle 28">
            <a:extLst>
              <a:ext uri="{FF2B5EF4-FFF2-40B4-BE49-F238E27FC236}">
                <a16:creationId xmlns:a16="http://schemas.microsoft.com/office/drawing/2014/main" id="{851B9A42-2A50-8753-8306-46316F8B6D7B}"/>
              </a:ext>
            </a:extLst>
          </p:cNvPr>
          <p:cNvSpPr>
            <a:spLocks/>
          </p:cNvSpPr>
          <p:nvPr/>
        </p:nvSpPr>
        <p:spPr>
          <a:xfrm>
            <a:off x="1248117" y="4832099"/>
            <a:ext cx="1879587" cy="518892"/>
          </a:xfrm>
          <a:prstGeom prst="rect">
            <a:avLst/>
          </a:prstGeom>
          <a:noFill/>
          <a:ln w="317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nSpc>
                <a:spcPct val="90000"/>
              </a:lnSpc>
              <a:defRPr/>
            </a:pPr>
            <a:r>
              <a:rPr lang="en-US" sz="1400" b="1" cap="all">
                <a:solidFill>
                  <a:srgbClr val="FFFFFF"/>
                </a:solidFill>
                <a:latin typeface="Arial"/>
                <a:cs typeface="Arial"/>
              </a:rPr>
              <a:t>DATA &amp; AI SECURITY</a:t>
            </a:r>
          </a:p>
        </p:txBody>
      </p:sp>
      <p:sp>
        <p:nvSpPr>
          <p:cNvPr id="159" name="Rectangle 158">
            <a:extLst>
              <a:ext uri="{FF2B5EF4-FFF2-40B4-BE49-F238E27FC236}">
                <a16:creationId xmlns:a16="http://schemas.microsoft.com/office/drawing/2014/main" id="{E1F37E57-80AD-2E6D-3F1C-771D5482CBEA}"/>
              </a:ext>
            </a:extLst>
          </p:cNvPr>
          <p:cNvSpPr>
            <a:spLocks/>
          </p:cNvSpPr>
          <p:nvPr/>
        </p:nvSpPr>
        <p:spPr>
          <a:xfrm rot="16200000">
            <a:off x="7238427" y="1067143"/>
            <a:ext cx="728488" cy="8049395"/>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6">
              <a:defRPr/>
            </a:pPr>
            <a:endParaRPr lang="es-ES_tradnl" sz="1800">
              <a:solidFill>
                <a:srgbClr val="FFFFFF"/>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87AF8DAC-C249-A0F7-7F3B-36A15F603A0B}"/>
              </a:ext>
            </a:extLst>
          </p:cNvPr>
          <p:cNvSpPr>
            <a:spLocks/>
          </p:cNvSpPr>
          <p:nvPr/>
        </p:nvSpPr>
        <p:spPr>
          <a:xfrm>
            <a:off x="5090190" y="5073175"/>
            <a:ext cx="902490" cy="235475"/>
          </a:xfrm>
          <a:prstGeom prst="rect">
            <a:avLst/>
          </a:prstGeom>
          <a:noFill/>
          <a:ln w="25400" cap="flat" cmpd="sng" algn="ctr">
            <a:noFill/>
            <a:prstDash val="solid"/>
          </a:ln>
          <a:effectLst/>
        </p:spPr>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defRPr/>
            </a:pPr>
            <a:r>
              <a:rPr lang="en-US" sz="1200" kern="0">
                <a:solidFill>
                  <a:srgbClr val="FFFFFF"/>
                </a:solidFill>
                <a:latin typeface="Arial"/>
                <a:cs typeface="Arial"/>
              </a:rPr>
              <a:t>Data Discovery</a:t>
            </a:r>
            <a:endParaRPr lang="en-US">
              <a:latin typeface="Arial"/>
              <a:cs typeface="Arial"/>
            </a:endParaRPr>
          </a:p>
        </p:txBody>
      </p:sp>
      <p:sp>
        <p:nvSpPr>
          <p:cNvPr id="25" name="Rectangle 24">
            <a:extLst>
              <a:ext uri="{FF2B5EF4-FFF2-40B4-BE49-F238E27FC236}">
                <a16:creationId xmlns:a16="http://schemas.microsoft.com/office/drawing/2014/main" id="{4FD784BB-09FC-04EF-A4A1-0E2941927B5B}"/>
              </a:ext>
            </a:extLst>
          </p:cNvPr>
          <p:cNvSpPr>
            <a:spLocks/>
          </p:cNvSpPr>
          <p:nvPr/>
        </p:nvSpPr>
        <p:spPr>
          <a:xfrm>
            <a:off x="6772305" y="5073175"/>
            <a:ext cx="1106072" cy="235475"/>
          </a:xfrm>
          <a:prstGeom prst="rect">
            <a:avLst/>
          </a:prstGeom>
          <a:noFill/>
          <a:ln w="25400" cap="flat" cmpd="sng" algn="ctr">
            <a:noFill/>
            <a:prstDash val="solid"/>
          </a:ln>
          <a:effectLst/>
        </p:spPr>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6">
              <a:defRPr/>
            </a:pPr>
            <a:r>
              <a:rPr lang="en-US" sz="1200" kern="0">
                <a:solidFill>
                  <a:srgbClr val="FFFFFF"/>
                </a:solidFill>
                <a:latin typeface="Arial"/>
                <a:cs typeface="Arial"/>
              </a:rPr>
              <a:t>Classification</a:t>
            </a:r>
          </a:p>
        </p:txBody>
      </p:sp>
      <p:sp>
        <p:nvSpPr>
          <p:cNvPr id="26" name="Rectangle 25">
            <a:extLst>
              <a:ext uri="{FF2B5EF4-FFF2-40B4-BE49-F238E27FC236}">
                <a16:creationId xmlns:a16="http://schemas.microsoft.com/office/drawing/2014/main" id="{81FDB09C-887A-1220-39DF-E064B17F39B2}"/>
              </a:ext>
            </a:extLst>
          </p:cNvPr>
          <p:cNvSpPr>
            <a:spLocks/>
          </p:cNvSpPr>
          <p:nvPr/>
        </p:nvSpPr>
        <p:spPr>
          <a:xfrm>
            <a:off x="8822673" y="5081550"/>
            <a:ext cx="1476492" cy="260605"/>
          </a:xfrm>
          <a:prstGeom prst="rect">
            <a:avLst/>
          </a:prstGeom>
          <a:noFill/>
          <a:ln w="25400" cap="flat" cmpd="sng" algn="ctr">
            <a:noFill/>
            <a:prstDash val="solid"/>
          </a:ln>
          <a:effectLst/>
        </p:spPr>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defRPr/>
            </a:pPr>
            <a:r>
              <a:rPr lang="en-US" sz="1200" kern="0">
                <a:solidFill>
                  <a:srgbClr val="FFFFFF"/>
                </a:solidFill>
                <a:latin typeface="Arial"/>
                <a:cs typeface="Arial"/>
              </a:rPr>
              <a:t>Data &amp; AI Access Governance</a:t>
            </a:r>
          </a:p>
        </p:txBody>
      </p:sp>
      <p:cxnSp>
        <p:nvCxnSpPr>
          <p:cNvPr id="49" name="Straight Arrow Connector 48">
            <a:extLst>
              <a:ext uri="{FF2B5EF4-FFF2-40B4-BE49-F238E27FC236}">
                <a16:creationId xmlns:a16="http://schemas.microsoft.com/office/drawing/2014/main" id="{A383BFA6-5BF9-5E91-5C62-F9813E61DBFC}"/>
              </a:ext>
            </a:extLst>
          </p:cNvPr>
          <p:cNvCxnSpPr>
            <a:cxnSpLocks/>
          </p:cNvCxnSpPr>
          <p:nvPr/>
        </p:nvCxnSpPr>
        <p:spPr>
          <a:xfrm>
            <a:off x="8286717" y="5016842"/>
            <a:ext cx="0" cy="431905"/>
          </a:xfrm>
          <a:prstGeom prst="straightConnector1">
            <a:avLst/>
          </a:prstGeom>
          <a:ln w="12700" cap="flat" cmpd="sng" algn="ctr">
            <a:solidFill>
              <a:schemeClr val="tx2">
                <a:lumMod val="40000"/>
                <a:lumOff val="60000"/>
                <a:alpha val="4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8EECDCDF-E6BB-982D-4949-2667CDFFC1AE}"/>
              </a:ext>
            </a:extLst>
          </p:cNvPr>
          <p:cNvCxnSpPr>
            <a:cxnSpLocks/>
          </p:cNvCxnSpPr>
          <p:nvPr/>
        </p:nvCxnSpPr>
        <p:spPr>
          <a:xfrm>
            <a:off x="6372721" y="5025217"/>
            <a:ext cx="0" cy="423529"/>
          </a:xfrm>
          <a:prstGeom prst="straightConnector1">
            <a:avLst/>
          </a:prstGeom>
          <a:ln w="12700" cap="flat" cmpd="sng" algn="ctr">
            <a:solidFill>
              <a:schemeClr val="tx2">
                <a:lumMod val="40000"/>
                <a:lumOff val="60000"/>
                <a:alpha val="4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0" name="Rectangle 159">
            <a:extLst>
              <a:ext uri="{FF2B5EF4-FFF2-40B4-BE49-F238E27FC236}">
                <a16:creationId xmlns:a16="http://schemas.microsoft.com/office/drawing/2014/main" id="{0A78C87E-4D5E-B9C0-A341-20482731F12D}"/>
              </a:ext>
            </a:extLst>
          </p:cNvPr>
          <p:cNvSpPr>
            <a:spLocks/>
          </p:cNvSpPr>
          <p:nvPr/>
        </p:nvSpPr>
        <p:spPr>
          <a:xfrm>
            <a:off x="4482123" y="4719824"/>
            <a:ext cx="6339458" cy="353351"/>
          </a:xfrm>
          <a:prstGeom prst="rect">
            <a:avLst/>
          </a:prstGeom>
          <a:noFill/>
          <a:ln w="25400" cap="flat" cmpd="sng" algn="ctr">
            <a:noFill/>
            <a:prstDash val="solid"/>
          </a:ln>
          <a:effectLst/>
        </p:spPr>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6">
              <a:defRPr/>
            </a:pPr>
            <a:endParaRPr lang="en-US" sz="1400" b="1" kern="0">
              <a:solidFill>
                <a:srgbClr val="FFFFFF"/>
              </a:solidFill>
              <a:latin typeface="Arial" panose="020B0604020202020204" pitchFamily="34" charset="0"/>
              <a:cs typeface="Arial" panose="020B0604020202020204" pitchFamily="34" charset="0"/>
            </a:endParaRPr>
          </a:p>
        </p:txBody>
      </p:sp>
      <p:sp>
        <p:nvSpPr>
          <p:cNvPr id="165" name="TextBox 164">
            <a:extLst>
              <a:ext uri="{FF2B5EF4-FFF2-40B4-BE49-F238E27FC236}">
                <a16:creationId xmlns:a16="http://schemas.microsoft.com/office/drawing/2014/main" id="{D80A7C28-B86D-850F-3205-F46C716F49FC}"/>
              </a:ext>
            </a:extLst>
          </p:cNvPr>
          <p:cNvSpPr txBox="1"/>
          <p:nvPr/>
        </p:nvSpPr>
        <p:spPr>
          <a:xfrm>
            <a:off x="722844" y="4841205"/>
            <a:ext cx="547929" cy="523220"/>
          </a:xfrm>
          <a:prstGeom prst="rect">
            <a:avLst/>
          </a:prstGeom>
          <a:noFill/>
        </p:spPr>
        <p:txBody>
          <a:bodyPr wrap="square" lIns="91440" tIns="45720" rIns="91440" bIns="4572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2800" b="1">
                <a:solidFill>
                  <a:schemeClr val="bg1"/>
                </a:solidFill>
                <a:latin typeface="Arial"/>
                <a:cs typeface="Arial"/>
              </a:rPr>
              <a:t>4.</a:t>
            </a:r>
          </a:p>
        </p:txBody>
      </p:sp>
      <p:sp>
        <p:nvSpPr>
          <p:cNvPr id="4" name="Rectangle 3">
            <a:extLst>
              <a:ext uri="{FF2B5EF4-FFF2-40B4-BE49-F238E27FC236}">
                <a16:creationId xmlns:a16="http://schemas.microsoft.com/office/drawing/2014/main" id="{3779D8E0-0ED7-5C7A-8179-CC2279965AA9}"/>
              </a:ext>
            </a:extLst>
          </p:cNvPr>
          <p:cNvSpPr>
            <a:spLocks/>
          </p:cNvSpPr>
          <p:nvPr/>
        </p:nvSpPr>
        <p:spPr>
          <a:xfrm>
            <a:off x="4508397" y="4694695"/>
            <a:ext cx="6339458" cy="353351"/>
          </a:xfrm>
          <a:prstGeom prst="rect">
            <a:avLst/>
          </a:prstGeom>
          <a:noFill/>
          <a:ln w="25400" cap="flat" cmpd="sng" algn="ctr">
            <a:noFill/>
            <a:prstDash val="solid"/>
          </a:ln>
          <a:effectLst/>
        </p:spPr>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defRPr/>
            </a:pPr>
            <a:r>
              <a:rPr lang="en-US" sz="1400" b="1" kern="0">
                <a:solidFill>
                  <a:srgbClr val="FFFFFF"/>
                </a:solidFill>
                <a:latin typeface="Arial"/>
                <a:cs typeface="Arial"/>
              </a:rPr>
              <a:t>Know, Protect, and Control Your Most Critical Asset – Data.</a:t>
            </a:r>
          </a:p>
        </p:txBody>
      </p:sp>
      <p:sp>
        <p:nvSpPr>
          <p:cNvPr id="48" name="Rectangle 47">
            <a:extLst>
              <a:ext uri="{FF2B5EF4-FFF2-40B4-BE49-F238E27FC236}">
                <a16:creationId xmlns:a16="http://schemas.microsoft.com/office/drawing/2014/main" id="{4CD79EE1-A4FD-D9DD-645B-3AE527ACFDCA}"/>
              </a:ext>
            </a:extLst>
          </p:cNvPr>
          <p:cNvSpPr>
            <a:spLocks/>
          </p:cNvSpPr>
          <p:nvPr/>
        </p:nvSpPr>
        <p:spPr>
          <a:xfrm>
            <a:off x="3840016" y="1277460"/>
            <a:ext cx="7482941" cy="309464"/>
          </a:xfrm>
          <a:prstGeom prst="rect">
            <a:avLst/>
          </a:prstGeom>
          <a:noFill/>
          <a:ln w="25400" cap="flat" cmpd="sng" algn="ctr">
            <a:noFill/>
            <a:prstDash val="solid"/>
          </a:ln>
          <a:effectLst/>
        </p:spPr>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6">
              <a:defRPr/>
            </a:pPr>
            <a:r>
              <a:rPr lang="en-US" sz="1400" b="1" kern="0">
                <a:solidFill>
                  <a:srgbClr val="FFFFFF"/>
                </a:solidFill>
                <a:latin typeface="Arial"/>
                <a:cs typeface="Arial"/>
              </a:rPr>
              <a:t>A cloud-native platform designed to protect major public cloud environments.</a:t>
            </a:r>
            <a:endParaRPr lang="en-US"/>
          </a:p>
        </p:txBody>
      </p:sp>
      <p:sp>
        <p:nvSpPr>
          <p:cNvPr id="8" name="Rectangle 7">
            <a:extLst>
              <a:ext uri="{FF2B5EF4-FFF2-40B4-BE49-F238E27FC236}">
                <a16:creationId xmlns:a16="http://schemas.microsoft.com/office/drawing/2014/main" id="{93AD9604-675D-0EAA-BC6F-620B903C24D8}"/>
              </a:ext>
            </a:extLst>
          </p:cNvPr>
          <p:cNvSpPr>
            <a:spLocks/>
          </p:cNvSpPr>
          <p:nvPr/>
        </p:nvSpPr>
        <p:spPr>
          <a:xfrm>
            <a:off x="2736965" y="1346333"/>
            <a:ext cx="816765" cy="568846"/>
          </a:xfrm>
          <a:prstGeom prst="rect">
            <a:avLst/>
          </a:prstGeom>
          <a:noFill/>
          <a:ln w="317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defRPr/>
            </a:pPr>
            <a:r>
              <a:rPr lang="en-US" sz="1400" b="1" cap="all">
                <a:solidFill>
                  <a:srgbClr val="FFFFFF"/>
                </a:solidFill>
                <a:latin typeface="Arial"/>
                <a:cs typeface="Arial"/>
              </a:rPr>
              <a:t>Cloud native</a:t>
            </a:r>
          </a:p>
        </p:txBody>
      </p:sp>
      <p:sp>
        <p:nvSpPr>
          <p:cNvPr id="7" name="Footer Placeholder 2">
            <a:extLst>
              <a:ext uri="{FF2B5EF4-FFF2-40B4-BE49-F238E27FC236}">
                <a16:creationId xmlns:a16="http://schemas.microsoft.com/office/drawing/2014/main" id="{52DF4556-4146-3483-C49B-5DCE3E0F7819}"/>
              </a:ext>
            </a:extLst>
          </p:cNvPr>
          <p:cNvSpPr txBox="1">
            <a:spLocks/>
          </p:cNvSpPr>
          <p:nvPr/>
        </p:nvSpPr>
        <p:spPr>
          <a:xfrm>
            <a:off x="10172700" y="6344667"/>
            <a:ext cx="1123950" cy="28336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800">
                <a:solidFill>
                  <a:srgbClr val="FFFFFF"/>
                </a:solidFill>
                <a:latin typeface="Arial" panose="020B0604020202020204"/>
              </a:rPr>
              <a:t>© Commvault 2025</a:t>
            </a:r>
          </a:p>
        </p:txBody>
      </p:sp>
      <p:sp>
        <p:nvSpPr>
          <p:cNvPr id="9" name="Slide Number Placeholder 4">
            <a:extLst>
              <a:ext uri="{FF2B5EF4-FFF2-40B4-BE49-F238E27FC236}">
                <a16:creationId xmlns:a16="http://schemas.microsoft.com/office/drawing/2014/main" id="{0847E99D-DAF2-7235-E06A-5349F1117440}"/>
              </a:ext>
            </a:extLst>
          </p:cNvPr>
          <p:cNvSpPr txBox="1">
            <a:spLocks/>
          </p:cNvSpPr>
          <p:nvPr/>
        </p:nvSpPr>
        <p:spPr>
          <a:xfrm>
            <a:off x="11403176" y="6377920"/>
            <a:ext cx="373227" cy="25577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71676EBD-8486-AA4B-82C3-0598DF1E43FA}" type="slidenum">
              <a:rPr lang="en-US" sz="800" smtClean="0">
                <a:solidFill>
                  <a:srgbClr val="FFFFFF"/>
                </a:solidFill>
                <a:latin typeface="Arial" panose="020B0604020202020204"/>
              </a:rPr>
              <a:pPr algn="r">
                <a:defRPr/>
              </a:pPr>
              <a:t>7</a:t>
            </a:fld>
            <a:endParaRPr lang="en-US" sz="800">
              <a:solidFill>
                <a:srgbClr val="FFFFFF"/>
              </a:solidFill>
              <a:latin typeface="Arial" panose="020B0604020202020204"/>
            </a:endParaRPr>
          </a:p>
        </p:txBody>
      </p:sp>
    </p:spTree>
    <p:extLst>
      <p:ext uri="{BB962C8B-B14F-4D97-AF65-F5344CB8AC3E}">
        <p14:creationId xmlns:p14="http://schemas.microsoft.com/office/powerpoint/2010/main" val="21041454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B501D3-D618-9958-9F9B-AE718E59C328}"/>
              </a:ext>
            </a:extLst>
          </p:cNvPr>
          <p:cNvSpPr>
            <a:spLocks noGrp="1"/>
          </p:cNvSpPr>
          <p:nvPr>
            <p:ph type="title"/>
          </p:nvPr>
        </p:nvSpPr>
        <p:spPr/>
        <p:txBody>
          <a:bodyPr/>
          <a:lstStyle/>
          <a:p>
            <a:r>
              <a:rPr lang="en-US"/>
              <a:t>Unified Data Protection</a:t>
            </a:r>
          </a:p>
        </p:txBody>
      </p:sp>
      <p:sp>
        <p:nvSpPr>
          <p:cNvPr id="5" name="Text Placeholder 4">
            <a:extLst>
              <a:ext uri="{FF2B5EF4-FFF2-40B4-BE49-F238E27FC236}">
                <a16:creationId xmlns:a16="http://schemas.microsoft.com/office/drawing/2014/main" id="{F0D59B5A-221B-DC13-6F6E-FA0DAD22F7A5}"/>
              </a:ext>
            </a:extLst>
          </p:cNvPr>
          <p:cNvSpPr>
            <a:spLocks noGrp="1"/>
          </p:cNvSpPr>
          <p:nvPr>
            <p:ph type="body" sz="quarter" idx="23"/>
          </p:nvPr>
        </p:nvSpPr>
        <p:spPr/>
        <p:txBody>
          <a:bodyPr/>
          <a:lstStyle/>
          <a:p>
            <a:endParaRPr lang="en-US"/>
          </a:p>
        </p:txBody>
      </p:sp>
      <p:sp>
        <p:nvSpPr>
          <p:cNvPr id="9" name="Footer Placeholder 2">
            <a:extLst>
              <a:ext uri="{FF2B5EF4-FFF2-40B4-BE49-F238E27FC236}">
                <a16:creationId xmlns:a16="http://schemas.microsoft.com/office/drawing/2014/main" id="{452A8B74-A93A-FF64-5CA7-C142A09C30FF}"/>
              </a:ext>
            </a:extLst>
          </p:cNvPr>
          <p:cNvSpPr txBox="1">
            <a:spLocks/>
          </p:cNvSpPr>
          <p:nvPr/>
        </p:nvSpPr>
        <p:spPr>
          <a:xfrm>
            <a:off x="10172700" y="6344667"/>
            <a:ext cx="1123950" cy="28336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800">
                <a:solidFill>
                  <a:srgbClr val="FFFFFF"/>
                </a:solidFill>
                <a:latin typeface="Arial" panose="020B0604020202020204"/>
              </a:rPr>
              <a:t>© Commvault 2025</a:t>
            </a:r>
          </a:p>
        </p:txBody>
      </p:sp>
      <p:sp>
        <p:nvSpPr>
          <p:cNvPr id="10" name="Slide Number Placeholder 4">
            <a:extLst>
              <a:ext uri="{FF2B5EF4-FFF2-40B4-BE49-F238E27FC236}">
                <a16:creationId xmlns:a16="http://schemas.microsoft.com/office/drawing/2014/main" id="{44BF6005-607E-FBD9-C422-3FB47132507F}"/>
              </a:ext>
            </a:extLst>
          </p:cNvPr>
          <p:cNvSpPr txBox="1">
            <a:spLocks/>
          </p:cNvSpPr>
          <p:nvPr/>
        </p:nvSpPr>
        <p:spPr>
          <a:xfrm>
            <a:off x="11403176" y="6377920"/>
            <a:ext cx="373227" cy="25577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71676EBD-8486-AA4B-82C3-0598DF1E43FA}" type="slidenum">
              <a:rPr lang="en-US" sz="800" smtClean="0">
                <a:solidFill>
                  <a:srgbClr val="FFFFFF"/>
                </a:solidFill>
                <a:latin typeface="Arial" panose="020B0604020202020204"/>
              </a:rPr>
              <a:pPr algn="r">
                <a:defRPr/>
              </a:pPr>
              <a:t>8</a:t>
            </a:fld>
            <a:endParaRPr lang="en-US" sz="800">
              <a:solidFill>
                <a:srgbClr val="FFFFFF"/>
              </a:solidFill>
              <a:latin typeface="Arial" panose="020B0604020202020204"/>
            </a:endParaRPr>
          </a:p>
        </p:txBody>
      </p:sp>
    </p:spTree>
    <p:extLst>
      <p:ext uri="{BB962C8B-B14F-4D97-AF65-F5344CB8AC3E}">
        <p14:creationId xmlns:p14="http://schemas.microsoft.com/office/powerpoint/2010/main" val="31691603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538442-0A38-2FEC-79EE-9550C5FE567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82623-76F6-9624-7F05-9BB980746F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think-cell data - do not delete" hidden="1">
                        <a:extLst>
                          <a:ext uri="{FF2B5EF4-FFF2-40B4-BE49-F238E27FC236}">
                            <a16:creationId xmlns:a16="http://schemas.microsoft.com/office/drawing/2014/main" id="{D7982623-76F6-9624-7F05-9BB980746F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Text Placeholder 123">
            <a:extLst>
              <a:ext uri="{FF2B5EF4-FFF2-40B4-BE49-F238E27FC236}">
                <a16:creationId xmlns:a16="http://schemas.microsoft.com/office/drawing/2014/main" id="{CD531EBD-0EAA-D0E6-4CC7-3482EDB0795A}"/>
              </a:ext>
            </a:extLst>
          </p:cNvPr>
          <p:cNvSpPr>
            <a:spLocks noGrp="1"/>
          </p:cNvSpPr>
          <p:nvPr>
            <p:ph type="body" sz="quarter" idx="13"/>
          </p:nvPr>
        </p:nvSpPr>
        <p:spPr>
          <a:xfrm>
            <a:off x="424996" y="1092541"/>
            <a:ext cx="11360150" cy="193675"/>
          </a:xfrm>
        </p:spPr>
        <p:txBody>
          <a:bodyPr/>
          <a:lstStyle/>
          <a:p>
            <a:r>
              <a:rPr lang="en-US">
                <a:solidFill>
                  <a:schemeClr val="bg1"/>
                </a:solidFill>
              </a:rPr>
              <a:t>Unified Protection, Shared Intelligence, Enterprise-Scale Resilience</a:t>
            </a:r>
            <a:endParaRPr lang="en-US"/>
          </a:p>
        </p:txBody>
      </p:sp>
      <p:sp>
        <p:nvSpPr>
          <p:cNvPr id="2" name="Footer Placeholder 2">
            <a:extLst>
              <a:ext uri="{FF2B5EF4-FFF2-40B4-BE49-F238E27FC236}">
                <a16:creationId xmlns:a16="http://schemas.microsoft.com/office/drawing/2014/main" id="{1899B4D6-168C-3328-E56C-714DA8D18D64}"/>
              </a:ext>
            </a:extLst>
          </p:cNvPr>
          <p:cNvSpPr>
            <a:spLocks noGrp="1"/>
          </p:cNvSpPr>
          <p:nvPr>
            <p:ph type="ftr" sz="quarter" idx="14"/>
          </p:nvPr>
        </p:nvSpPr>
        <p:spPr>
          <a:xfrm>
            <a:off x="10172700" y="6364123"/>
            <a:ext cx="1123950" cy="28336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mn-ea"/>
                <a:cs typeface="+mn-cs"/>
              </a:rPr>
              <a:t>© Commvault 2025</a:t>
            </a:r>
          </a:p>
        </p:txBody>
      </p:sp>
      <p:sp>
        <p:nvSpPr>
          <p:cNvPr id="3" name="Slide Number Placeholder 4">
            <a:extLst>
              <a:ext uri="{FF2B5EF4-FFF2-40B4-BE49-F238E27FC236}">
                <a16:creationId xmlns:a16="http://schemas.microsoft.com/office/drawing/2014/main" id="{B0E3120E-A72C-1A5E-8608-953CEC8030B5}"/>
              </a:ext>
            </a:extLst>
          </p:cNvPr>
          <p:cNvSpPr>
            <a:spLocks noGrp="1"/>
          </p:cNvSpPr>
          <p:nvPr>
            <p:ph type="sldNum" sz="quarter" idx="15"/>
          </p:nvPr>
        </p:nvSpPr>
        <p:spPr>
          <a:xfrm>
            <a:off x="11403176" y="6377920"/>
            <a:ext cx="373227" cy="25577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676EBD-8486-AA4B-82C3-0598DF1E43FA}" type="slidenum">
              <a:rPr kumimoji="0" lang="en-US" sz="8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Title 5">
            <a:extLst>
              <a:ext uri="{FF2B5EF4-FFF2-40B4-BE49-F238E27FC236}">
                <a16:creationId xmlns:a16="http://schemas.microsoft.com/office/drawing/2014/main" id="{51B54AFC-E2F7-9A4E-8D23-9B111172FEB7}"/>
              </a:ext>
            </a:extLst>
          </p:cNvPr>
          <p:cNvSpPr>
            <a:spLocks noGrp="1"/>
          </p:cNvSpPr>
          <p:nvPr>
            <p:ph type="title"/>
          </p:nvPr>
        </p:nvSpPr>
        <p:spPr>
          <a:xfrm>
            <a:off x="415925" y="461963"/>
            <a:ext cx="11360150" cy="492443"/>
          </a:xfrm>
        </p:spPr>
        <p:txBody>
          <a:bodyPr vert="horz"/>
          <a:lstStyle/>
          <a:p>
            <a:r>
              <a:rPr lang="en-US" sz="3200"/>
              <a:t>Commvault Cloud </a:t>
            </a:r>
            <a:r>
              <a:rPr lang="en-US" sz="3200">
                <a:solidFill>
                  <a:srgbClr val="FFFFFF"/>
                </a:solidFill>
              </a:rPr>
              <a:t>Unity | </a:t>
            </a:r>
            <a:r>
              <a:rPr lang="en-US" sz="3200"/>
              <a:t>Platform for Unified Resilience</a:t>
            </a:r>
          </a:p>
        </p:txBody>
      </p:sp>
      <p:grpSp>
        <p:nvGrpSpPr>
          <p:cNvPr id="20" name="Group 19">
            <a:extLst>
              <a:ext uri="{FF2B5EF4-FFF2-40B4-BE49-F238E27FC236}">
                <a16:creationId xmlns:a16="http://schemas.microsoft.com/office/drawing/2014/main" id="{01E9622C-299B-BE58-C691-154854F063D1}"/>
              </a:ext>
            </a:extLst>
          </p:cNvPr>
          <p:cNvGrpSpPr/>
          <p:nvPr/>
        </p:nvGrpSpPr>
        <p:grpSpPr>
          <a:xfrm>
            <a:off x="415596" y="5368315"/>
            <a:ext cx="11360150" cy="908444"/>
            <a:chOff x="415596" y="5368315"/>
            <a:chExt cx="11360150" cy="908444"/>
          </a:xfrm>
        </p:grpSpPr>
        <p:sp>
          <p:nvSpPr>
            <p:cNvPr id="21" name="Rounded Rectangle 29">
              <a:extLst>
                <a:ext uri="{FF2B5EF4-FFF2-40B4-BE49-F238E27FC236}">
                  <a16:creationId xmlns:a16="http://schemas.microsoft.com/office/drawing/2014/main" id="{15595DAB-A44E-7827-C40A-21F89C855AB0}"/>
                </a:ext>
              </a:extLst>
            </p:cNvPr>
            <p:cNvSpPr>
              <a:spLocks/>
            </p:cNvSpPr>
            <p:nvPr/>
          </p:nvSpPr>
          <p:spPr>
            <a:xfrm>
              <a:off x="415596" y="5791431"/>
              <a:ext cx="1520602" cy="485328"/>
            </a:xfrm>
            <a:prstGeom prst="roundRect">
              <a:avLst>
                <a:gd name="adj" fmla="val 11682"/>
              </a:avLst>
            </a:prstGeom>
            <a:noFill/>
            <a:ln>
              <a:solidFill>
                <a:schemeClr val="accent2">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Al Data</a:t>
              </a:r>
            </a:p>
          </p:txBody>
        </p:sp>
        <p:sp>
          <p:nvSpPr>
            <p:cNvPr id="22" name="Rounded Rectangle 29">
              <a:extLst>
                <a:ext uri="{FF2B5EF4-FFF2-40B4-BE49-F238E27FC236}">
                  <a16:creationId xmlns:a16="http://schemas.microsoft.com/office/drawing/2014/main" id="{732C39F4-C78E-7FA0-E1B5-B6914A4B0E1E}"/>
                </a:ext>
              </a:extLst>
            </p:cNvPr>
            <p:cNvSpPr>
              <a:spLocks/>
            </p:cNvSpPr>
            <p:nvPr/>
          </p:nvSpPr>
          <p:spPr>
            <a:xfrm>
              <a:off x="2055521" y="5791431"/>
              <a:ext cx="1520602" cy="485328"/>
            </a:xfrm>
            <a:prstGeom prst="roundRect">
              <a:avLst>
                <a:gd name="adj" fmla="val 11682"/>
              </a:avLst>
            </a:prstGeom>
            <a:noFill/>
            <a:ln>
              <a:solidFill>
                <a:schemeClr val="accent2">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Cloud Nat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Workloads</a:t>
              </a:r>
            </a:p>
          </p:txBody>
        </p:sp>
        <p:sp>
          <p:nvSpPr>
            <p:cNvPr id="23" name="Rounded Rectangle 29">
              <a:extLst>
                <a:ext uri="{FF2B5EF4-FFF2-40B4-BE49-F238E27FC236}">
                  <a16:creationId xmlns:a16="http://schemas.microsoft.com/office/drawing/2014/main" id="{FC528EB2-586F-6359-CE2A-A39D5A7FA69A}"/>
                </a:ext>
              </a:extLst>
            </p:cNvPr>
            <p:cNvSpPr>
              <a:spLocks/>
            </p:cNvSpPr>
            <p:nvPr/>
          </p:nvSpPr>
          <p:spPr>
            <a:xfrm>
              <a:off x="3695446" y="5791431"/>
              <a:ext cx="1520602" cy="485328"/>
            </a:xfrm>
            <a:prstGeom prst="roundRect">
              <a:avLst>
                <a:gd name="adj" fmla="val 11682"/>
              </a:avLst>
            </a:prstGeom>
            <a:noFill/>
            <a:ln>
              <a:solidFill>
                <a:schemeClr val="accent2">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SaaS </a:t>
              </a:r>
              <a:b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Apps</a:t>
              </a:r>
            </a:p>
          </p:txBody>
        </p:sp>
        <p:sp>
          <p:nvSpPr>
            <p:cNvPr id="24" name="Rounded Rectangle 29">
              <a:extLst>
                <a:ext uri="{FF2B5EF4-FFF2-40B4-BE49-F238E27FC236}">
                  <a16:creationId xmlns:a16="http://schemas.microsoft.com/office/drawing/2014/main" id="{E3799C7F-2A08-33E8-D252-D35D63163075}"/>
                </a:ext>
              </a:extLst>
            </p:cNvPr>
            <p:cNvSpPr>
              <a:spLocks/>
            </p:cNvSpPr>
            <p:nvPr/>
          </p:nvSpPr>
          <p:spPr>
            <a:xfrm>
              <a:off x="6975296" y="5791431"/>
              <a:ext cx="1520602" cy="485328"/>
            </a:xfrm>
            <a:prstGeom prst="roundRect">
              <a:avLst>
                <a:gd name="adj" fmla="val 11682"/>
              </a:avLst>
            </a:prstGeom>
            <a:noFill/>
            <a:ln>
              <a:solidFill>
                <a:schemeClr val="accent2">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Act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Directory</a:t>
              </a:r>
            </a:p>
          </p:txBody>
        </p:sp>
        <p:sp>
          <p:nvSpPr>
            <p:cNvPr id="25" name="Rounded Rectangle 29">
              <a:extLst>
                <a:ext uri="{FF2B5EF4-FFF2-40B4-BE49-F238E27FC236}">
                  <a16:creationId xmlns:a16="http://schemas.microsoft.com/office/drawing/2014/main" id="{0651768F-CD00-7464-E331-423A0D4D0DA1}"/>
                </a:ext>
              </a:extLst>
            </p:cNvPr>
            <p:cNvSpPr>
              <a:spLocks/>
            </p:cNvSpPr>
            <p:nvPr/>
          </p:nvSpPr>
          <p:spPr>
            <a:xfrm>
              <a:off x="5335371" y="5791431"/>
              <a:ext cx="1520602" cy="485328"/>
            </a:xfrm>
            <a:prstGeom prst="roundRect">
              <a:avLst>
                <a:gd name="adj" fmla="val 11682"/>
              </a:avLst>
            </a:prstGeom>
            <a:noFill/>
            <a:ln>
              <a:solidFill>
                <a:schemeClr val="accent2">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DevOps </a:t>
              </a:r>
              <a:b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Repos</a:t>
              </a:r>
            </a:p>
          </p:txBody>
        </p:sp>
        <p:sp>
          <p:nvSpPr>
            <p:cNvPr id="26" name="Rounded Rectangle 29">
              <a:extLst>
                <a:ext uri="{FF2B5EF4-FFF2-40B4-BE49-F238E27FC236}">
                  <a16:creationId xmlns:a16="http://schemas.microsoft.com/office/drawing/2014/main" id="{C2DF6885-89AC-E873-9072-31D7E639CA20}"/>
                </a:ext>
              </a:extLst>
            </p:cNvPr>
            <p:cNvSpPr>
              <a:spLocks/>
            </p:cNvSpPr>
            <p:nvPr/>
          </p:nvSpPr>
          <p:spPr>
            <a:xfrm>
              <a:off x="8615221" y="5791431"/>
              <a:ext cx="1520602" cy="485328"/>
            </a:xfrm>
            <a:prstGeom prst="roundRect">
              <a:avLst>
                <a:gd name="adj" fmla="val 11682"/>
              </a:avLst>
            </a:prstGeom>
            <a:noFill/>
            <a:ln>
              <a:solidFill>
                <a:schemeClr val="accent2">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Edge </a:t>
              </a:r>
              <a:b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Data</a:t>
              </a:r>
            </a:p>
          </p:txBody>
        </p:sp>
        <p:sp>
          <p:nvSpPr>
            <p:cNvPr id="27" name="Rounded Rectangle 29">
              <a:extLst>
                <a:ext uri="{FF2B5EF4-FFF2-40B4-BE49-F238E27FC236}">
                  <a16:creationId xmlns:a16="http://schemas.microsoft.com/office/drawing/2014/main" id="{10B06850-929C-2930-4FEA-B800CF0BD98A}"/>
                </a:ext>
              </a:extLst>
            </p:cNvPr>
            <p:cNvSpPr>
              <a:spLocks/>
            </p:cNvSpPr>
            <p:nvPr/>
          </p:nvSpPr>
          <p:spPr>
            <a:xfrm>
              <a:off x="10255144" y="5791431"/>
              <a:ext cx="1520602" cy="485328"/>
            </a:xfrm>
            <a:prstGeom prst="roundRect">
              <a:avLst>
                <a:gd name="adj" fmla="val 11682"/>
              </a:avLst>
            </a:prstGeom>
            <a:noFill/>
            <a:ln>
              <a:solidFill>
                <a:schemeClr val="accent2">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On-pr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Workloads</a:t>
              </a:r>
            </a:p>
          </p:txBody>
        </p:sp>
        <p:grpSp>
          <p:nvGrpSpPr>
            <p:cNvPr id="31" name="Group 30">
              <a:extLst>
                <a:ext uri="{FF2B5EF4-FFF2-40B4-BE49-F238E27FC236}">
                  <a16:creationId xmlns:a16="http://schemas.microsoft.com/office/drawing/2014/main" id="{A79B2D74-5C8E-0852-66C0-BB996F8FE868}"/>
                </a:ext>
              </a:extLst>
            </p:cNvPr>
            <p:cNvGrpSpPr/>
            <p:nvPr/>
          </p:nvGrpSpPr>
          <p:grpSpPr>
            <a:xfrm>
              <a:off x="415596" y="5368315"/>
              <a:ext cx="11360150" cy="340163"/>
              <a:chOff x="415596" y="5293365"/>
              <a:chExt cx="11360150" cy="340163"/>
            </a:xfrm>
          </p:grpSpPr>
          <p:cxnSp>
            <p:nvCxnSpPr>
              <p:cNvPr id="44" name="Straight Connector 43">
                <a:extLst>
                  <a:ext uri="{FF2B5EF4-FFF2-40B4-BE49-F238E27FC236}">
                    <a16:creationId xmlns:a16="http://schemas.microsoft.com/office/drawing/2014/main" id="{B3559F51-A652-BC14-C76F-95C16B900F3C}"/>
                  </a:ext>
                </a:extLst>
              </p:cNvPr>
              <p:cNvCxnSpPr>
                <a:cxnSpLocks/>
                <a:stCxn id="46" idx="3"/>
              </p:cNvCxnSpPr>
              <p:nvPr/>
            </p:nvCxnSpPr>
            <p:spPr>
              <a:xfrm>
                <a:off x="7025314" y="5463447"/>
                <a:ext cx="4750432" cy="1"/>
              </a:xfrm>
              <a:prstGeom prst="line">
                <a:avLst/>
              </a:prstGeom>
              <a:ln w="9525" cap="rnd">
                <a:solidFill>
                  <a:schemeClr val="accent2"/>
                </a:solidFill>
                <a:prstDash val="solid"/>
                <a:round/>
                <a:headEnd type="none"/>
                <a:tailEnd type="ova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447F767-0A8F-6B70-05C3-972FF2A423E7}"/>
                  </a:ext>
                </a:extLst>
              </p:cNvPr>
              <p:cNvCxnSpPr>
                <a:cxnSpLocks/>
                <a:endCxn id="46" idx="1"/>
              </p:cNvCxnSpPr>
              <p:nvPr/>
            </p:nvCxnSpPr>
            <p:spPr>
              <a:xfrm>
                <a:off x="415596" y="5463447"/>
                <a:ext cx="4751091" cy="0"/>
              </a:xfrm>
              <a:prstGeom prst="line">
                <a:avLst/>
              </a:prstGeom>
              <a:ln w="9525" cap="rnd">
                <a:solidFill>
                  <a:schemeClr val="accent2"/>
                </a:solidFill>
                <a:prstDash val="solid"/>
                <a:round/>
                <a:headEnd type="oval"/>
                <a:tailEnd type="none"/>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58A8CCBF-2B43-C709-24AC-C2DC2C831505}"/>
                  </a:ext>
                </a:extLst>
              </p:cNvPr>
              <p:cNvSpPr>
                <a:spLocks/>
              </p:cNvSpPr>
              <p:nvPr/>
            </p:nvSpPr>
            <p:spPr>
              <a:xfrm>
                <a:off x="5166687" y="5293365"/>
                <a:ext cx="1858627" cy="340163"/>
              </a:xfrm>
              <a:prstGeom prst="roundRect">
                <a:avLst/>
              </a:prstGeom>
              <a:solidFill>
                <a:srgbClr val="653B7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0011" tIns="45561" rIns="90011" bIns="45561"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Protected Workloads</a:t>
                </a:r>
              </a:p>
            </p:txBody>
          </p:sp>
        </p:grpSp>
      </p:grpSp>
      <p:sp>
        <p:nvSpPr>
          <p:cNvPr id="94" name="Freeform: Shape 93">
            <a:extLst>
              <a:ext uri="{FF2B5EF4-FFF2-40B4-BE49-F238E27FC236}">
                <a16:creationId xmlns:a16="http://schemas.microsoft.com/office/drawing/2014/main" id="{ADE15A72-F343-4B39-D09E-F5CC868FB1AF}"/>
              </a:ext>
            </a:extLst>
          </p:cNvPr>
          <p:cNvSpPr/>
          <p:nvPr/>
        </p:nvSpPr>
        <p:spPr>
          <a:xfrm>
            <a:off x="6012128" y="3397674"/>
            <a:ext cx="1747572" cy="1750013"/>
          </a:xfrm>
          <a:custGeom>
            <a:avLst/>
            <a:gdLst>
              <a:gd name="connsiteX0" fmla="*/ 163387 w 2701879"/>
              <a:gd name="connsiteY0" fmla="*/ 702370 h 2705652"/>
              <a:gd name="connsiteX1" fmla="*/ 47343 w 2701879"/>
              <a:gd name="connsiteY1" fmla="*/ 1697904 h 2705652"/>
              <a:gd name="connsiteX2" fmla="*/ 676422 w 2701879"/>
              <a:gd name="connsiteY2" fmla="*/ 2522425 h 2705652"/>
              <a:gd name="connsiteX3" fmla="*/ 1348254 w 2701879"/>
              <a:gd name="connsiteY3" fmla="*/ 2705652 h 2705652"/>
              <a:gd name="connsiteX4" fmla="*/ 2520905 w 2701879"/>
              <a:gd name="connsiteY4" fmla="*/ 2027712 h 2705652"/>
              <a:gd name="connsiteX5" fmla="*/ 2655271 w 2701879"/>
              <a:gd name="connsiteY5" fmla="*/ 1001641 h 2705652"/>
              <a:gd name="connsiteX6" fmla="*/ 2026193 w 2701879"/>
              <a:gd name="connsiteY6" fmla="*/ 183227 h 2705652"/>
              <a:gd name="connsiteX7" fmla="*/ 1384899 w 2701879"/>
              <a:gd name="connsiteY7" fmla="*/ 0 h 2705652"/>
              <a:gd name="connsiteX8" fmla="*/ 163387 w 2701879"/>
              <a:gd name="connsiteY8" fmla="*/ 702370 h 2705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01879" h="2705652">
                <a:moveTo>
                  <a:pt x="163387" y="702370"/>
                </a:moveTo>
                <a:cubicBezTo>
                  <a:pt x="-1517" y="1007749"/>
                  <a:pt x="-44270" y="1361987"/>
                  <a:pt x="47343" y="1697904"/>
                </a:cubicBezTo>
                <a:cubicBezTo>
                  <a:pt x="138957" y="2046035"/>
                  <a:pt x="364936" y="2339198"/>
                  <a:pt x="676422" y="2522425"/>
                </a:cubicBezTo>
                <a:cubicBezTo>
                  <a:pt x="884079" y="2638469"/>
                  <a:pt x="1116166" y="2705652"/>
                  <a:pt x="1348254" y="2705652"/>
                </a:cubicBezTo>
                <a:cubicBezTo>
                  <a:pt x="1830751" y="2705652"/>
                  <a:pt x="2276603" y="2449135"/>
                  <a:pt x="2520905" y="2027712"/>
                </a:cubicBezTo>
                <a:cubicBezTo>
                  <a:pt x="2704132" y="1716226"/>
                  <a:pt x="2746885" y="1349772"/>
                  <a:pt x="2655271" y="1001641"/>
                </a:cubicBezTo>
                <a:cubicBezTo>
                  <a:pt x="2563658" y="653510"/>
                  <a:pt x="2337678" y="360346"/>
                  <a:pt x="2026193" y="183227"/>
                </a:cubicBezTo>
                <a:cubicBezTo>
                  <a:pt x="1830751" y="73291"/>
                  <a:pt x="1610879" y="6107"/>
                  <a:pt x="1384899" y="0"/>
                </a:cubicBezTo>
                <a:cubicBezTo>
                  <a:pt x="1128381" y="427530"/>
                  <a:pt x="664207" y="690155"/>
                  <a:pt x="163387" y="702370"/>
                </a:cubicBezTo>
                <a:close/>
              </a:path>
            </a:pathLst>
          </a:custGeom>
          <a:solidFill>
            <a:schemeClr val="accent1">
              <a:lumMod val="60000"/>
              <a:lumOff val="40000"/>
              <a:alpha val="33000"/>
            </a:schemeClr>
          </a:solidFill>
          <a:ln w="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5" name="Freeform: Shape 94">
            <a:extLst>
              <a:ext uri="{FF2B5EF4-FFF2-40B4-BE49-F238E27FC236}">
                <a16:creationId xmlns:a16="http://schemas.microsoft.com/office/drawing/2014/main" id="{C2676D43-FA3C-42E0-AAAC-55022F3FED65}"/>
              </a:ext>
            </a:extLst>
          </p:cNvPr>
          <p:cNvSpPr/>
          <p:nvPr/>
        </p:nvSpPr>
        <p:spPr>
          <a:xfrm>
            <a:off x="5221074" y="2026897"/>
            <a:ext cx="1750012" cy="1750013"/>
          </a:xfrm>
          <a:custGeom>
            <a:avLst/>
            <a:gdLst>
              <a:gd name="connsiteX0" fmla="*/ 2308658 w 2705649"/>
              <a:gd name="connsiteY0" fmla="*/ 396992 h 2705652"/>
              <a:gd name="connsiteX1" fmla="*/ 1349771 w 2705649"/>
              <a:gd name="connsiteY1" fmla="*/ 0 h 2705652"/>
              <a:gd name="connsiteX2" fmla="*/ 0 w 2705649"/>
              <a:gd name="connsiteY2" fmla="*/ 1349772 h 2705652"/>
              <a:gd name="connsiteX3" fmla="*/ 164904 w 2705649"/>
              <a:gd name="connsiteY3" fmla="*/ 1997175 h 2705652"/>
              <a:gd name="connsiteX4" fmla="*/ 1386416 w 2705649"/>
              <a:gd name="connsiteY4" fmla="*/ 2705652 h 2705652"/>
              <a:gd name="connsiteX5" fmla="*/ 2705649 w 2705649"/>
              <a:gd name="connsiteY5" fmla="*/ 1355880 h 2705652"/>
              <a:gd name="connsiteX6" fmla="*/ 2308658 w 2705649"/>
              <a:gd name="connsiteY6" fmla="*/ 396992 h 2705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5649" h="2705652">
                <a:moveTo>
                  <a:pt x="2308658" y="396992"/>
                </a:moveTo>
                <a:cubicBezTo>
                  <a:pt x="2052140" y="140474"/>
                  <a:pt x="1716224" y="0"/>
                  <a:pt x="1349771" y="0"/>
                </a:cubicBezTo>
                <a:cubicBezTo>
                  <a:pt x="604648" y="0"/>
                  <a:pt x="0" y="604649"/>
                  <a:pt x="0" y="1349772"/>
                </a:cubicBezTo>
                <a:cubicBezTo>
                  <a:pt x="0" y="1575752"/>
                  <a:pt x="54968" y="1795625"/>
                  <a:pt x="164904" y="1997175"/>
                </a:cubicBezTo>
                <a:cubicBezTo>
                  <a:pt x="665724" y="2009390"/>
                  <a:pt x="1129899" y="2278123"/>
                  <a:pt x="1386416" y="2705652"/>
                </a:cubicBezTo>
                <a:cubicBezTo>
                  <a:pt x="2113216" y="2687330"/>
                  <a:pt x="2705649" y="2088788"/>
                  <a:pt x="2705649" y="1355880"/>
                </a:cubicBezTo>
                <a:cubicBezTo>
                  <a:pt x="2705649" y="989426"/>
                  <a:pt x="2565175" y="653510"/>
                  <a:pt x="2308658" y="396992"/>
                </a:cubicBezTo>
                <a:close/>
              </a:path>
            </a:pathLst>
          </a:custGeom>
          <a:solidFill>
            <a:srgbClr val="794771">
              <a:alpha val="65000"/>
            </a:srgbClr>
          </a:solidFill>
          <a:ln w="7109" cap="flat">
            <a:noFill/>
            <a:prstDash val="solid"/>
            <a:miter/>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 name="Freeform: Shape 95">
            <a:extLst>
              <a:ext uri="{FF2B5EF4-FFF2-40B4-BE49-F238E27FC236}">
                <a16:creationId xmlns:a16="http://schemas.microsoft.com/office/drawing/2014/main" id="{E05178A6-0458-3942-41DA-B9C61613A4A5}"/>
              </a:ext>
            </a:extLst>
          </p:cNvPr>
          <p:cNvSpPr/>
          <p:nvPr/>
        </p:nvSpPr>
        <p:spPr>
          <a:xfrm>
            <a:off x="4432302" y="3397674"/>
            <a:ext cx="1618347" cy="1750013"/>
          </a:xfrm>
          <a:custGeom>
            <a:avLst/>
            <a:gdLst>
              <a:gd name="connsiteX0" fmla="*/ 2502087 w 2502086"/>
              <a:gd name="connsiteY0" fmla="*/ 647402 h 2705652"/>
              <a:gd name="connsiteX1" fmla="*/ 1347758 w 2502086"/>
              <a:gd name="connsiteY1" fmla="*/ 0 h 2705652"/>
              <a:gd name="connsiteX2" fmla="*/ 675926 w 2502086"/>
              <a:gd name="connsiteY2" fmla="*/ 183227 h 2705652"/>
              <a:gd name="connsiteX3" fmla="*/ 181214 w 2502086"/>
              <a:gd name="connsiteY3" fmla="*/ 2027712 h 2705652"/>
              <a:gd name="connsiteX4" fmla="*/ 1353866 w 2502086"/>
              <a:gd name="connsiteY4" fmla="*/ 2705652 h 2705652"/>
              <a:gd name="connsiteX5" fmla="*/ 1353866 w 2502086"/>
              <a:gd name="connsiteY5" fmla="*/ 2705652 h 2705652"/>
              <a:gd name="connsiteX6" fmla="*/ 2025697 w 2502086"/>
              <a:gd name="connsiteY6" fmla="*/ 2522425 h 2705652"/>
              <a:gd name="connsiteX7" fmla="*/ 2502087 w 2502086"/>
              <a:gd name="connsiteY7" fmla="*/ 2058250 h 2705652"/>
              <a:gd name="connsiteX8" fmla="*/ 2502087 w 2502086"/>
              <a:gd name="connsiteY8" fmla="*/ 647402 h 2705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2086" h="2705652">
                <a:moveTo>
                  <a:pt x="2502087" y="647402"/>
                </a:moveTo>
                <a:cubicBezTo>
                  <a:pt x="2257784" y="250410"/>
                  <a:pt x="1818040" y="0"/>
                  <a:pt x="1347758" y="0"/>
                </a:cubicBezTo>
                <a:cubicBezTo>
                  <a:pt x="1109563" y="0"/>
                  <a:pt x="877476" y="61076"/>
                  <a:pt x="675926" y="183227"/>
                </a:cubicBezTo>
                <a:cubicBezTo>
                  <a:pt x="28525" y="555789"/>
                  <a:pt x="-191347" y="1380310"/>
                  <a:pt x="181214" y="2027712"/>
                </a:cubicBezTo>
                <a:cubicBezTo>
                  <a:pt x="419409" y="2443027"/>
                  <a:pt x="871368" y="2705652"/>
                  <a:pt x="1353866" y="2705652"/>
                </a:cubicBezTo>
                <a:lnTo>
                  <a:pt x="1353866" y="2705652"/>
                </a:lnTo>
                <a:cubicBezTo>
                  <a:pt x="1592060" y="2705652"/>
                  <a:pt x="1824148" y="2644577"/>
                  <a:pt x="2025697" y="2522425"/>
                </a:cubicBezTo>
                <a:cubicBezTo>
                  <a:pt x="2221139" y="2412489"/>
                  <a:pt x="2386043" y="2247585"/>
                  <a:pt x="2502087" y="2058250"/>
                </a:cubicBezTo>
                <a:cubicBezTo>
                  <a:pt x="2263892" y="1618505"/>
                  <a:pt x="2263892" y="1081039"/>
                  <a:pt x="2502087" y="647402"/>
                </a:cubicBezTo>
                <a:close/>
              </a:path>
            </a:pathLst>
          </a:custGeom>
          <a:solidFill>
            <a:srgbClr val="C87B8D"/>
          </a:solidFill>
          <a:ln w="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8" name="Oval 97">
            <a:extLst>
              <a:ext uri="{FF2B5EF4-FFF2-40B4-BE49-F238E27FC236}">
                <a16:creationId xmlns:a16="http://schemas.microsoft.com/office/drawing/2014/main" id="{9AC37ED2-F6DC-26D1-0685-359781DF8C4A}"/>
              </a:ext>
            </a:extLst>
          </p:cNvPr>
          <p:cNvSpPr/>
          <p:nvPr/>
        </p:nvSpPr>
        <p:spPr>
          <a:xfrm>
            <a:off x="5415141" y="2887385"/>
            <a:ext cx="1374422" cy="1374418"/>
          </a:xfrm>
          <a:prstGeom prst="ellipse">
            <a:avLst/>
          </a:prstGeom>
          <a:solidFill>
            <a:schemeClr val="bg1">
              <a:lumMod val="85000"/>
            </a:schemeClr>
          </a:solidFill>
          <a:ln w="3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101" name="Picture 2" descr="Commvault Cloud: Salesforce Backup, Recovery &amp; Sandbox Seeding - Unlimited  Storage | Salesforce AppExchange">
            <a:extLst>
              <a:ext uri="{FF2B5EF4-FFF2-40B4-BE49-F238E27FC236}">
                <a16:creationId xmlns:a16="http://schemas.microsoft.com/office/drawing/2014/main" id="{DCBB0933-F428-211E-7689-D7E352E71371}"/>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5517558" y="3331167"/>
            <a:ext cx="1169588" cy="486855"/>
          </a:xfrm>
          <a:prstGeom prst="rect">
            <a:avLst/>
          </a:prstGeom>
          <a:extLst>
            <a:ext uri="{909E8E84-426E-40DD-AFC4-6F175D3DCCD1}">
              <a14:hiddenFill xmlns:a14="http://schemas.microsoft.com/office/drawing/2010/main">
                <a:solidFill>
                  <a:srgbClr val="FFFFFF"/>
                </a:solidFill>
              </a14:hiddenFill>
            </a:ext>
          </a:extLst>
        </p:spPr>
      </p:pic>
      <p:sp>
        <p:nvSpPr>
          <p:cNvPr id="102" name="TextBox 101">
            <a:extLst>
              <a:ext uri="{FF2B5EF4-FFF2-40B4-BE49-F238E27FC236}">
                <a16:creationId xmlns:a16="http://schemas.microsoft.com/office/drawing/2014/main" id="{6D28A94C-B831-B845-2EC7-85E1F49C1854}"/>
              </a:ext>
            </a:extLst>
          </p:cNvPr>
          <p:cNvSpPr txBox="1"/>
          <p:nvPr/>
        </p:nvSpPr>
        <p:spPr>
          <a:xfrm>
            <a:off x="6997766" y="2285355"/>
            <a:ext cx="1404131" cy="372411"/>
          </a:xfrm>
          <a:prstGeom prst="rect">
            <a:avLst/>
          </a:prstGeom>
          <a:noFill/>
        </p:spPr>
        <p:txBody>
          <a:bodyPr wrap="square" lIns="0" tIns="0" rIns="13716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Recovery</a:t>
            </a:r>
          </a:p>
        </p:txBody>
      </p:sp>
      <p:sp>
        <p:nvSpPr>
          <p:cNvPr id="103" name="TextBox 102">
            <a:extLst>
              <a:ext uri="{FF2B5EF4-FFF2-40B4-BE49-F238E27FC236}">
                <a16:creationId xmlns:a16="http://schemas.microsoft.com/office/drawing/2014/main" id="{B90CEB10-1799-CF4F-EE52-02BF99E8E36C}"/>
              </a:ext>
            </a:extLst>
          </p:cNvPr>
          <p:cNvSpPr txBox="1">
            <a:spLocks/>
          </p:cNvSpPr>
          <p:nvPr/>
        </p:nvSpPr>
        <p:spPr>
          <a:xfrm>
            <a:off x="3423106" y="4086475"/>
            <a:ext cx="995929" cy="372411"/>
          </a:xfrm>
          <a:prstGeom prst="rect">
            <a:avLst/>
          </a:prstGeom>
          <a:noFill/>
        </p:spPr>
        <p:txBody>
          <a:bodyPr wrap="square" lIns="0" tIns="0" rIns="13716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Identity</a:t>
            </a:r>
          </a:p>
        </p:txBody>
      </p:sp>
      <p:sp>
        <p:nvSpPr>
          <p:cNvPr id="104" name="TextBox 103">
            <a:extLst>
              <a:ext uri="{FF2B5EF4-FFF2-40B4-BE49-F238E27FC236}">
                <a16:creationId xmlns:a16="http://schemas.microsoft.com/office/drawing/2014/main" id="{CD63B9A0-AA2B-8B4C-9148-E56987818A12}"/>
              </a:ext>
            </a:extLst>
          </p:cNvPr>
          <p:cNvSpPr txBox="1">
            <a:spLocks/>
          </p:cNvSpPr>
          <p:nvPr/>
        </p:nvSpPr>
        <p:spPr>
          <a:xfrm>
            <a:off x="7777332" y="4086475"/>
            <a:ext cx="1336214" cy="372411"/>
          </a:xfrm>
          <a:prstGeom prst="rect">
            <a:avLst/>
          </a:prstGeom>
          <a:noFill/>
        </p:spPr>
        <p:txBody>
          <a:bodyPr wrap="square" lIns="13716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Security</a:t>
            </a:r>
          </a:p>
        </p:txBody>
      </p:sp>
      <p:sp>
        <p:nvSpPr>
          <p:cNvPr id="105" name="Freeform: Shape 104">
            <a:extLst>
              <a:ext uri="{FF2B5EF4-FFF2-40B4-BE49-F238E27FC236}">
                <a16:creationId xmlns:a16="http://schemas.microsoft.com/office/drawing/2014/main" id="{EFF14CC9-0423-656E-C00E-D278AC9ED986}"/>
              </a:ext>
            </a:extLst>
          </p:cNvPr>
          <p:cNvSpPr/>
          <p:nvPr/>
        </p:nvSpPr>
        <p:spPr>
          <a:xfrm>
            <a:off x="5815575" y="2226670"/>
            <a:ext cx="560850" cy="521506"/>
          </a:xfrm>
          <a:custGeom>
            <a:avLst/>
            <a:gdLst>
              <a:gd name="connsiteX0" fmla="*/ 35759 w 576618"/>
              <a:gd name="connsiteY0" fmla="*/ 310619 h 536168"/>
              <a:gd name="connsiteX1" fmla="*/ 35498 w 576618"/>
              <a:gd name="connsiteY1" fmla="*/ 310880 h 536168"/>
              <a:gd name="connsiteX2" fmla="*/ 34791 w 576618"/>
              <a:gd name="connsiteY2" fmla="*/ 311549 h 536168"/>
              <a:gd name="connsiteX3" fmla="*/ 34308 w 576618"/>
              <a:gd name="connsiteY3" fmla="*/ 311922 h 536168"/>
              <a:gd name="connsiteX4" fmla="*/ 33526 w 576618"/>
              <a:gd name="connsiteY4" fmla="*/ 312405 h 536168"/>
              <a:gd name="connsiteX5" fmla="*/ 32968 w 576618"/>
              <a:gd name="connsiteY5" fmla="*/ 312666 h 536168"/>
              <a:gd name="connsiteX6" fmla="*/ 32150 w 576618"/>
              <a:gd name="connsiteY6" fmla="*/ 312926 h 536168"/>
              <a:gd name="connsiteX7" fmla="*/ 31517 w 576618"/>
              <a:gd name="connsiteY7" fmla="*/ 313075 h 536168"/>
              <a:gd name="connsiteX8" fmla="*/ 31257 w 576618"/>
              <a:gd name="connsiteY8" fmla="*/ 313149 h 536168"/>
              <a:gd name="connsiteX9" fmla="*/ 30215 w 576618"/>
              <a:gd name="connsiteY9" fmla="*/ 313224 h 536168"/>
              <a:gd name="connsiteX10" fmla="*/ 30029 w 576618"/>
              <a:gd name="connsiteY10" fmla="*/ 313187 h 536168"/>
              <a:gd name="connsiteX11" fmla="*/ 27759 w 576618"/>
              <a:gd name="connsiteY11" fmla="*/ 312777 h 536168"/>
              <a:gd name="connsiteX12" fmla="*/ 26680 w 576618"/>
              <a:gd name="connsiteY12" fmla="*/ 312145 h 536168"/>
              <a:gd name="connsiteX13" fmla="*/ 25676 w 576618"/>
              <a:gd name="connsiteY13" fmla="*/ 311549 h 536168"/>
              <a:gd name="connsiteX14" fmla="*/ 2644 w 576618"/>
              <a:gd name="connsiteY14" fmla="*/ 292611 h 536168"/>
              <a:gd name="connsiteX15" fmla="*/ 1640 w 576618"/>
              <a:gd name="connsiteY15" fmla="*/ 282453 h 536168"/>
              <a:gd name="connsiteX16" fmla="*/ 11797 w 576618"/>
              <a:gd name="connsiteY16" fmla="*/ 281449 h 536168"/>
              <a:gd name="connsiteX17" fmla="*/ 21136 w 576618"/>
              <a:gd name="connsiteY17" fmla="*/ 289151 h 536168"/>
              <a:gd name="connsiteX18" fmla="*/ 218970 w 576618"/>
              <a:gd name="connsiteY18" fmla="*/ 9097 h 536168"/>
              <a:gd name="connsiteX19" fmla="*/ 398231 w 576618"/>
              <a:gd name="connsiteY19" fmla="*/ 23496 h 536168"/>
              <a:gd name="connsiteX20" fmla="*/ 528085 w 576618"/>
              <a:gd name="connsiteY20" fmla="*/ 147949 h 536168"/>
              <a:gd name="connsiteX21" fmla="*/ 524885 w 576618"/>
              <a:gd name="connsiteY21" fmla="*/ 157623 h 536168"/>
              <a:gd name="connsiteX22" fmla="*/ 515212 w 576618"/>
              <a:gd name="connsiteY22" fmla="*/ 154423 h 536168"/>
              <a:gd name="connsiteX23" fmla="*/ 222728 w 576618"/>
              <a:gd name="connsiteY23" fmla="*/ 23007 h 536168"/>
              <a:gd name="connsiteX24" fmla="*/ 35542 w 576618"/>
              <a:gd name="connsiteY24" fmla="*/ 288144 h 536168"/>
              <a:gd name="connsiteX25" fmla="*/ 43579 w 576618"/>
              <a:gd name="connsiteY25" fmla="*/ 278359 h 536168"/>
              <a:gd name="connsiteX26" fmla="*/ 53736 w 576618"/>
              <a:gd name="connsiteY26" fmla="*/ 277355 h 536168"/>
              <a:gd name="connsiteX27" fmla="*/ 54741 w 576618"/>
              <a:gd name="connsiteY27" fmla="*/ 287512 h 536168"/>
              <a:gd name="connsiteX28" fmla="*/ 35802 w 576618"/>
              <a:gd name="connsiteY28" fmla="*/ 310544 h 536168"/>
              <a:gd name="connsiteX29" fmla="*/ 574074 w 576618"/>
              <a:gd name="connsiteY29" fmla="*/ 243609 h 536168"/>
              <a:gd name="connsiteX30" fmla="*/ 551042 w 576618"/>
              <a:gd name="connsiteY30" fmla="*/ 224670 h 536168"/>
              <a:gd name="connsiteX31" fmla="*/ 550856 w 576618"/>
              <a:gd name="connsiteY31" fmla="*/ 224559 h 536168"/>
              <a:gd name="connsiteX32" fmla="*/ 550410 w 576618"/>
              <a:gd name="connsiteY32" fmla="*/ 224261 h 536168"/>
              <a:gd name="connsiteX33" fmla="*/ 549666 w 576618"/>
              <a:gd name="connsiteY33" fmla="*/ 223815 h 536168"/>
              <a:gd name="connsiteX34" fmla="*/ 549219 w 576618"/>
              <a:gd name="connsiteY34" fmla="*/ 223629 h 536168"/>
              <a:gd name="connsiteX35" fmla="*/ 548363 w 576618"/>
              <a:gd name="connsiteY35" fmla="*/ 223294 h 536168"/>
              <a:gd name="connsiteX36" fmla="*/ 547880 w 576618"/>
              <a:gd name="connsiteY36" fmla="*/ 223182 h 536168"/>
              <a:gd name="connsiteX37" fmla="*/ 546987 w 576618"/>
              <a:gd name="connsiteY37" fmla="*/ 223033 h 536168"/>
              <a:gd name="connsiteX38" fmla="*/ 546391 w 576618"/>
              <a:gd name="connsiteY38" fmla="*/ 223033 h 536168"/>
              <a:gd name="connsiteX39" fmla="*/ 545759 w 576618"/>
              <a:gd name="connsiteY39" fmla="*/ 223033 h 536168"/>
              <a:gd name="connsiteX40" fmla="*/ 545647 w 576618"/>
              <a:gd name="connsiteY40" fmla="*/ 223071 h 536168"/>
              <a:gd name="connsiteX41" fmla="*/ 545387 w 576618"/>
              <a:gd name="connsiteY41" fmla="*/ 223071 h 536168"/>
              <a:gd name="connsiteX42" fmla="*/ 543192 w 576618"/>
              <a:gd name="connsiteY42" fmla="*/ 223777 h 536168"/>
              <a:gd name="connsiteX43" fmla="*/ 542931 w 576618"/>
              <a:gd name="connsiteY43" fmla="*/ 223889 h 536168"/>
              <a:gd name="connsiteX44" fmla="*/ 540959 w 576618"/>
              <a:gd name="connsiteY44" fmla="*/ 225489 h 536168"/>
              <a:gd name="connsiteX45" fmla="*/ 540810 w 576618"/>
              <a:gd name="connsiteY45" fmla="*/ 225601 h 536168"/>
              <a:gd name="connsiteX46" fmla="*/ 521872 w 576618"/>
              <a:gd name="connsiteY46" fmla="*/ 248632 h 536168"/>
              <a:gd name="connsiteX47" fmla="*/ 522876 w 576618"/>
              <a:gd name="connsiteY47" fmla="*/ 258790 h 536168"/>
              <a:gd name="connsiteX48" fmla="*/ 527453 w 576618"/>
              <a:gd name="connsiteY48" fmla="*/ 260427 h 536168"/>
              <a:gd name="connsiteX49" fmla="*/ 533034 w 576618"/>
              <a:gd name="connsiteY49" fmla="*/ 257785 h 536168"/>
              <a:gd name="connsiteX50" fmla="*/ 541071 w 576618"/>
              <a:gd name="connsiteY50" fmla="*/ 248000 h 536168"/>
              <a:gd name="connsiteX51" fmla="*/ 353885 w 576618"/>
              <a:gd name="connsiteY51" fmla="*/ 513138 h 536168"/>
              <a:gd name="connsiteX52" fmla="*/ 288773 w 576618"/>
              <a:gd name="connsiteY52" fmla="*/ 521733 h 536168"/>
              <a:gd name="connsiteX53" fmla="*/ 61402 w 576618"/>
              <a:gd name="connsiteY53" fmla="*/ 381763 h 536168"/>
              <a:gd name="connsiteX54" fmla="*/ 51728 w 576618"/>
              <a:gd name="connsiteY54" fmla="*/ 378526 h 536168"/>
              <a:gd name="connsiteX55" fmla="*/ 48492 w 576618"/>
              <a:gd name="connsiteY55" fmla="*/ 388199 h 536168"/>
              <a:gd name="connsiteX56" fmla="*/ 178346 w 576618"/>
              <a:gd name="connsiteY56" fmla="*/ 512653 h 536168"/>
              <a:gd name="connsiteX57" fmla="*/ 288369 w 576618"/>
              <a:gd name="connsiteY57" fmla="*/ 536168 h 536168"/>
              <a:gd name="connsiteX58" fmla="*/ 357648 w 576618"/>
              <a:gd name="connsiteY58" fmla="*/ 527090 h 536168"/>
              <a:gd name="connsiteX59" fmla="*/ 555483 w 576618"/>
              <a:gd name="connsiteY59" fmla="*/ 247036 h 536168"/>
              <a:gd name="connsiteX60" fmla="*/ 564822 w 576618"/>
              <a:gd name="connsiteY60" fmla="*/ 254738 h 536168"/>
              <a:gd name="connsiteX61" fmla="*/ 574979 w 576618"/>
              <a:gd name="connsiteY61" fmla="*/ 253733 h 536168"/>
              <a:gd name="connsiteX62" fmla="*/ 573974 w 576618"/>
              <a:gd name="connsiteY62" fmla="*/ 243576 h 536168"/>
              <a:gd name="connsiteX63" fmla="*/ 425131 w 576618"/>
              <a:gd name="connsiteY63" fmla="*/ 307493 h 536168"/>
              <a:gd name="connsiteX64" fmla="*/ 412890 w 576618"/>
              <a:gd name="connsiteY64" fmla="*/ 337036 h 536168"/>
              <a:gd name="connsiteX65" fmla="*/ 429521 w 576618"/>
              <a:gd name="connsiteY65" fmla="*/ 353668 h 536168"/>
              <a:gd name="connsiteX66" fmla="*/ 429521 w 576618"/>
              <a:gd name="connsiteY66" fmla="*/ 363862 h 536168"/>
              <a:gd name="connsiteX67" fmla="*/ 384092 w 576618"/>
              <a:gd name="connsiteY67" fmla="*/ 409292 h 536168"/>
              <a:gd name="connsiteX68" fmla="*/ 373897 w 576618"/>
              <a:gd name="connsiteY68" fmla="*/ 409292 h 536168"/>
              <a:gd name="connsiteX69" fmla="*/ 357266 w 576618"/>
              <a:gd name="connsiteY69" fmla="*/ 392660 h 536168"/>
              <a:gd name="connsiteX70" fmla="*/ 327686 w 576618"/>
              <a:gd name="connsiteY70" fmla="*/ 404902 h 536168"/>
              <a:gd name="connsiteX71" fmla="*/ 327686 w 576618"/>
              <a:gd name="connsiteY71" fmla="*/ 428417 h 536168"/>
              <a:gd name="connsiteX72" fmla="*/ 320468 w 576618"/>
              <a:gd name="connsiteY72" fmla="*/ 435635 h 536168"/>
              <a:gd name="connsiteX73" fmla="*/ 256211 w 576618"/>
              <a:gd name="connsiteY73" fmla="*/ 435635 h 536168"/>
              <a:gd name="connsiteX74" fmla="*/ 248993 w 576618"/>
              <a:gd name="connsiteY74" fmla="*/ 428417 h 536168"/>
              <a:gd name="connsiteX75" fmla="*/ 248993 w 576618"/>
              <a:gd name="connsiteY75" fmla="*/ 404902 h 536168"/>
              <a:gd name="connsiteX76" fmla="*/ 219450 w 576618"/>
              <a:gd name="connsiteY76" fmla="*/ 392660 h 536168"/>
              <a:gd name="connsiteX77" fmla="*/ 202819 w 576618"/>
              <a:gd name="connsiteY77" fmla="*/ 409292 h 536168"/>
              <a:gd name="connsiteX78" fmla="*/ 192624 w 576618"/>
              <a:gd name="connsiteY78" fmla="*/ 409292 h 536168"/>
              <a:gd name="connsiteX79" fmla="*/ 147194 w 576618"/>
              <a:gd name="connsiteY79" fmla="*/ 363862 h 536168"/>
              <a:gd name="connsiteX80" fmla="*/ 145074 w 576618"/>
              <a:gd name="connsiteY80" fmla="*/ 358765 h 536168"/>
              <a:gd name="connsiteX81" fmla="*/ 147194 w 576618"/>
              <a:gd name="connsiteY81" fmla="*/ 353667 h 536168"/>
              <a:gd name="connsiteX82" fmla="*/ 163826 w 576618"/>
              <a:gd name="connsiteY82" fmla="*/ 337036 h 536168"/>
              <a:gd name="connsiteX83" fmla="*/ 151585 w 576618"/>
              <a:gd name="connsiteY83" fmla="*/ 307456 h 536168"/>
              <a:gd name="connsiteX84" fmla="*/ 128069 w 576618"/>
              <a:gd name="connsiteY84" fmla="*/ 307456 h 536168"/>
              <a:gd name="connsiteX85" fmla="*/ 120851 w 576618"/>
              <a:gd name="connsiteY85" fmla="*/ 300238 h 536168"/>
              <a:gd name="connsiteX86" fmla="*/ 120851 w 576618"/>
              <a:gd name="connsiteY86" fmla="*/ 235981 h 536168"/>
              <a:gd name="connsiteX87" fmla="*/ 128069 w 576618"/>
              <a:gd name="connsiteY87" fmla="*/ 228763 h 536168"/>
              <a:gd name="connsiteX88" fmla="*/ 151585 w 576618"/>
              <a:gd name="connsiteY88" fmla="*/ 228763 h 536168"/>
              <a:gd name="connsiteX89" fmla="*/ 163863 w 576618"/>
              <a:gd name="connsiteY89" fmla="*/ 199220 h 536168"/>
              <a:gd name="connsiteX90" fmla="*/ 147232 w 576618"/>
              <a:gd name="connsiteY90" fmla="*/ 182589 h 536168"/>
              <a:gd name="connsiteX91" fmla="*/ 147232 w 576618"/>
              <a:gd name="connsiteY91" fmla="*/ 172394 h 536168"/>
              <a:gd name="connsiteX92" fmla="*/ 192661 w 576618"/>
              <a:gd name="connsiteY92" fmla="*/ 126965 h 536168"/>
              <a:gd name="connsiteX93" fmla="*/ 202856 w 576618"/>
              <a:gd name="connsiteY93" fmla="*/ 126965 h 536168"/>
              <a:gd name="connsiteX94" fmla="*/ 219487 w 576618"/>
              <a:gd name="connsiteY94" fmla="*/ 143596 h 536168"/>
              <a:gd name="connsiteX95" fmla="*/ 249030 w 576618"/>
              <a:gd name="connsiteY95" fmla="*/ 131355 h 536168"/>
              <a:gd name="connsiteX96" fmla="*/ 249030 w 576618"/>
              <a:gd name="connsiteY96" fmla="*/ 107839 h 536168"/>
              <a:gd name="connsiteX97" fmla="*/ 256248 w 576618"/>
              <a:gd name="connsiteY97" fmla="*/ 100621 h 536168"/>
              <a:gd name="connsiteX98" fmla="*/ 320505 w 576618"/>
              <a:gd name="connsiteY98" fmla="*/ 100621 h 536168"/>
              <a:gd name="connsiteX99" fmla="*/ 327723 w 576618"/>
              <a:gd name="connsiteY99" fmla="*/ 107839 h 536168"/>
              <a:gd name="connsiteX100" fmla="*/ 327723 w 576618"/>
              <a:gd name="connsiteY100" fmla="*/ 131355 h 536168"/>
              <a:gd name="connsiteX101" fmla="*/ 357266 w 576618"/>
              <a:gd name="connsiteY101" fmla="*/ 143596 h 536168"/>
              <a:gd name="connsiteX102" fmla="*/ 373897 w 576618"/>
              <a:gd name="connsiteY102" fmla="*/ 126965 h 536168"/>
              <a:gd name="connsiteX103" fmla="*/ 384092 w 576618"/>
              <a:gd name="connsiteY103" fmla="*/ 126965 h 536168"/>
              <a:gd name="connsiteX104" fmla="*/ 429521 w 576618"/>
              <a:gd name="connsiteY104" fmla="*/ 172394 h 536168"/>
              <a:gd name="connsiteX105" fmla="*/ 429521 w 576618"/>
              <a:gd name="connsiteY105" fmla="*/ 182589 h 536168"/>
              <a:gd name="connsiteX106" fmla="*/ 412890 w 576618"/>
              <a:gd name="connsiteY106" fmla="*/ 199220 h 536168"/>
              <a:gd name="connsiteX107" fmla="*/ 425131 w 576618"/>
              <a:gd name="connsiteY107" fmla="*/ 228800 h 536168"/>
              <a:gd name="connsiteX108" fmla="*/ 448647 w 576618"/>
              <a:gd name="connsiteY108" fmla="*/ 228800 h 536168"/>
              <a:gd name="connsiteX109" fmla="*/ 455865 w 576618"/>
              <a:gd name="connsiteY109" fmla="*/ 236018 h 536168"/>
              <a:gd name="connsiteX110" fmla="*/ 455865 w 576618"/>
              <a:gd name="connsiteY110" fmla="*/ 300275 h 536168"/>
              <a:gd name="connsiteX111" fmla="*/ 448647 w 576618"/>
              <a:gd name="connsiteY111" fmla="*/ 307493 h 536168"/>
              <a:gd name="connsiteX112" fmla="*/ 419587 w 576618"/>
              <a:gd name="connsiteY112" fmla="*/ 293057 h 536168"/>
              <a:gd name="connsiteX113" fmla="*/ 441428 w 576618"/>
              <a:gd name="connsiteY113" fmla="*/ 293057 h 536168"/>
              <a:gd name="connsiteX114" fmla="*/ 441428 w 576618"/>
              <a:gd name="connsiteY114" fmla="*/ 243237 h 536168"/>
              <a:gd name="connsiteX115" fmla="*/ 419587 w 576618"/>
              <a:gd name="connsiteY115" fmla="*/ 243237 h 536168"/>
              <a:gd name="connsiteX116" fmla="*/ 412592 w 576618"/>
              <a:gd name="connsiteY116" fmla="*/ 237730 h 536168"/>
              <a:gd name="connsiteX117" fmla="*/ 397710 w 576618"/>
              <a:gd name="connsiteY117" fmla="*/ 201826 h 536168"/>
              <a:gd name="connsiteX118" fmla="*/ 398789 w 576618"/>
              <a:gd name="connsiteY118" fmla="*/ 192970 h 536168"/>
              <a:gd name="connsiteX119" fmla="*/ 414230 w 576618"/>
              <a:gd name="connsiteY119" fmla="*/ 177529 h 536168"/>
              <a:gd name="connsiteX120" fmla="*/ 378995 w 576618"/>
              <a:gd name="connsiteY120" fmla="*/ 142294 h 536168"/>
              <a:gd name="connsiteX121" fmla="*/ 363517 w 576618"/>
              <a:gd name="connsiteY121" fmla="*/ 157772 h 536168"/>
              <a:gd name="connsiteX122" fmla="*/ 354661 w 576618"/>
              <a:gd name="connsiteY122" fmla="*/ 158851 h 536168"/>
              <a:gd name="connsiteX123" fmla="*/ 318757 w 576618"/>
              <a:gd name="connsiteY123" fmla="*/ 143969 h 536168"/>
              <a:gd name="connsiteX124" fmla="*/ 313250 w 576618"/>
              <a:gd name="connsiteY124" fmla="*/ 136974 h 536168"/>
              <a:gd name="connsiteX125" fmla="*/ 313250 w 576618"/>
              <a:gd name="connsiteY125" fmla="*/ 115133 h 536168"/>
              <a:gd name="connsiteX126" fmla="*/ 263430 w 576618"/>
              <a:gd name="connsiteY126" fmla="*/ 115133 h 536168"/>
              <a:gd name="connsiteX127" fmla="*/ 263430 w 576618"/>
              <a:gd name="connsiteY127" fmla="*/ 136974 h 536168"/>
              <a:gd name="connsiteX128" fmla="*/ 257923 w 576618"/>
              <a:gd name="connsiteY128" fmla="*/ 143969 h 536168"/>
              <a:gd name="connsiteX129" fmla="*/ 222019 w 576618"/>
              <a:gd name="connsiteY129" fmla="*/ 158851 h 536168"/>
              <a:gd name="connsiteX130" fmla="*/ 213163 w 576618"/>
              <a:gd name="connsiteY130" fmla="*/ 157772 h 536168"/>
              <a:gd name="connsiteX131" fmla="*/ 197685 w 576618"/>
              <a:gd name="connsiteY131" fmla="*/ 142294 h 536168"/>
              <a:gd name="connsiteX132" fmla="*/ 162450 w 576618"/>
              <a:gd name="connsiteY132" fmla="*/ 177529 h 536168"/>
              <a:gd name="connsiteX133" fmla="*/ 177891 w 576618"/>
              <a:gd name="connsiteY133" fmla="*/ 192970 h 536168"/>
              <a:gd name="connsiteX134" fmla="*/ 178970 w 576618"/>
              <a:gd name="connsiteY134" fmla="*/ 201826 h 536168"/>
              <a:gd name="connsiteX135" fmla="*/ 164087 w 576618"/>
              <a:gd name="connsiteY135" fmla="*/ 237730 h 536168"/>
              <a:gd name="connsiteX136" fmla="*/ 157093 w 576618"/>
              <a:gd name="connsiteY136" fmla="*/ 243237 h 536168"/>
              <a:gd name="connsiteX137" fmla="*/ 135252 w 576618"/>
              <a:gd name="connsiteY137" fmla="*/ 243237 h 536168"/>
              <a:gd name="connsiteX138" fmla="*/ 135252 w 576618"/>
              <a:gd name="connsiteY138" fmla="*/ 293057 h 536168"/>
              <a:gd name="connsiteX139" fmla="*/ 157093 w 576618"/>
              <a:gd name="connsiteY139" fmla="*/ 293057 h 536168"/>
              <a:gd name="connsiteX140" fmla="*/ 164087 w 576618"/>
              <a:gd name="connsiteY140" fmla="*/ 298564 h 536168"/>
              <a:gd name="connsiteX141" fmla="*/ 178970 w 576618"/>
              <a:gd name="connsiteY141" fmla="*/ 334468 h 536168"/>
              <a:gd name="connsiteX142" fmla="*/ 177891 w 576618"/>
              <a:gd name="connsiteY142" fmla="*/ 343323 h 536168"/>
              <a:gd name="connsiteX143" fmla="*/ 162450 w 576618"/>
              <a:gd name="connsiteY143" fmla="*/ 358764 h 536168"/>
              <a:gd name="connsiteX144" fmla="*/ 197685 w 576618"/>
              <a:gd name="connsiteY144" fmla="*/ 393999 h 536168"/>
              <a:gd name="connsiteX145" fmla="*/ 213163 w 576618"/>
              <a:gd name="connsiteY145" fmla="*/ 378521 h 536168"/>
              <a:gd name="connsiteX146" fmla="*/ 222019 w 576618"/>
              <a:gd name="connsiteY146" fmla="*/ 377442 h 536168"/>
              <a:gd name="connsiteX147" fmla="*/ 257923 w 576618"/>
              <a:gd name="connsiteY147" fmla="*/ 392325 h 536168"/>
              <a:gd name="connsiteX148" fmla="*/ 263430 w 576618"/>
              <a:gd name="connsiteY148" fmla="*/ 399320 h 536168"/>
              <a:gd name="connsiteX149" fmla="*/ 263430 w 576618"/>
              <a:gd name="connsiteY149" fmla="*/ 421161 h 536168"/>
              <a:gd name="connsiteX150" fmla="*/ 313250 w 576618"/>
              <a:gd name="connsiteY150" fmla="*/ 421161 h 536168"/>
              <a:gd name="connsiteX151" fmla="*/ 313250 w 576618"/>
              <a:gd name="connsiteY151" fmla="*/ 399320 h 536168"/>
              <a:gd name="connsiteX152" fmla="*/ 318757 w 576618"/>
              <a:gd name="connsiteY152" fmla="*/ 392325 h 536168"/>
              <a:gd name="connsiteX153" fmla="*/ 354661 w 576618"/>
              <a:gd name="connsiteY153" fmla="*/ 377442 h 536168"/>
              <a:gd name="connsiteX154" fmla="*/ 363517 w 576618"/>
              <a:gd name="connsiteY154" fmla="*/ 378521 h 536168"/>
              <a:gd name="connsiteX155" fmla="*/ 378958 w 576618"/>
              <a:gd name="connsiteY155" fmla="*/ 393962 h 536168"/>
              <a:gd name="connsiteX156" fmla="*/ 414192 w 576618"/>
              <a:gd name="connsiteY156" fmla="*/ 358727 h 536168"/>
              <a:gd name="connsiteX157" fmla="*/ 398714 w 576618"/>
              <a:gd name="connsiteY157" fmla="*/ 343249 h 536168"/>
              <a:gd name="connsiteX158" fmla="*/ 397635 w 576618"/>
              <a:gd name="connsiteY158" fmla="*/ 334394 h 536168"/>
              <a:gd name="connsiteX159" fmla="*/ 412518 w 576618"/>
              <a:gd name="connsiteY159" fmla="*/ 298489 h 536168"/>
              <a:gd name="connsiteX160" fmla="*/ 419513 w 576618"/>
              <a:gd name="connsiteY160" fmla="*/ 292983 h 536168"/>
              <a:gd name="connsiteX161" fmla="*/ 370214 w 576618"/>
              <a:gd name="connsiteY161" fmla="*/ 268128 h 536168"/>
              <a:gd name="connsiteX162" fmla="*/ 288358 w 576618"/>
              <a:gd name="connsiteY162" fmla="*/ 349984 h 536168"/>
              <a:gd name="connsiteX163" fmla="*/ 206465 w 576618"/>
              <a:gd name="connsiteY163" fmla="*/ 268128 h 536168"/>
              <a:gd name="connsiteX164" fmla="*/ 288358 w 576618"/>
              <a:gd name="connsiteY164" fmla="*/ 186272 h 536168"/>
              <a:gd name="connsiteX165" fmla="*/ 370214 w 576618"/>
              <a:gd name="connsiteY165" fmla="*/ 268128 h 536168"/>
              <a:gd name="connsiteX166" fmla="*/ 355778 w 576618"/>
              <a:gd name="connsiteY166" fmla="*/ 268128 h 536168"/>
              <a:gd name="connsiteX167" fmla="*/ 288322 w 576618"/>
              <a:gd name="connsiteY167" fmla="*/ 200672 h 536168"/>
              <a:gd name="connsiteX168" fmla="*/ 220865 w 576618"/>
              <a:gd name="connsiteY168" fmla="*/ 268128 h 536168"/>
              <a:gd name="connsiteX169" fmla="*/ 288322 w 576618"/>
              <a:gd name="connsiteY169" fmla="*/ 335584 h 536168"/>
              <a:gd name="connsiteX170" fmla="*/ 355778 w 576618"/>
              <a:gd name="connsiteY170" fmla="*/ 268128 h 536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576618" h="536168">
                <a:moveTo>
                  <a:pt x="35759" y="310619"/>
                </a:moveTo>
                <a:cubicBezTo>
                  <a:pt x="35684" y="310731"/>
                  <a:pt x="35573" y="310805"/>
                  <a:pt x="35498" y="310880"/>
                </a:cubicBezTo>
                <a:cubicBezTo>
                  <a:pt x="35275" y="311140"/>
                  <a:pt x="35052" y="311363"/>
                  <a:pt x="34791" y="311549"/>
                </a:cubicBezTo>
                <a:cubicBezTo>
                  <a:pt x="34643" y="311661"/>
                  <a:pt x="34457" y="311810"/>
                  <a:pt x="34308" y="311922"/>
                </a:cubicBezTo>
                <a:cubicBezTo>
                  <a:pt x="34047" y="312108"/>
                  <a:pt x="33824" y="312256"/>
                  <a:pt x="33526" y="312405"/>
                </a:cubicBezTo>
                <a:cubicBezTo>
                  <a:pt x="33340" y="312517"/>
                  <a:pt x="33154" y="312591"/>
                  <a:pt x="32968" y="312666"/>
                </a:cubicBezTo>
                <a:cubicBezTo>
                  <a:pt x="32708" y="312777"/>
                  <a:pt x="32447" y="312852"/>
                  <a:pt x="32150" y="312926"/>
                </a:cubicBezTo>
                <a:cubicBezTo>
                  <a:pt x="31926" y="313001"/>
                  <a:pt x="31740" y="313038"/>
                  <a:pt x="31517" y="313075"/>
                </a:cubicBezTo>
                <a:cubicBezTo>
                  <a:pt x="31443" y="313075"/>
                  <a:pt x="31331" y="313112"/>
                  <a:pt x="31257" y="313149"/>
                </a:cubicBezTo>
                <a:cubicBezTo>
                  <a:pt x="30885" y="313187"/>
                  <a:pt x="30550" y="313224"/>
                  <a:pt x="30215" y="313224"/>
                </a:cubicBezTo>
                <a:cubicBezTo>
                  <a:pt x="30140" y="313224"/>
                  <a:pt x="30103" y="313187"/>
                  <a:pt x="30029" y="313187"/>
                </a:cubicBezTo>
                <a:cubicBezTo>
                  <a:pt x="29248" y="313149"/>
                  <a:pt x="28503" y="313038"/>
                  <a:pt x="27759" y="312777"/>
                </a:cubicBezTo>
                <a:cubicBezTo>
                  <a:pt x="27350" y="312628"/>
                  <a:pt x="27015" y="312368"/>
                  <a:pt x="26680" y="312145"/>
                </a:cubicBezTo>
                <a:cubicBezTo>
                  <a:pt x="26345" y="311959"/>
                  <a:pt x="25973" y="311810"/>
                  <a:pt x="25676" y="311549"/>
                </a:cubicBezTo>
                <a:lnTo>
                  <a:pt x="2644" y="292611"/>
                </a:lnTo>
                <a:cubicBezTo>
                  <a:pt x="-444" y="290081"/>
                  <a:pt x="-890" y="285542"/>
                  <a:pt x="1640" y="282453"/>
                </a:cubicBezTo>
                <a:cubicBezTo>
                  <a:pt x="4170" y="279365"/>
                  <a:pt x="8709" y="278919"/>
                  <a:pt x="11797" y="281449"/>
                </a:cubicBezTo>
                <a:lnTo>
                  <a:pt x="21136" y="289151"/>
                </a:lnTo>
                <a:cubicBezTo>
                  <a:pt x="10979" y="161192"/>
                  <a:pt x="93355" y="42729"/>
                  <a:pt x="218970" y="9097"/>
                </a:cubicBezTo>
                <a:cubicBezTo>
                  <a:pt x="278427" y="-6828"/>
                  <a:pt x="342090" y="-1730"/>
                  <a:pt x="398231" y="23496"/>
                </a:cubicBezTo>
                <a:cubicBezTo>
                  <a:pt x="454376" y="48722"/>
                  <a:pt x="500472" y="92924"/>
                  <a:pt x="528085" y="147949"/>
                </a:cubicBezTo>
                <a:cubicBezTo>
                  <a:pt x="529871" y="151521"/>
                  <a:pt x="528420" y="155837"/>
                  <a:pt x="524885" y="157623"/>
                </a:cubicBezTo>
                <a:cubicBezTo>
                  <a:pt x="521313" y="159409"/>
                  <a:pt x="516997" y="157958"/>
                  <a:pt x="515212" y="154423"/>
                </a:cubicBezTo>
                <a:cubicBezTo>
                  <a:pt x="461522" y="47267"/>
                  <a:pt x="338513" y="-7988"/>
                  <a:pt x="222728" y="23007"/>
                </a:cubicBezTo>
                <a:cubicBezTo>
                  <a:pt x="103856" y="54856"/>
                  <a:pt x="25865" y="167034"/>
                  <a:pt x="35542" y="288144"/>
                </a:cubicBezTo>
                <a:lnTo>
                  <a:pt x="43579" y="278359"/>
                </a:lnTo>
                <a:cubicBezTo>
                  <a:pt x="46109" y="275271"/>
                  <a:pt x="50648" y="274825"/>
                  <a:pt x="53736" y="277355"/>
                </a:cubicBezTo>
                <a:cubicBezTo>
                  <a:pt x="56825" y="279885"/>
                  <a:pt x="57271" y="284424"/>
                  <a:pt x="54741" y="287512"/>
                </a:cubicBezTo>
                <a:lnTo>
                  <a:pt x="35802" y="310544"/>
                </a:lnTo>
                <a:close/>
                <a:moveTo>
                  <a:pt x="574074" y="243609"/>
                </a:moveTo>
                <a:lnTo>
                  <a:pt x="551042" y="224670"/>
                </a:lnTo>
                <a:cubicBezTo>
                  <a:pt x="550968" y="224633"/>
                  <a:pt x="550931" y="224596"/>
                  <a:pt x="550856" y="224559"/>
                </a:cubicBezTo>
                <a:cubicBezTo>
                  <a:pt x="550707" y="224447"/>
                  <a:pt x="550559" y="224373"/>
                  <a:pt x="550410" y="224261"/>
                </a:cubicBezTo>
                <a:cubicBezTo>
                  <a:pt x="550149" y="224112"/>
                  <a:pt x="549926" y="223926"/>
                  <a:pt x="549666" y="223815"/>
                </a:cubicBezTo>
                <a:cubicBezTo>
                  <a:pt x="549517" y="223740"/>
                  <a:pt x="549368" y="223703"/>
                  <a:pt x="549219" y="223629"/>
                </a:cubicBezTo>
                <a:cubicBezTo>
                  <a:pt x="548921" y="223517"/>
                  <a:pt x="548661" y="223405"/>
                  <a:pt x="548363" y="223294"/>
                </a:cubicBezTo>
                <a:cubicBezTo>
                  <a:pt x="548215" y="223257"/>
                  <a:pt x="548028" y="223219"/>
                  <a:pt x="547880" y="223182"/>
                </a:cubicBezTo>
                <a:cubicBezTo>
                  <a:pt x="547582" y="223108"/>
                  <a:pt x="547284" y="223071"/>
                  <a:pt x="546987" y="223033"/>
                </a:cubicBezTo>
                <a:lnTo>
                  <a:pt x="546391" y="223033"/>
                </a:lnTo>
                <a:cubicBezTo>
                  <a:pt x="546168" y="223033"/>
                  <a:pt x="545982" y="222996"/>
                  <a:pt x="545759" y="223033"/>
                </a:cubicBezTo>
                <a:cubicBezTo>
                  <a:pt x="545722" y="223033"/>
                  <a:pt x="545684" y="223071"/>
                  <a:pt x="545647" y="223071"/>
                </a:cubicBezTo>
                <a:lnTo>
                  <a:pt x="545387" y="223071"/>
                </a:lnTo>
                <a:cubicBezTo>
                  <a:pt x="544605" y="223182"/>
                  <a:pt x="543861" y="223443"/>
                  <a:pt x="543192" y="223777"/>
                </a:cubicBezTo>
                <a:cubicBezTo>
                  <a:pt x="543117" y="223815"/>
                  <a:pt x="543006" y="223852"/>
                  <a:pt x="542931" y="223889"/>
                </a:cubicBezTo>
                <a:cubicBezTo>
                  <a:pt x="542187" y="224298"/>
                  <a:pt x="541517" y="224856"/>
                  <a:pt x="540959" y="225489"/>
                </a:cubicBezTo>
                <a:cubicBezTo>
                  <a:pt x="540922" y="225526"/>
                  <a:pt x="540848" y="225563"/>
                  <a:pt x="540810" y="225601"/>
                </a:cubicBezTo>
                <a:lnTo>
                  <a:pt x="521872" y="248632"/>
                </a:lnTo>
                <a:cubicBezTo>
                  <a:pt x="519342" y="251720"/>
                  <a:pt x="519788" y="256259"/>
                  <a:pt x="522876" y="258790"/>
                </a:cubicBezTo>
                <a:cubicBezTo>
                  <a:pt x="524216" y="259906"/>
                  <a:pt x="525853" y="260427"/>
                  <a:pt x="527453" y="260427"/>
                </a:cubicBezTo>
                <a:cubicBezTo>
                  <a:pt x="529536" y="260427"/>
                  <a:pt x="531620" y="259534"/>
                  <a:pt x="533034" y="257785"/>
                </a:cubicBezTo>
                <a:lnTo>
                  <a:pt x="541071" y="248000"/>
                </a:lnTo>
                <a:cubicBezTo>
                  <a:pt x="550781" y="369110"/>
                  <a:pt x="472795" y="481286"/>
                  <a:pt x="353885" y="513138"/>
                </a:cubicBezTo>
                <a:cubicBezTo>
                  <a:pt x="332268" y="518942"/>
                  <a:pt x="310390" y="521733"/>
                  <a:pt x="288773" y="521733"/>
                </a:cubicBezTo>
                <a:cubicBezTo>
                  <a:pt x="194603" y="521733"/>
                  <a:pt x="105084" y="468898"/>
                  <a:pt x="61402" y="381763"/>
                </a:cubicBezTo>
                <a:cubicBezTo>
                  <a:pt x="59616" y="378191"/>
                  <a:pt x="55263" y="376777"/>
                  <a:pt x="51728" y="378526"/>
                </a:cubicBezTo>
                <a:cubicBezTo>
                  <a:pt x="48157" y="380312"/>
                  <a:pt x="46706" y="384665"/>
                  <a:pt x="48492" y="388199"/>
                </a:cubicBezTo>
                <a:cubicBezTo>
                  <a:pt x="76062" y="443228"/>
                  <a:pt x="122199" y="487431"/>
                  <a:pt x="178346" y="512653"/>
                </a:cubicBezTo>
                <a:cubicBezTo>
                  <a:pt x="213060" y="528243"/>
                  <a:pt x="250639" y="536168"/>
                  <a:pt x="288369" y="536168"/>
                </a:cubicBezTo>
                <a:cubicBezTo>
                  <a:pt x="311623" y="536168"/>
                  <a:pt x="334952" y="533155"/>
                  <a:pt x="357648" y="527090"/>
                </a:cubicBezTo>
                <a:cubicBezTo>
                  <a:pt x="483264" y="493417"/>
                  <a:pt x="565674" y="374947"/>
                  <a:pt x="555483" y="247036"/>
                </a:cubicBezTo>
                <a:lnTo>
                  <a:pt x="564822" y="254738"/>
                </a:lnTo>
                <a:cubicBezTo>
                  <a:pt x="567910" y="257268"/>
                  <a:pt x="572449" y="256821"/>
                  <a:pt x="574979" y="253733"/>
                </a:cubicBezTo>
                <a:cubicBezTo>
                  <a:pt x="577509" y="250645"/>
                  <a:pt x="577063" y="246106"/>
                  <a:pt x="573974" y="243576"/>
                </a:cubicBezTo>
                <a:close/>
                <a:moveTo>
                  <a:pt x="425131" y="307493"/>
                </a:moveTo>
                <a:cubicBezTo>
                  <a:pt x="422192" y="317762"/>
                  <a:pt x="418062" y="327660"/>
                  <a:pt x="412890" y="337036"/>
                </a:cubicBezTo>
                <a:lnTo>
                  <a:pt x="429521" y="353668"/>
                </a:lnTo>
                <a:cubicBezTo>
                  <a:pt x="432349" y="356495"/>
                  <a:pt x="432349" y="361072"/>
                  <a:pt x="429521" y="363862"/>
                </a:cubicBezTo>
                <a:lnTo>
                  <a:pt x="384092" y="409292"/>
                </a:lnTo>
                <a:cubicBezTo>
                  <a:pt x="381376" y="412008"/>
                  <a:pt x="376576" y="412008"/>
                  <a:pt x="373897" y="409292"/>
                </a:cubicBezTo>
                <a:lnTo>
                  <a:pt x="357266" y="392660"/>
                </a:lnTo>
                <a:cubicBezTo>
                  <a:pt x="347889" y="397869"/>
                  <a:pt x="337993" y="401962"/>
                  <a:pt x="327686" y="404902"/>
                </a:cubicBezTo>
                <a:lnTo>
                  <a:pt x="327686" y="428417"/>
                </a:lnTo>
                <a:cubicBezTo>
                  <a:pt x="327686" y="432398"/>
                  <a:pt x="324449" y="435635"/>
                  <a:pt x="320468" y="435635"/>
                </a:cubicBezTo>
                <a:lnTo>
                  <a:pt x="256211" y="435635"/>
                </a:lnTo>
                <a:cubicBezTo>
                  <a:pt x="252230" y="435635"/>
                  <a:pt x="248993" y="432398"/>
                  <a:pt x="248993" y="428417"/>
                </a:cubicBezTo>
                <a:lnTo>
                  <a:pt x="248993" y="404902"/>
                </a:lnTo>
                <a:cubicBezTo>
                  <a:pt x="238724" y="401962"/>
                  <a:pt x="228827" y="397832"/>
                  <a:pt x="219450" y="392660"/>
                </a:cubicBezTo>
                <a:lnTo>
                  <a:pt x="202819" y="409292"/>
                </a:lnTo>
                <a:cubicBezTo>
                  <a:pt x="199991" y="412119"/>
                  <a:pt x="195452" y="412119"/>
                  <a:pt x="192624" y="409292"/>
                </a:cubicBezTo>
                <a:lnTo>
                  <a:pt x="147194" y="363862"/>
                </a:lnTo>
                <a:cubicBezTo>
                  <a:pt x="145855" y="362523"/>
                  <a:pt x="145074" y="360662"/>
                  <a:pt x="145074" y="358765"/>
                </a:cubicBezTo>
                <a:cubicBezTo>
                  <a:pt x="145074" y="356867"/>
                  <a:pt x="145818" y="355007"/>
                  <a:pt x="147194" y="353667"/>
                </a:cubicBezTo>
                <a:lnTo>
                  <a:pt x="163826" y="337036"/>
                </a:lnTo>
                <a:cubicBezTo>
                  <a:pt x="158617" y="327660"/>
                  <a:pt x="154524" y="317763"/>
                  <a:pt x="151585" y="307456"/>
                </a:cubicBezTo>
                <a:lnTo>
                  <a:pt x="128069" y="307456"/>
                </a:lnTo>
                <a:cubicBezTo>
                  <a:pt x="124088" y="307456"/>
                  <a:pt x="120851" y="304219"/>
                  <a:pt x="120851" y="300238"/>
                </a:cubicBezTo>
                <a:lnTo>
                  <a:pt x="120851" y="235981"/>
                </a:lnTo>
                <a:cubicBezTo>
                  <a:pt x="120851" y="232000"/>
                  <a:pt x="124088" y="228763"/>
                  <a:pt x="128069" y="228763"/>
                </a:cubicBezTo>
                <a:lnTo>
                  <a:pt x="151585" y="228763"/>
                </a:lnTo>
                <a:cubicBezTo>
                  <a:pt x="154524" y="218494"/>
                  <a:pt x="158654" y="208597"/>
                  <a:pt x="163863" y="199220"/>
                </a:cubicBezTo>
                <a:lnTo>
                  <a:pt x="147232" y="182589"/>
                </a:lnTo>
                <a:cubicBezTo>
                  <a:pt x="144404" y="179761"/>
                  <a:pt x="144404" y="175184"/>
                  <a:pt x="147232" y="172394"/>
                </a:cubicBezTo>
                <a:lnTo>
                  <a:pt x="192661" y="126965"/>
                </a:lnTo>
                <a:cubicBezTo>
                  <a:pt x="195489" y="124137"/>
                  <a:pt x="200065" y="124137"/>
                  <a:pt x="202856" y="126965"/>
                </a:cubicBezTo>
                <a:lnTo>
                  <a:pt x="219487" y="143596"/>
                </a:lnTo>
                <a:cubicBezTo>
                  <a:pt x="228863" y="138387"/>
                  <a:pt x="238760" y="134294"/>
                  <a:pt x="249030" y="131355"/>
                </a:cubicBezTo>
                <a:lnTo>
                  <a:pt x="249030" y="107839"/>
                </a:lnTo>
                <a:cubicBezTo>
                  <a:pt x="249030" y="103858"/>
                  <a:pt x="252267" y="100621"/>
                  <a:pt x="256248" y="100621"/>
                </a:cubicBezTo>
                <a:lnTo>
                  <a:pt x="320505" y="100621"/>
                </a:lnTo>
                <a:cubicBezTo>
                  <a:pt x="324486" y="100621"/>
                  <a:pt x="327723" y="103858"/>
                  <a:pt x="327723" y="107839"/>
                </a:cubicBezTo>
                <a:lnTo>
                  <a:pt x="327723" y="131355"/>
                </a:lnTo>
                <a:cubicBezTo>
                  <a:pt x="337992" y="134294"/>
                  <a:pt x="347889" y="138424"/>
                  <a:pt x="357266" y="143596"/>
                </a:cubicBezTo>
                <a:lnTo>
                  <a:pt x="373897" y="126965"/>
                </a:lnTo>
                <a:cubicBezTo>
                  <a:pt x="376725" y="124137"/>
                  <a:pt x="381264" y="124137"/>
                  <a:pt x="384092" y="126965"/>
                </a:cubicBezTo>
                <a:lnTo>
                  <a:pt x="429521" y="172394"/>
                </a:lnTo>
                <a:cubicBezTo>
                  <a:pt x="432349" y="175222"/>
                  <a:pt x="432349" y="179798"/>
                  <a:pt x="429521" y="182589"/>
                </a:cubicBezTo>
                <a:lnTo>
                  <a:pt x="412890" y="199220"/>
                </a:lnTo>
                <a:cubicBezTo>
                  <a:pt x="418099" y="208596"/>
                  <a:pt x="422191" y="218493"/>
                  <a:pt x="425131" y="228800"/>
                </a:cubicBezTo>
                <a:lnTo>
                  <a:pt x="448647" y="228800"/>
                </a:lnTo>
                <a:cubicBezTo>
                  <a:pt x="452628" y="228800"/>
                  <a:pt x="455865" y="232037"/>
                  <a:pt x="455865" y="236018"/>
                </a:cubicBezTo>
                <a:lnTo>
                  <a:pt x="455865" y="300275"/>
                </a:lnTo>
                <a:cubicBezTo>
                  <a:pt x="455865" y="304256"/>
                  <a:pt x="452628" y="307493"/>
                  <a:pt x="448647" y="307493"/>
                </a:cubicBezTo>
                <a:close/>
                <a:moveTo>
                  <a:pt x="419587" y="293057"/>
                </a:moveTo>
                <a:lnTo>
                  <a:pt x="441428" y="293057"/>
                </a:lnTo>
                <a:lnTo>
                  <a:pt x="441428" y="243237"/>
                </a:lnTo>
                <a:lnTo>
                  <a:pt x="419587" y="243237"/>
                </a:lnTo>
                <a:cubicBezTo>
                  <a:pt x="416276" y="243237"/>
                  <a:pt x="413374" y="240967"/>
                  <a:pt x="412592" y="237730"/>
                </a:cubicBezTo>
                <a:cubicBezTo>
                  <a:pt x="409504" y="225080"/>
                  <a:pt x="404481" y="212987"/>
                  <a:pt x="397710" y="201826"/>
                </a:cubicBezTo>
                <a:cubicBezTo>
                  <a:pt x="395998" y="198998"/>
                  <a:pt x="396407" y="195314"/>
                  <a:pt x="398789" y="192970"/>
                </a:cubicBezTo>
                <a:lnTo>
                  <a:pt x="414230" y="177529"/>
                </a:lnTo>
                <a:lnTo>
                  <a:pt x="378995" y="142294"/>
                </a:lnTo>
                <a:lnTo>
                  <a:pt x="363517" y="157772"/>
                </a:lnTo>
                <a:cubicBezTo>
                  <a:pt x="361173" y="160116"/>
                  <a:pt x="357526" y="160563"/>
                  <a:pt x="354661" y="158851"/>
                </a:cubicBezTo>
                <a:cubicBezTo>
                  <a:pt x="343499" y="152043"/>
                  <a:pt x="331407" y="147057"/>
                  <a:pt x="318757" y="143969"/>
                </a:cubicBezTo>
                <a:cubicBezTo>
                  <a:pt x="315520" y="143187"/>
                  <a:pt x="313250" y="140285"/>
                  <a:pt x="313250" y="136974"/>
                </a:cubicBezTo>
                <a:lnTo>
                  <a:pt x="313250" y="115133"/>
                </a:lnTo>
                <a:lnTo>
                  <a:pt x="263430" y="115133"/>
                </a:lnTo>
                <a:lnTo>
                  <a:pt x="263430" y="136974"/>
                </a:lnTo>
                <a:cubicBezTo>
                  <a:pt x="263430" y="140285"/>
                  <a:pt x="261160" y="143187"/>
                  <a:pt x="257923" y="143969"/>
                </a:cubicBezTo>
                <a:cubicBezTo>
                  <a:pt x="245273" y="147057"/>
                  <a:pt x="233180" y="152080"/>
                  <a:pt x="222019" y="158851"/>
                </a:cubicBezTo>
                <a:cubicBezTo>
                  <a:pt x="219191" y="160563"/>
                  <a:pt x="215507" y="160154"/>
                  <a:pt x="213163" y="157772"/>
                </a:cubicBezTo>
                <a:lnTo>
                  <a:pt x="197685" y="142294"/>
                </a:lnTo>
                <a:lnTo>
                  <a:pt x="162450" y="177529"/>
                </a:lnTo>
                <a:lnTo>
                  <a:pt x="177891" y="192970"/>
                </a:lnTo>
                <a:cubicBezTo>
                  <a:pt x="180235" y="195314"/>
                  <a:pt x="180682" y="198961"/>
                  <a:pt x="178970" y="201826"/>
                </a:cubicBezTo>
                <a:cubicBezTo>
                  <a:pt x="172161" y="212988"/>
                  <a:pt x="167175" y="225080"/>
                  <a:pt x="164087" y="237730"/>
                </a:cubicBezTo>
                <a:cubicBezTo>
                  <a:pt x="163306" y="240967"/>
                  <a:pt x="160404" y="243237"/>
                  <a:pt x="157093" y="243237"/>
                </a:cubicBezTo>
                <a:lnTo>
                  <a:pt x="135252" y="243237"/>
                </a:lnTo>
                <a:lnTo>
                  <a:pt x="135252" y="293057"/>
                </a:lnTo>
                <a:lnTo>
                  <a:pt x="157093" y="293057"/>
                </a:lnTo>
                <a:cubicBezTo>
                  <a:pt x="160404" y="293057"/>
                  <a:pt x="163306" y="295327"/>
                  <a:pt x="164087" y="298564"/>
                </a:cubicBezTo>
                <a:cubicBezTo>
                  <a:pt x="167176" y="311214"/>
                  <a:pt x="172199" y="323307"/>
                  <a:pt x="178970" y="334468"/>
                </a:cubicBezTo>
                <a:cubicBezTo>
                  <a:pt x="180682" y="337296"/>
                  <a:pt x="180273" y="340979"/>
                  <a:pt x="177891" y="343323"/>
                </a:cubicBezTo>
                <a:lnTo>
                  <a:pt x="162450" y="358764"/>
                </a:lnTo>
                <a:lnTo>
                  <a:pt x="197685" y="393999"/>
                </a:lnTo>
                <a:lnTo>
                  <a:pt x="213163" y="378521"/>
                </a:lnTo>
                <a:cubicBezTo>
                  <a:pt x="215507" y="376177"/>
                  <a:pt x="219154" y="375731"/>
                  <a:pt x="222019" y="377442"/>
                </a:cubicBezTo>
                <a:cubicBezTo>
                  <a:pt x="233181" y="384251"/>
                  <a:pt x="245273" y="389237"/>
                  <a:pt x="257923" y="392325"/>
                </a:cubicBezTo>
                <a:cubicBezTo>
                  <a:pt x="261160" y="393106"/>
                  <a:pt x="263430" y="396009"/>
                  <a:pt x="263430" y="399320"/>
                </a:cubicBezTo>
                <a:lnTo>
                  <a:pt x="263430" y="421161"/>
                </a:lnTo>
                <a:lnTo>
                  <a:pt x="313250" y="421161"/>
                </a:lnTo>
                <a:lnTo>
                  <a:pt x="313250" y="399320"/>
                </a:lnTo>
                <a:cubicBezTo>
                  <a:pt x="313250" y="396009"/>
                  <a:pt x="315520" y="393106"/>
                  <a:pt x="318757" y="392325"/>
                </a:cubicBezTo>
                <a:cubicBezTo>
                  <a:pt x="331407" y="389237"/>
                  <a:pt x="343500" y="384214"/>
                  <a:pt x="354661" y="377442"/>
                </a:cubicBezTo>
                <a:cubicBezTo>
                  <a:pt x="357489" y="375731"/>
                  <a:pt x="361173" y="376140"/>
                  <a:pt x="363517" y="378521"/>
                </a:cubicBezTo>
                <a:lnTo>
                  <a:pt x="378958" y="393962"/>
                </a:lnTo>
                <a:lnTo>
                  <a:pt x="414192" y="358727"/>
                </a:lnTo>
                <a:lnTo>
                  <a:pt x="398714" y="343249"/>
                </a:lnTo>
                <a:cubicBezTo>
                  <a:pt x="396370" y="340905"/>
                  <a:pt x="395924" y="337259"/>
                  <a:pt x="397635" y="334394"/>
                </a:cubicBezTo>
                <a:cubicBezTo>
                  <a:pt x="404444" y="323194"/>
                  <a:pt x="409430" y="311140"/>
                  <a:pt x="412518" y="298489"/>
                </a:cubicBezTo>
                <a:cubicBezTo>
                  <a:pt x="413300" y="295252"/>
                  <a:pt x="416202" y="292983"/>
                  <a:pt x="419513" y="292983"/>
                </a:cubicBezTo>
                <a:close/>
                <a:moveTo>
                  <a:pt x="370214" y="268128"/>
                </a:moveTo>
                <a:cubicBezTo>
                  <a:pt x="370214" y="313261"/>
                  <a:pt x="333490" y="349984"/>
                  <a:pt x="288358" y="349984"/>
                </a:cubicBezTo>
                <a:cubicBezTo>
                  <a:pt x="243225" y="349984"/>
                  <a:pt x="206465" y="313261"/>
                  <a:pt x="206465" y="268128"/>
                </a:cubicBezTo>
                <a:cubicBezTo>
                  <a:pt x="206465" y="222996"/>
                  <a:pt x="243188" y="186272"/>
                  <a:pt x="288358" y="186272"/>
                </a:cubicBezTo>
                <a:cubicBezTo>
                  <a:pt x="333490" y="186272"/>
                  <a:pt x="370214" y="222996"/>
                  <a:pt x="370214" y="268128"/>
                </a:cubicBezTo>
                <a:close/>
                <a:moveTo>
                  <a:pt x="355778" y="268128"/>
                </a:moveTo>
                <a:cubicBezTo>
                  <a:pt x="355778" y="230959"/>
                  <a:pt x="325528" y="200672"/>
                  <a:pt x="288322" y="200672"/>
                </a:cubicBezTo>
                <a:cubicBezTo>
                  <a:pt x="251152" y="200672"/>
                  <a:pt x="220865" y="230922"/>
                  <a:pt x="220865" y="268128"/>
                </a:cubicBezTo>
                <a:cubicBezTo>
                  <a:pt x="220865" y="305298"/>
                  <a:pt x="251115" y="335584"/>
                  <a:pt x="288322" y="335584"/>
                </a:cubicBezTo>
                <a:cubicBezTo>
                  <a:pt x="325491" y="335584"/>
                  <a:pt x="355778" y="305335"/>
                  <a:pt x="355778" y="268128"/>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 name="Freeform: Shape 105">
            <a:extLst>
              <a:ext uri="{FF2B5EF4-FFF2-40B4-BE49-F238E27FC236}">
                <a16:creationId xmlns:a16="http://schemas.microsoft.com/office/drawing/2014/main" id="{79633A10-6C33-70A6-426A-611F635CAC3E}"/>
              </a:ext>
            </a:extLst>
          </p:cNvPr>
          <p:cNvSpPr/>
          <p:nvPr/>
        </p:nvSpPr>
        <p:spPr>
          <a:xfrm>
            <a:off x="6931011" y="3946992"/>
            <a:ext cx="412602" cy="651378"/>
          </a:xfrm>
          <a:custGeom>
            <a:avLst/>
            <a:gdLst>
              <a:gd name="connsiteX0" fmla="*/ 454847 w 494737"/>
              <a:gd name="connsiteY0" fmla="*/ 273355 h 781048"/>
              <a:gd name="connsiteX1" fmla="*/ 414515 w 494737"/>
              <a:gd name="connsiteY1" fmla="*/ 261189 h 781048"/>
              <a:gd name="connsiteX2" fmla="*/ 414515 w 494737"/>
              <a:gd name="connsiteY2" fmla="*/ 167204 h 781048"/>
              <a:gd name="connsiteX3" fmla="*/ 365439 w 494737"/>
              <a:gd name="connsiteY3" fmla="*/ 49113 h 781048"/>
              <a:gd name="connsiteX4" fmla="*/ 247348 w 494737"/>
              <a:gd name="connsiteY4" fmla="*/ 0 h 781048"/>
              <a:gd name="connsiteX5" fmla="*/ 129257 w 494737"/>
              <a:gd name="connsiteY5" fmla="*/ 49076 h 781048"/>
              <a:gd name="connsiteX6" fmla="*/ 80181 w 494737"/>
              <a:gd name="connsiteY6" fmla="*/ 167167 h 781048"/>
              <a:gd name="connsiteX7" fmla="*/ 80181 w 494737"/>
              <a:gd name="connsiteY7" fmla="*/ 261152 h 781048"/>
              <a:gd name="connsiteX8" fmla="*/ 39849 w 494737"/>
              <a:gd name="connsiteY8" fmla="*/ 273355 h 781048"/>
              <a:gd name="connsiteX9" fmla="*/ 0 w 494737"/>
              <a:gd name="connsiteY9" fmla="*/ 315511 h 781048"/>
              <a:gd name="connsiteX10" fmla="*/ 0 w 494737"/>
              <a:gd name="connsiteY10" fmla="*/ 420695 h 781048"/>
              <a:gd name="connsiteX11" fmla="*/ 224133 w 494737"/>
              <a:gd name="connsiteY11" fmla="*/ 775616 h 781048"/>
              <a:gd name="connsiteX12" fmla="*/ 247350 w 494737"/>
              <a:gd name="connsiteY12" fmla="*/ 781048 h 781048"/>
              <a:gd name="connsiteX13" fmla="*/ 270604 w 494737"/>
              <a:gd name="connsiteY13" fmla="*/ 775616 h 781048"/>
              <a:gd name="connsiteX14" fmla="*/ 494737 w 494737"/>
              <a:gd name="connsiteY14" fmla="*/ 420695 h 781048"/>
              <a:gd name="connsiteX15" fmla="*/ 494737 w 494737"/>
              <a:gd name="connsiteY15" fmla="*/ 315511 h 781048"/>
              <a:gd name="connsiteX16" fmla="*/ 454851 w 494737"/>
              <a:gd name="connsiteY16" fmla="*/ 273355 h 781048"/>
              <a:gd name="connsiteX17" fmla="*/ 98736 w 494737"/>
              <a:gd name="connsiteY17" fmla="*/ 167199 h 781048"/>
              <a:gd name="connsiteX18" fmla="*/ 142380 w 494737"/>
              <a:gd name="connsiteY18" fmla="*/ 62233 h 781048"/>
              <a:gd name="connsiteX19" fmla="*/ 247345 w 494737"/>
              <a:gd name="connsiteY19" fmla="*/ 18590 h 781048"/>
              <a:gd name="connsiteX20" fmla="*/ 352311 w 494737"/>
              <a:gd name="connsiteY20" fmla="*/ 62233 h 781048"/>
              <a:gd name="connsiteX21" fmla="*/ 395954 w 494737"/>
              <a:gd name="connsiteY21" fmla="*/ 167199 h 781048"/>
              <a:gd name="connsiteX22" fmla="*/ 395954 w 494737"/>
              <a:gd name="connsiteY22" fmla="*/ 255565 h 781048"/>
              <a:gd name="connsiteX23" fmla="*/ 362989 w 494737"/>
              <a:gd name="connsiteY23" fmla="*/ 245631 h 781048"/>
              <a:gd name="connsiteX24" fmla="*/ 362989 w 494737"/>
              <a:gd name="connsiteY24" fmla="*/ 167198 h 781048"/>
              <a:gd name="connsiteX25" fmla="*/ 329019 w 494737"/>
              <a:gd name="connsiteY25" fmla="*/ 85529 h 781048"/>
              <a:gd name="connsiteX26" fmla="*/ 247350 w 494737"/>
              <a:gd name="connsiteY26" fmla="*/ 51559 h 781048"/>
              <a:gd name="connsiteX27" fmla="*/ 165681 w 494737"/>
              <a:gd name="connsiteY27" fmla="*/ 85529 h 781048"/>
              <a:gd name="connsiteX28" fmla="*/ 131711 w 494737"/>
              <a:gd name="connsiteY28" fmla="*/ 167198 h 781048"/>
              <a:gd name="connsiteX29" fmla="*/ 131711 w 494737"/>
              <a:gd name="connsiteY29" fmla="*/ 245631 h 781048"/>
              <a:gd name="connsiteX30" fmla="*/ 98746 w 494737"/>
              <a:gd name="connsiteY30" fmla="*/ 255565 h 781048"/>
              <a:gd name="connsiteX31" fmla="*/ 344376 w 494737"/>
              <a:gd name="connsiteY31" fmla="*/ 240013 h 781048"/>
              <a:gd name="connsiteX32" fmla="*/ 250020 w 494737"/>
              <a:gd name="connsiteY32" fmla="*/ 211549 h 781048"/>
              <a:gd name="connsiteX33" fmla="*/ 244662 w 494737"/>
              <a:gd name="connsiteY33" fmla="*/ 211549 h 781048"/>
              <a:gd name="connsiteX34" fmla="*/ 150305 w 494737"/>
              <a:gd name="connsiteY34" fmla="*/ 240013 h 781048"/>
              <a:gd name="connsiteX35" fmla="*/ 150305 w 494737"/>
              <a:gd name="connsiteY35" fmla="*/ 167199 h 781048"/>
              <a:gd name="connsiteX36" fmla="*/ 178843 w 494737"/>
              <a:gd name="connsiteY36" fmla="*/ 98701 h 781048"/>
              <a:gd name="connsiteX37" fmla="*/ 247341 w 494737"/>
              <a:gd name="connsiteY37" fmla="*/ 70163 h 781048"/>
              <a:gd name="connsiteX38" fmla="*/ 315840 w 494737"/>
              <a:gd name="connsiteY38" fmla="*/ 98701 h 781048"/>
              <a:gd name="connsiteX39" fmla="*/ 344377 w 494737"/>
              <a:gd name="connsiteY39" fmla="*/ 167199 h 781048"/>
              <a:gd name="connsiteX40" fmla="*/ 476126 w 494737"/>
              <a:gd name="connsiteY40" fmla="*/ 420693 h 781048"/>
              <a:gd name="connsiteX41" fmla="*/ 262519 w 494737"/>
              <a:gd name="connsiteY41" fmla="*/ 758830 h 781048"/>
              <a:gd name="connsiteX42" fmla="*/ 232158 w 494737"/>
              <a:gd name="connsiteY42" fmla="*/ 758830 h 781048"/>
              <a:gd name="connsiteX43" fmla="*/ 18550 w 494737"/>
              <a:gd name="connsiteY43" fmla="*/ 420693 h 781048"/>
              <a:gd name="connsiteX44" fmla="*/ 18550 w 494737"/>
              <a:gd name="connsiteY44" fmla="*/ 315508 h 781048"/>
              <a:gd name="connsiteX45" fmla="*/ 45190 w 494737"/>
              <a:gd name="connsiteY45" fmla="*/ 291175 h 781048"/>
              <a:gd name="connsiteX46" fmla="*/ 247340 w 494737"/>
              <a:gd name="connsiteY46" fmla="*/ 230155 h 781048"/>
              <a:gd name="connsiteX47" fmla="*/ 449489 w 494737"/>
              <a:gd name="connsiteY47" fmla="*/ 291175 h 781048"/>
              <a:gd name="connsiteX48" fmla="*/ 476129 w 494737"/>
              <a:gd name="connsiteY48" fmla="*/ 315508 h 781048"/>
              <a:gd name="connsiteX49" fmla="*/ 436538 w 494737"/>
              <a:gd name="connsiteY49" fmla="*/ 321680 h 781048"/>
              <a:gd name="connsiteX50" fmla="*/ 250020 w 494737"/>
              <a:gd name="connsiteY50" fmla="*/ 265424 h 781048"/>
              <a:gd name="connsiteX51" fmla="*/ 244662 w 494737"/>
              <a:gd name="connsiteY51" fmla="*/ 265424 h 781048"/>
              <a:gd name="connsiteX52" fmla="*/ 58143 w 494737"/>
              <a:gd name="connsiteY52" fmla="*/ 321680 h 781048"/>
              <a:gd name="connsiteX53" fmla="*/ 51521 w 494737"/>
              <a:gd name="connsiteY53" fmla="*/ 330573 h 781048"/>
              <a:gd name="connsiteX54" fmla="*/ 51521 w 494737"/>
              <a:gd name="connsiteY54" fmla="*/ 420688 h 781048"/>
              <a:gd name="connsiteX55" fmla="*/ 243249 w 494737"/>
              <a:gd name="connsiteY55" fmla="*/ 727574 h 781048"/>
              <a:gd name="connsiteX56" fmla="*/ 247379 w 494737"/>
              <a:gd name="connsiteY56" fmla="*/ 728541 h 781048"/>
              <a:gd name="connsiteX57" fmla="*/ 251509 w 494737"/>
              <a:gd name="connsiteY57" fmla="*/ 727574 h 781048"/>
              <a:gd name="connsiteX58" fmla="*/ 443238 w 494737"/>
              <a:gd name="connsiteY58" fmla="*/ 420688 h 781048"/>
              <a:gd name="connsiteX59" fmla="*/ 443238 w 494737"/>
              <a:gd name="connsiteY59" fmla="*/ 330573 h 781048"/>
              <a:gd name="connsiteX60" fmla="*/ 436541 w 494737"/>
              <a:gd name="connsiteY60" fmla="*/ 321680 h 781048"/>
              <a:gd name="connsiteX61" fmla="*/ 424558 w 494737"/>
              <a:gd name="connsiteY61" fmla="*/ 420693 h 781048"/>
              <a:gd name="connsiteX62" fmla="*/ 247345 w 494737"/>
              <a:gd name="connsiteY62" fmla="*/ 708824 h 781048"/>
              <a:gd name="connsiteX63" fmla="*/ 70133 w 494737"/>
              <a:gd name="connsiteY63" fmla="*/ 420693 h 781048"/>
              <a:gd name="connsiteX64" fmla="*/ 70133 w 494737"/>
              <a:gd name="connsiteY64" fmla="*/ 337497 h 781048"/>
              <a:gd name="connsiteX65" fmla="*/ 247345 w 494737"/>
              <a:gd name="connsiteY65" fmla="*/ 284031 h 781048"/>
              <a:gd name="connsiteX66" fmla="*/ 424558 w 494737"/>
              <a:gd name="connsiteY66" fmla="*/ 337497 h 781048"/>
              <a:gd name="connsiteX67" fmla="*/ 183975 w 494737"/>
              <a:gd name="connsiteY67" fmla="*/ 464783 h 781048"/>
              <a:gd name="connsiteX68" fmla="*/ 163102 w 494737"/>
              <a:gd name="connsiteY68" fmla="*/ 464783 h 781048"/>
              <a:gd name="connsiteX69" fmla="*/ 132258 w 494737"/>
              <a:gd name="connsiteY69" fmla="*/ 495628 h 781048"/>
              <a:gd name="connsiteX70" fmla="*/ 127904 w 494737"/>
              <a:gd name="connsiteY70" fmla="*/ 506046 h 781048"/>
              <a:gd name="connsiteX71" fmla="*/ 132220 w 494737"/>
              <a:gd name="connsiteY71" fmla="*/ 516539 h 781048"/>
              <a:gd name="connsiteX72" fmla="*/ 193649 w 494737"/>
              <a:gd name="connsiteY72" fmla="*/ 577967 h 781048"/>
              <a:gd name="connsiteX73" fmla="*/ 219507 w 494737"/>
              <a:gd name="connsiteY73" fmla="*/ 588683 h 781048"/>
              <a:gd name="connsiteX74" fmla="*/ 245366 w 494737"/>
              <a:gd name="connsiteY74" fmla="*/ 577967 h 781048"/>
              <a:gd name="connsiteX75" fmla="*/ 362380 w 494737"/>
              <a:gd name="connsiteY75" fmla="*/ 460953 h 781048"/>
              <a:gd name="connsiteX76" fmla="*/ 366696 w 494737"/>
              <a:gd name="connsiteY76" fmla="*/ 450573 h 781048"/>
              <a:gd name="connsiteX77" fmla="*/ 362380 w 494737"/>
              <a:gd name="connsiteY77" fmla="*/ 440080 h 781048"/>
              <a:gd name="connsiteX78" fmla="*/ 331499 w 494737"/>
              <a:gd name="connsiteY78" fmla="*/ 409198 h 781048"/>
              <a:gd name="connsiteX79" fmla="*/ 310663 w 494737"/>
              <a:gd name="connsiteY79" fmla="*/ 409235 h 781048"/>
              <a:gd name="connsiteX80" fmla="*/ 219505 w 494737"/>
              <a:gd name="connsiteY80" fmla="*/ 500392 h 781048"/>
              <a:gd name="connsiteX81" fmla="*/ 229963 w 494737"/>
              <a:gd name="connsiteY81" fmla="*/ 516240 h 781048"/>
              <a:gd name="connsiteX82" fmla="*/ 321120 w 494737"/>
              <a:gd name="connsiteY82" fmla="*/ 425046 h 781048"/>
              <a:gd name="connsiteX83" fmla="*/ 346533 w 494737"/>
              <a:gd name="connsiteY83" fmla="*/ 450495 h 781048"/>
              <a:gd name="connsiteX84" fmla="*/ 232233 w 494737"/>
              <a:gd name="connsiteY84" fmla="*/ 564795 h 781048"/>
              <a:gd name="connsiteX85" fmla="*/ 206820 w 494737"/>
              <a:gd name="connsiteY85" fmla="*/ 564795 h 781048"/>
              <a:gd name="connsiteX86" fmla="*/ 148107 w 494737"/>
              <a:gd name="connsiteY86" fmla="*/ 506082 h 781048"/>
              <a:gd name="connsiteX87" fmla="*/ 173520 w 494737"/>
              <a:gd name="connsiteY87" fmla="*/ 480670 h 781048"/>
              <a:gd name="connsiteX88" fmla="*/ 209090 w 494737"/>
              <a:gd name="connsiteY88" fmla="*/ 516240 h 781048"/>
              <a:gd name="connsiteX89" fmla="*/ 229963 w 494737"/>
              <a:gd name="connsiteY89" fmla="*/ 516240 h 78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94737" h="781048">
                <a:moveTo>
                  <a:pt x="454847" y="273355"/>
                </a:moveTo>
                <a:lnTo>
                  <a:pt x="414515" y="261189"/>
                </a:lnTo>
                <a:lnTo>
                  <a:pt x="414515" y="167204"/>
                </a:lnTo>
                <a:cubicBezTo>
                  <a:pt x="414515" y="122667"/>
                  <a:pt x="397065" y="80735"/>
                  <a:pt x="365439" y="49113"/>
                </a:cubicBezTo>
                <a:cubicBezTo>
                  <a:pt x="333776" y="17450"/>
                  <a:pt x="291843" y="0"/>
                  <a:pt x="247348" y="0"/>
                </a:cubicBezTo>
                <a:cubicBezTo>
                  <a:pt x="202853" y="0"/>
                  <a:pt x="160916" y="17450"/>
                  <a:pt x="129257" y="49076"/>
                </a:cubicBezTo>
                <a:cubicBezTo>
                  <a:pt x="97594" y="80702"/>
                  <a:pt x="80181" y="122672"/>
                  <a:pt x="80181" y="167167"/>
                </a:cubicBezTo>
                <a:lnTo>
                  <a:pt x="80181" y="261152"/>
                </a:lnTo>
                <a:lnTo>
                  <a:pt x="39849" y="273355"/>
                </a:lnTo>
                <a:cubicBezTo>
                  <a:pt x="6884" y="283327"/>
                  <a:pt x="0" y="301782"/>
                  <a:pt x="0" y="315511"/>
                </a:cubicBezTo>
                <a:lnTo>
                  <a:pt x="0" y="420695"/>
                </a:lnTo>
                <a:cubicBezTo>
                  <a:pt x="0" y="570867"/>
                  <a:pt x="87995" y="710170"/>
                  <a:pt x="224133" y="775616"/>
                </a:cubicBezTo>
                <a:cubicBezTo>
                  <a:pt x="231649" y="779225"/>
                  <a:pt x="239462" y="781048"/>
                  <a:pt x="247350" y="781048"/>
                </a:cubicBezTo>
                <a:cubicBezTo>
                  <a:pt x="255238" y="781048"/>
                  <a:pt x="263051" y="779225"/>
                  <a:pt x="270604" y="775616"/>
                </a:cubicBezTo>
                <a:cubicBezTo>
                  <a:pt x="406783" y="710169"/>
                  <a:pt x="494737" y="570867"/>
                  <a:pt x="494737" y="420695"/>
                </a:cubicBezTo>
                <a:lnTo>
                  <a:pt x="494737" y="315511"/>
                </a:lnTo>
                <a:cubicBezTo>
                  <a:pt x="494737" y="301782"/>
                  <a:pt x="487817" y="283327"/>
                  <a:pt x="454851" y="273355"/>
                </a:cubicBezTo>
                <a:close/>
                <a:moveTo>
                  <a:pt x="98736" y="167199"/>
                </a:moveTo>
                <a:cubicBezTo>
                  <a:pt x="98736" y="127648"/>
                  <a:pt x="114251" y="90367"/>
                  <a:pt x="142380" y="62233"/>
                </a:cubicBezTo>
                <a:cubicBezTo>
                  <a:pt x="170508" y="34100"/>
                  <a:pt x="207790" y="18590"/>
                  <a:pt x="247345" y="18590"/>
                </a:cubicBezTo>
                <a:cubicBezTo>
                  <a:pt x="286901" y="18590"/>
                  <a:pt x="324141" y="34105"/>
                  <a:pt x="352311" y="62233"/>
                </a:cubicBezTo>
                <a:cubicBezTo>
                  <a:pt x="380439" y="90362"/>
                  <a:pt x="395954" y="127644"/>
                  <a:pt x="395954" y="167199"/>
                </a:cubicBezTo>
                <a:lnTo>
                  <a:pt x="395954" y="255565"/>
                </a:lnTo>
                <a:lnTo>
                  <a:pt x="362989" y="245631"/>
                </a:lnTo>
                <a:lnTo>
                  <a:pt x="362989" y="167198"/>
                </a:lnTo>
                <a:cubicBezTo>
                  <a:pt x="362989" y="136465"/>
                  <a:pt x="350934" y="107444"/>
                  <a:pt x="329019" y="85529"/>
                </a:cubicBezTo>
                <a:cubicBezTo>
                  <a:pt x="307104" y="63614"/>
                  <a:pt x="278120" y="51559"/>
                  <a:pt x="247350" y="51559"/>
                </a:cubicBezTo>
                <a:cubicBezTo>
                  <a:pt x="216617" y="51559"/>
                  <a:pt x="187596" y="63614"/>
                  <a:pt x="165681" y="85529"/>
                </a:cubicBezTo>
                <a:cubicBezTo>
                  <a:pt x="143766" y="107481"/>
                  <a:pt x="131711" y="136466"/>
                  <a:pt x="131711" y="167198"/>
                </a:cubicBezTo>
                <a:lnTo>
                  <a:pt x="131711" y="245631"/>
                </a:lnTo>
                <a:lnTo>
                  <a:pt x="98746" y="255565"/>
                </a:lnTo>
                <a:close/>
                <a:moveTo>
                  <a:pt x="344376" y="240013"/>
                </a:moveTo>
                <a:lnTo>
                  <a:pt x="250020" y="211549"/>
                </a:lnTo>
                <a:cubicBezTo>
                  <a:pt x="248271" y="211028"/>
                  <a:pt x="246411" y="211028"/>
                  <a:pt x="244662" y="211549"/>
                </a:cubicBezTo>
                <a:lnTo>
                  <a:pt x="150305" y="240013"/>
                </a:lnTo>
                <a:lnTo>
                  <a:pt x="150305" y="167199"/>
                </a:lnTo>
                <a:cubicBezTo>
                  <a:pt x="150305" y="141415"/>
                  <a:pt x="160426" y="117081"/>
                  <a:pt x="178843" y="98701"/>
                </a:cubicBezTo>
                <a:cubicBezTo>
                  <a:pt x="197261" y="80283"/>
                  <a:pt x="221557" y="70163"/>
                  <a:pt x="247341" y="70163"/>
                </a:cubicBezTo>
                <a:cubicBezTo>
                  <a:pt x="273126" y="70163"/>
                  <a:pt x="297459" y="80283"/>
                  <a:pt x="315840" y="98701"/>
                </a:cubicBezTo>
                <a:cubicBezTo>
                  <a:pt x="334257" y="117118"/>
                  <a:pt x="344377" y="141452"/>
                  <a:pt x="344377" y="167199"/>
                </a:cubicBezTo>
                <a:close/>
                <a:moveTo>
                  <a:pt x="476126" y="420693"/>
                </a:moveTo>
                <a:cubicBezTo>
                  <a:pt x="476126" y="563758"/>
                  <a:pt x="392299" y="696470"/>
                  <a:pt x="262519" y="758830"/>
                </a:cubicBezTo>
                <a:cubicBezTo>
                  <a:pt x="252547" y="763630"/>
                  <a:pt x="242092" y="763630"/>
                  <a:pt x="232158" y="758830"/>
                </a:cubicBezTo>
                <a:cubicBezTo>
                  <a:pt x="102379" y="696471"/>
                  <a:pt x="18550" y="563758"/>
                  <a:pt x="18550" y="420693"/>
                </a:cubicBezTo>
                <a:lnTo>
                  <a:pt x="18550" y="315508"/>
                </a:lnTo>
                <a:cubicBezTo>
                  <a:pt x="18550" y="311490"/>
                  <a:pt x="18550" y="299212"/>
                  <a:pt x="45190" y="291175"/>
                </a:cubicBezTo>
                <a:lnTo>
                  <a:pt x="247340" y="230155"/>
                </a:lnTo>
                <a:lnTo>
                  <a:pt x="449489" y="291175"/>
                </a:lnTo>
                <a:cubicBezTo>
                  <a:pt x="476129" y="299211"/>
                  <a:pt x="476129" y="311489"/>
                  <a:pt x="476129" y="315508"/>
                </a:cubicBezTo>
                <a:close/>
                <a:moveTo>
                  <a:pt x="436538" y="321680"/>
                </a:moveTo>
                <a:lnTo>
                  <a:pt x="250020" y="265424"/>
                </a:lnTo>
                <a:cubicBezTo>
                  <a:pt x="248271" y="264903"/>
                  <a:pt x="246411" y="264903"/>
                  <a:pt x="244662" y="265424"/>
                </a:cubicBezTo>
                <a:lnTo>
                  <a:pt x="58143" y="321680"/>
                </a:lnTo>
                <a:cubicBezTo>
                  <a:pt x="54237" y="322871"/>
                  <a:pt x="51521" y="326480"/>
                  <a:pt x="51521" y="330573"/>
                </a:cubicBezTo>
                <a:lnTo>
                  <a:pt x="51521" y="420688"/>
                </a:lnTo>
                <a:cubicBezTo>
                  <a:pt x="51521" y="549647"/>
                  <a:pt x="126753" y="670090"/>
                  <a:pt x="243249" y="727574"/>
                </a:cubicBezTo>
                <a:cubicBezTo>
                  <a:pt x="244552" y="728206"/>
                  <a:pt x="245965" y="728541"/>
                  <a:pt x="247379" y="728541"/>
                </a:cubicBezTo>
                <a:cubicBezTo>
                  <a:pt x="248793" y="728541"/>
                  <a:pt x="250207" y="728243"/>
                  <a:pt x="251509" y="727574"/>
                </a:cubicBezTo>
                <a:cubicBezTo>
                  <a:pt x="367971" y="670127"/>
                  <a:pt x="443238" y="549647"/>
                  <a:pt x="443238" y="420688"/>
                </a:cubicBezTo>
                <a:lnTo>
                  <a:pt x="443238" y="330573"/>
                </a:lnTo>
                <a:cubicBezTo>
                  <a:pt x="443164" y="326480"/>
                  <a:pt x="440485" y="322871"/>
                  <a:pt x="436541" y="321680"/>
                </a:cubicBezTo>
                <a:close/>
                <a:moveTo>
                  <a:pt x="424558" y="420693"/>
                </a:moveTo>
                <a:cubicBezTo>
                  <a:pt x="424558" y="541098"/>
                  <a:pt x="355129" y="653684"/>
                  <a:pt x="247345" y="708824"/>
                </a:cubicBezTo>
                <a:cubicBezTo>
                  <a:pt x="139522" y="653683"/>
                  <a:pt x="70133" y="541098"/>
                  <a:pt x="70133" y="420693"/>
                </a:cubicBezTo>
                <a:lnTo>
                  <a:pt x="70133" y="337497"/>
                </a:lnTo>
                <a:lnTo>
                  <a:pt x="247345" y="284031"/>
                </a:lnTo>
                <a:lnTo>
                  <a:pt x="424558" y="337497"/>
                </a:lnTo>
                <a:close/>
                <a:moveTo>
                  <a:pt x="183975" y="464783"/>
                </a:moveTo>
                <a:cubicBezTo>
                  <a:pt x="178394" y="459202"/>
                  <a:pt x="168609" y="459202"/>
                  <a:pt x="163102" y="464783"/>
                </a:cubicBezTo>
                <a:lnTo>
                  <a:pt x="132258" y="495628"/>
                </a:lnTo>
                <a:cubicBezTo>
                  <a:pt x="129467" y="498381"/>
                  <a:pt x="127942" y="502102"/>
                  <a:pt x="127904" y="506046"/>
                </a:cubicBezTo>
                <a:cubicBezTo>
                  <a:pt x="127904" y="509990"/>
                  <a:pt x="129430" y="513711"/>
                  <a:pt x="132220" y="516539"/>
                </a:cubicBezTo>
                <a:lnTo>
                  <a:pt x="193649" y="577967"/>
                </a:lnTo>
                <a:cubicBezTo>
                  <a:pt x="200569" y="584888"/>
                  <a:pt x="209722" y="588683"/>
                  <a:pt x="219507" y="588683"/>
                </a:cubicBezTo>
                <a:cubicBezTo>
                  <a:pt x="229292" y="588683"/>
                  <a:pt x="238446" y="584888"/>
                  <a:pt x="245366" y="577967"/>
                </a:cubicBezTo>
                <a:lnTo>
                  <a:pt x="362380" y="460953"/>
                </a:lnTo>
                <a:cubicBezTo>
                  <a:pt x="365171" y="458200"/>
                  <a:pt x="366696" y="454516"/>
                  <a:pt x="366696" y="450573"/>
                </a:cubicBezTo>
                <a:cubicBezTo>
                  <a:pt x="366696" y="446629"/>
                  <a:pt x="365171" y="442908"/>
                  <a:pt x="362380" y="440080"/>
                </a:cubicBezTo>
                <a:lnTo>
                  <a:pt x="331499" y="409198"/>
                </a:lnTo>
                <a:cubicBezTo>
                  <a:pt x="325917" y="403691"/>
                  <a:pt x="316280" y="403654"/>
                  <a:pt x="310663" y="409235"/>
                </a:cubicBezTo>
                <a:lnTo>
                  <a:pt x="219505" y="500392"/>
                </a:lnTo>
                <a:close/>
                <a:moveTo>
                  <a:pt x="229963" y="516240"/>
                </a:moveTo>
                <a:lnTo>
                  <a:pt x="321120" y="425046"/>
                </a:lnTo>
                <a:lnTo>
                  <a:pt x="346533" y="450495"/>
                </a:lnTo>
                <a:lnTo>
                  <a:pt x="232233" y="564795"/>
                </a:lnTo>
                <a:cubicBezTo>
                  <a:pt x="225424" y="571604"/>
                  <a:pt x="213630" y="571604"/>
                  <a:pt x="206820" y="564795"/>
                </a:cubicBezTo>
                <a:lnTo>
                  <a:pt x="148107" y="506082"/>
                </a:lnTo>
                <a:lnTo>
                  <a:pt x="173520" y="480670"/>
                </a:lnTo>
                <a:lnTo>
                  <a:pt x="209090" y="516240"/>
                </a:lnTo>
                <a:cubicBezTo>
                  <a:pt x="214634" y="521821"/>
                  <a:pt x="224457" y="521784"/>
                  <a:pt x="229963" y="51624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 name="Freeform: Shape 106">
            <a:extLst>
              <a:ext uri="{FF2B5EF4-FFF2-40B4-BE49-F238E27FC236}">
                <a16:creationId xmlns:a16="http://schemas.microsoft.com/office/drawing/2014/main" id="{3584CB5E-E336-ED3F-15AA-93F72F0F1996}"/>
              </a:ext>
            </a:extLst>
          </p:cNvPr>
          <p:cNvSpPr/>
          <p:nvPr/>
        </p:nvSpPr>
        <p:spPr>
          <a:xfrm>
            <a:off x="4721290" y="4062047"/>
            <a:ext cx="606716" cy="421266"/>
          </a:xfrm>
          <a:custGeom>
            <a:avLst/>
            <a:gdLst>
              <a:gd name="connsiteX0" fmla="*/ 863319 w 912575"/>
              <a:gd name="connsiteY0" fmla="*/ 0 h 633635"/>
              <a:gd name="connsiteX1" fmla="*/ 49151 w 912575"/>
              <a:gd name="connsiteY1" fmla="*/ 0 h 633635"/>
              <a:gd name="connsiteX2" fmla="*/ 0 w 912575"/>
              <a:gd name="connsiteY2" fmla="*/ 49151 h 633635"/>
              <a:gd name="connsiteX3" fmla="*/ 0 w 912575"/>
              <a:gd name="connsiteY3" fmla="*/ 584484 h 633635"/>
              <a:gd name="connsiteX4" fmla="*/ 49151 w 912575"/>
              <a:gd name="connsiteY4" fmla="*/ 633635 h 633635"/>
              <a:gd name="connsiteX5" fmla="*/ 863424 w 912575"/>
              <a:gd name="connsiteY5" fmla="*/ 633635 h 633635"/>
              <a:gd name="connsiteX6" fmla="*/ 912575 w 912575"/>
              <a:gd name="connsiteY6" fmla="*/ 584484 h 633635"/>
              <a:gd name="connsiteX7" fmla="*/ 912575 w 912575"/>
              <a:gd name="connsiteY7" fmla="*/ 49151 h 633635"/>
              <a:gd name="connsiteX8" fmla="*/ 863313 w 912575"/>
              <a:gd name="connsiteY8" fmla="*/ 0 h 633635"/>
              <a:gd name="connsiteX9" fmla="*/ 890294 w 912575"/>
              <a:gd name="connsiteY9" fmla="*/ 584483 h 633635"/>
              <a:gd name="connsiteX10" fmla="*/ 863431 w 912575"/>
              <a:gd name="connsiteY10" fmla="*/ 611346 h 633635"/>
              <a:gd name="connsiteX11" fmla="*/ 49158 w 912575"/>
              <a:gd name="connsiteY11" fmla="*/ 611346 h 633635"/>
              <a:gd name="connsiteX12" fmla="*/ 22294 w 912575"/>
              <a:gd name="connsiteY12" fmla="*/ 584483 h 633635"/>
              <a:gd name="connsiteX13" fmla="*/ 22294 w 912575"/>
              <a:gd name="connsiteY13" fmla="*/ 49149 h 633635"/>
              <a:gd name="connsiteX14" fmla="*/ 49158 w 912575"/>
              <a:gd name="connsiteY14" fmla="*/ 22286 h 633635"/>
              <a:gd name="connsiteX15" fmla="*/ 863431 w 912575"/>
              <a:gd name="connsiteY15" fmla="*/ 22286 h 633635"/>
              <a:gd name="connsiteX16" fmla="*/ 890294 w 912575"/>
              <a:gd name="connsiteY16" fmla="*/ 49149 h 633635"/>
              <a:gd name="connsiteX17" fmla="*/ 228602 w 912575"/>
              <a:gd name="connsiteY17" fmla="*/ 101460 h 633635"/>
              <a:gd name="connsiteX18" fmla="*/ 239764 w 912575"/>
              <a:gd name="connsiteY18" fmla="*/ 90298 h 633635"/>
              <a:gd name="connsiteX19" fmla="*/ 672856 w 912575"/>
              <a:gd name="connsiteY19" fmla="*/ 90298 h 633635"/>
              <a:gd name="connsiteX20" fmla="*/ 684019 w 912575"/>
              <a:gd name="connsiteY20" fmla="*/ 101460 h 633635"/>
              <a:gd name="connsiteX21" fmla="*/ 672856 w 912575"/>
              <a:gd name="connsiteY21" fmla="*/ 112623 h 633635"/>
              <a:gd name="connsiteX22" fmla="*/ 239659 w 912575"/>
              <a:gd name="connsiteY22" fmla="*/ 112585 h 633635"/>
              <a:gd name="connsiteX23" fmla="*/ 228609 w 912575"/>
              <a:gd name="connsiteY23" fmla="*/ 101460 h 633635"/>
              <a:gd name="connsiteX24" fmla="*/ 720444 w 912575"/>
              <a:gd name="connsiteY24" fmla="*/ 532171 h 633635"/>
              <a:gd name="connsiteX25" fmla="*/ 709282 w 912575"/>
              <a:gd name="connsiteY25" fmla="*/ 543334 h 633635"/>
              <a:gd name="connsiteX26" fmla="*/ 516144 w 912575"/>
              <a:gd name="connsiteY26" fmla="*/ 543334 h 633635"/>
              <a:gd name="connsiteX27" fmla="*/ 504981 w 912575"/>
              <a:gd name="connsiteY27" fmla="*/ 532171 h 633635"/>
              <a:gd name="connsiteX28" fmla="*/ 516144 w 912575"/>
              <a:gd name="connsiteY28" fmla="*/ 521009 h 633635"/>
              <a:gd name="connsiteX29" fmla="*/ 709320 w 912575"/>
              <a:gd name="connsiteY29" fmla="*/ 521009 h 633635"/>
              <a:gd name="connsiteX30" fmla="*/ 720445 w 912575"/>
              <a:gd name="connsiteY30" fmla="*/ 532171 h 633635"/>
              <a:gd name="connsiteX31" fmla="*/ 823991 w 912575"/>
              <a:gd name="connsiteY31" fmla="*/ 278721 h 633635"/>
              <a:gd name="connsiteX32" fmla="*/ 812828 w 912575"/>
              <a:gd name="connsiteY32" fmla="*/ 289883 h 633635"/>
              <a:gd name="connsiteX33" fmla="*/ 516144 w 912575"/>
              <a:gd name="connsiteY33" fmla="*/ 289883 h 633635"/>
              <a:gd name="connsiteX34" fmla="*/ 504981 w 912575"/>
              <a:gd name="connsiteY34" fmla="*/ 278721 h 633635"/>
              <a:gd name="connsiteX35" fmla="*/ 516144 w 912575"/>
              <a:gd name="connsiteY35" fmla="*/ 267558 h 633635"/>
              <a:gd name="connsiteX36" fmla="*/ 812943 w 912575"/>
              <a:gd name="connsiteY36" fmla="*/ 267558 h 633635"/>
              <a:gd name="connsiteX37" fmla="*/ 823993 w 912575"/>
              <a:gd name="connsiteY37" fmla="*/ 278721 h 633635"/>
              <a:gd name="connsiteX38" fmla="*/ 823991 w 912575"/>
              <a:gd name="connsiteY38" fmla="*/ 363218 h 633635"/>
              <a:gd name="connsiteX39" fmla="*/ 812828 w 912575"/>
              <a:gd name="connsiteY39" fmla="*/ 374380 h 633635"/>
              <a:gd name="connsiteX40" fmla="*/ 516144 w 912575"/>
              <a:gd name="connsiteY40" fmla="*/ 374343 h 633635"/>
              <a:gd name="connsiteX41" fmla="*/ 504981 w 912575"/>
              <a:gd name="connsiteY41" fmla="*/ 363181 h 633635"/>
              <a:gd name="connsiteX42" fmla="*/ 516144 w 912575"/>
              <a:gd name="connsiteY42" fmla="*/ 352018 h 633635"/>
              <a:gd name="connsiteX43" fmla="*/ 812943 w 912575"/>
              <a:gd name="connsiteY43" fmla="*/ 352018 h 633635"/>
              <a:gd name="connsiteX44" fmla="*/ 823993 w 912575"/>
              <a:gd name="connsiteY44" fmla="*/ 363218 h 633635"/>
              <a:gd name="connsiteX45" fmla="*/ 823991 w 912575"/>
              <a:gd name="connsiteY45" fmla="*/ 447678 h 633635"/>
              <a:gd name="connsiteX46" fmla="*/ 812828 w 912575"/>
              <a:gd name="connsiteY46" fmla="*/ 458840 h 633635"/>
              <a:gd name="connsiteX47" fmla="*/ 516144 w 912575"/>
              <a:gd name="connsiteY47" fmla="*/ 458840 h 633635"/>
              <a:gd name="connsiteX48" fmla="*/ 504981 w 912575"/>
              <a:gd name="connsiteY48" fmla="*/ 447678 h 633635"/>
              <a:gd name="connsiteX49" fmla="*/ 516144 w 912575"/>
              <a:gd name="connsiteY49" fmla="*/ 436516 h 633635"/>
              <a:gd name="connsiteX50" fmla="*/ 812943 w 912575"/>
              <a:gd name="connsiteY50" fmla="*/ 436516 h 633635"/>
              <a:gd name="connsiteX51" fmla="*/ 823993 w 912575"/>
              <a:gd name="connsiteY51" fmla="*/ 447678 h 633635"/>
              <a:gd name="connsiteX52" fmla="*/ 823991 w 912575"/>
              <a:gd name="connsiteY52" fmla="*/ 194227 h 633635"/>
              <a:gd name="connsiteX53" fmla="*/ 812828 w 912575"/>
              <a:gd name="connsiteY53" fmla="*/ 205389 h 633635"/>
              <a:gd name="connsiteX54" fmla="*/ 516144 w 912575"/>
              <a:gd name="connsiteY54" fmla="*/ 205389 h 633635"/>
              <a:gd name="connsiteX55" fmla="*/ 504981 w 912575"/>
              <a:gd name="connsiteY55" fmla="*/ 194227 h 633635"/>
              <a:gd name="connsiteX56" fmla="*/ 516144 w 912575"/>
              <a:gd name="connsiteY56" fmla="*/ 183065 h 633635"/>
              <a:gd name="connsiteX57" fmla="*/ 812943 w 912575"/>
              <a:gd name="connsiteY57" fmla="*/ 183065 h 633635"/>
              <a:gd name="connsiteX58" fmla="*/ 823993 w 912575"/>
              <a:gd name="connsiteY58" fmla="*/ 194227 h 633635"/>
              <a:gd name="connsiteX59" fmla="*/ 251081 w 912575"/>
              <a:gd name="connsiteY59" fmla="*/ 258818 h 633635"/>
              <a:gd name="connsiteX60" fmla="*/ 183848 w 912575"/>
              <a:gd name="connsiteY60" fmla="*/ 326051 h 633635"/>
              <a:gd name="connsiteX61" fmla="*/ 251081 w 912575"/>
              <a:gd name="connsiteY61" fmla="*/ 393284 h 633635"/>
              <a:gd name="connsiteX62" fmla="*/ 318314 w 912575"/>
              <a:gd name="connsiteY62" fmla="*/ 326051 h 633635"/>
              <a:gd name="connsiteX63" fmla="*/ 251081 w 912575"/>
              <a:gd name="connsiteY63" fmla="*/ 258818 h 633635"/>
              <a:gd name="connsiteX64" fmla="*/ 251081 w 912575"/>
              <a:gd name="connsiteY64" fmla="*/ 370927 h 633635"/>
              <a:gd name="connsiteX65" fmla="*/ 206134 w 912575"/>
              <a:gd name="connsiteY65" fmla="*/ 325981 h 633635"/>
              <a:gd name="connsiteX66" fmla="*/ 251081 w 912575"/>
              <a:gd name="connsiteY66" fmla="*/ 281034 h 633635"/>
              <a:gd name="connsiteX67" fmla="*/ 296027 w 912575"/>
              <a:gd name="connsiteY67" fmla="*/ 325981 h 633635"/>
              <a:gd name="connsiteX68" fmla="*/ 251081 w 912575"/>
              <a:gd name="connsiteY68" fmla="*/ 370927 h 633635"/>
              <a:gd name="connsiteX69" fmla="*/ 386222 w 912575"/>
              <a:gd name="connsiteY69" fmla="*/ 183104 h 633635"/>
              <a:gd name="connsiteX70" fmla="*/ 115912 w 912575"/>
              <a:gd name="connsiteY70" fmla="*/ 183104 h 633635"/>
              <a:gd name="connsiteX71" fmla="*/ 88490 w 912575"/>
              <a:gd name="connsiteY71" fmla="*/ 210525 h 633635"/>
              <a:gd name="connsiteX72" fmla="*/ 88490 w 912575"/>
              <a:gd name="connsiteY72" fmla="*/ 515887 h 633635"/>
              <a:gd name="connsiteX73" fmla="*/ 115912 w 912575"/>
              <a:gd name="connsiteY73" fmla="*/ 543309 h 633635"/>
              <a:gd name="connsiteX74" fmla="*/ 386222 w 912575"/>
              <a:gd name="connsiteY74" fmla="*/ 543309 h 633635"/>
              <a:gd name="connsiteX75" fmla="*/ 413643 w 912575"/>
              <a:gd name="connsiteY75" fmla="*/ 515887 h 633635"/>
              <a:gd name="connsiteX76" fmla="*/ 413680 w 912575"/>
              <a:gd name="connsiteY76" fmla="*/ 210640 h 633635"/>
              <a:gd name="connsiteX77" fmla="*/ 386222 w 912575"/>
              <a:gd name="connsiteY77" fmla="*/ 183107 h 633635"/>
              <a:gd name="connsiteX78" fmla="*/ 142886 w 912575"/>
              <a:gd name="connsiteY78" fmla="*/ 521051 h 633635"/>
              <a:gd name="connsiteX79" fmla="*/ 251081 w 912575"/>
              <a:gd name="connsiteY79" fmla="*/ 420067 h 633635"/>
              <a:gd name="connsiteX80" fmla="*/ 359275 w 912575"/>
              <a:gd name="connsiteY80" fmla="*/ 521051 h 633635"/>
              <a:gd name="connsiteX81" fmla="*/ 391470 w 912575"/>
              <a:gd name="connsiteY81" fmla="*/ 515879 h 633635"/>
              <a:gd name="connsiteX82" fmla="*/ 386224 w 912575"/>
              <a:gd name="connsiteY82" fmla="*/ 521125 h 633635"/>
              <a:gd name="connsiteX83" fmla="*/ 381573 w 912575"/>
              <a:gd name="connsiteY83" fmla="*/ 521125 h 633635"/>
              <a:gd name="connsiteX84" fmla="*/ 251090 w 912575"/>
              <a:gd name="connsiteY84" fmla="*/ 397862 h 633635"/>
              <a:gd name="connsiteX85" fmla="*/ 120607 w 912575"/>
              <a:gd name="connsiteY85" fmla="*/ 521125 h 633635"/>
              <a:gd name="connsiteX86" fmla="*/ 115956 w 912575"/>
              <a:gd name="connsiteY86" fmla="*/ 521125 h 633635"/>
              <a:gd name="connsiteX87" fmla="*/ 110710 w 912575"/>
              <a:gd name="connsiteY87" fmla="*/ 515879 h 633635"/>
              <a:gd name="connsiteX88" fmla="*/ 110673 w 912575"/>
              <a:gd name="connsiteY88" fmla="*/ 210631 h 633635"/>
              <a:gd name="connsiteX89" fmla="*/ 115919 w 912575"/>
              <a:gd name="connsiteY89" fmla="*/ 205385 h 633635"/>
              <a:gd name="connsiteX90" fmla="*/ 386229 w 912575"/>
              <a:gd name="connsiteY90" fmla="*/ 205385 h 633635"/>
              <a:gd name="connsiteX91" fmla="*/ 391475 w 912575"/>
              <a:gd name="connsiteY91" fmla="*/ 210631 h 63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912575" h="633635">
                <a:moveTo>
                  <a:pt x="863319" y="0"/>
                </a:moveTo>
                <a:lnTo>
                  <a:pt x="49151" y="0"/>
                </a:lnTo>
                <a:cubicBezTo>
                  <a:pt x="22102" y="0"/>
                  <a:pt x="0" y="21989"/>
                  <a:pt x="0" y="49151"/>
                </a:cubicBezTo>
                <a:lnTo>
                  <a:pt x="0" y="584484"/>
                </a:lnTo>
                <a:cubicBezTo>
                  <a:pt x="0" y="611534"/>
                  <a:pt x="21989" y="633635"/>
                  <a:pt x="49151" y="633635"/>
                </a:cubicBezTo>
                <a:lnTo>
                  <a:pt x="863424" y="633635"/>
                </a:lnTo>
                <a:cubicBezTo>
                  <a:pt x="890473" y="633635"/>
                  <a:pt x="912575" y="611646"/>
                  <a:pt x="912575" y="584484"/>
                </a:cubicBezTo>
                <a:lnTo>
                  <a:pt x="912575" y="49151"/>
                </a:lnTo>
                <a:cubicBezTo>
                  <a:pt x="912463" y="22027"/>
                  <a:pt x="890474" y="0"/>
                  <a:pt x="863313" y="0"/>
                </a:cubicBezTo>
                <a:close/>
                <a:moveTo>
                  <a:pt x="890294" y="584483"/>
                </a:moveTo>
                <a:cubicBezTo>
                  <a:pt x="890294" y="599328"/>
                  <a:pt x="878202" y="611346"/>
                  <a:pt x="863431" y="611346"/>
                </a:cubicBezTo>
                <a:lnTo>
                  <a:pt x="49158" y="611346"/>
                </a:lnTo>
                <a:cubicBezTo>
                  <a:pt x="34312" y="611346"/>
                  <a:pt x="22294" y="599254"/>
                  <a:pt x="22294" y="584483"/>
                </a:cubicBezTo>
                <a:lnTo>
                  <a:pt x="22294" y="49149"/>
                </a:lnTo>
                <a:cubicBezTo>
                  <a:pt x="22294" y="34303"/>
                  <a:pt x="34386" y="22286"/>
                  <a:pt x="49158" y="22286"/>
                </a:cubicBezTo>
                <a:lnTo>
                  <a:pt x="863431" y="22286"/>
                </a:lnTo>
                <a:cubicBezTo>
                  <a:pt x="878276" y="22286"/>
                  <a:pt x="890294" y="34378"/>
                  <a:pt x="890294" y="49149"/>
                </a:cubicBezTo>
                <a:close/>
                <a:moveTo>
                  <a:pt x="228602" y="101460"/>
                </a:moveTo>
                <a:cubicBezTo>
                  <a:pt x="228602" y="95284"/>
                  <a:pt x="233550" y="90298"/>
                  <a:pt x="239764" y="90298"/>
                </a:cubicBezTo>
                <a:lnTo>
                  <a:pt x="672856" y="90298"/>
                </a:lnTo>
                <a:cubicBezTo>
                  <a:pt x="679033" y="90298"/>
                  <a:pt x="684019" y="95246"/>
                  <a:pt x="684019" y="101460"/>
                </a:cubicBezTo>
                <a:cubicBezTo>
                  <a:pt x="684019" y="107637"/>
                  <a:pt x="679070" y="112623"/>
                  <a:pt x="672856" y="112623"/>
                </a:cubicBezTo>
                <a:lnTo>
                  <a:pt x="239659" y="112585"/>
                </a:lnTo>
                <a:cubicBezTo>
                  <a:pt x="233558" y="112585"/>
                  <a:pt x="228609" y="107563"/>
                  <a:pt x="228609" y="101460"/>
                </a:cubicBezTo>
                <a:close/>
                <a:moveTo>
                  <a:pt x="720444" y="532171"/>
                </a:moveTo>
                <a:cubicBezTo>
                  <a:pt x="720444" y="538348"/>
                  <a:pt x="715496" y="543334"/>
                  <a:pt x="709282" y="543334"/>
                </a:cubicBezTo>
                <a:lnTo>
                  <a:pt x="516144" y="543334"/>
                </a:lnTo>
                <a:cubicBezTo>
                  <a:pt x="509967" y="543334"/>
                  <a:pt x="504981" y="538385"/>
                  <a:pt x="504981" y="532171"/>
                </a:cubicBezTo>
                <a:cubicBezTo>
                  <a:pt x="504981" y="525995"/>
                  <a:pt x="509930" y="521009"/>
                  <a:pt x="516144" y="521009"/>
                </a:cubicBezTo>
                <a:lnTo>
                  <a:pt x="709320" y="521009"/>
                </a:lnTo>
                <a:cubicBezTo>
                  <a:pt x="715422" y="521046"/>
                  <a:pt x="720445" y="526069"/>
                  <a:pt x="720445" y="532171"/>
                </a:cubicBezTo>
                <a:close/>
                <a:moveTo>
                  <a:pt x="823991" y="278721"/>
                </a:moveTo>
                <a:cubicBezTo>
                  <a:pt x="823991" y="284897"/>
                  <a:pt x="819042" y="289883"/>
                  <a:pt x="812828" y="289883"/>
                </a:cubicBezTo>
                <a:lnTo>
                  <a:pt x="516144" y="289883"/>
                </a:lnTo>
                <a:cubicBezTo>
                  <a:pt x="509967" y="289883"/>
                  <a:pt x="504981" y="284934"/>
                  <a:pt x="504981" y="278721"/>
                </a:cubicBezTo>
                <a:cubicBezTo>
                  <a:pt x="504981" y="272544"/>
                  <a:pt x="509930" y="267558"/>
                  <a:pt x="516144" y="267558"/>
                </a:cubicBezTo>
                <a:lnTo>
                  <a:pt x="812943" y="267558"/>
                </a:lnTo>
                <a:cubicBezTo>
                  <a:pt x="819045" y="267558"/>
                  <a:pt x="823993" y="272618"/>
                  <a:pt x="823993" y="278721"/>
                </a:cubicBezTo>
                <a:close/>
                <a:moveTo>
                  <a:pt x="823991" y="363218"/>
                </a:moveTo>
                <a:cubicBezTo>
                  <a:pt x="823991" y="369394"/>
                  <a:pt x="819042" y="374380"/>
                  <a:pt x="812828" y="374380"/>
                </a:cubicBezTo>
                <a:lnTo>
                  <a:pt x="516144" y="374343"/>
                </a:lnTo>
                <a:cubicBezTo>
                  <a:pt x="509967" y="374343"/>
                  <a:pt x="504981" y="369394"/>
                  <a:pt x="504981" y="363181"/>
                </a:cubicBezTo>
                <a:cubicBezTo>
                  <a:pt x="504981" y="357004"/>
                  <a:pt x="509930" y="352018"/>
                  <a:pt x="516144" y="352018"/>
                </a:cubicBezTo>
                <a:lnTo>
                  <a:pt x="812943" y="352018"/>
                </a:lnTo>
                <a:cubicBezTo>
                  <a:pt x="819045" y="352055"/>
                  <a:pt x="823993" y="357116"/>
                  <a:pt x="823993" y="363218"/>
                </a:cubicBezTo>
                <a:close/>
                <a:moveTo>
                  <a:pt x="823991" y="447678"/>
                </a:moveTo>
                <a:cubicBezTo>
                  <a:pt x="823991" y="453854"/>
                  <a:pt x="819042" y="458840"/>
                  <a:pt x="812828" y="458840"/>
                </a:cubicBezTo>
                <a:lnTo>
                  <a:pt x="516144" y="458840"/>
                </a:lnTo>
                <a:cubicBezTo>
                  <a:pt x="509967" y="458840"/>
                  <a:pt x="504981" y="453892"/>
                  <a:pt x="504981" y="447678"/>
                </a:cubicBezTo>
                <a:cubicBezTo>
                  <a:pt x="504981" y="441501"/>
                  <a:pt x="509930" y="436516"/>
                  <a:pt x="516144" y="436516"/>
                </a:cubicBezTo>
                <a:lnTo>
                  <a:pt x="812943" y="436516"/>
                </a:lnTo>
                <a:cubicBezTo>
                  <a:pt x="819045" y="436553"/>
                  <a:pt x="823993" y="441613"/>
                  <a:pt x="823993" y="447678"/>
                </a:cubicBezTo>
                <a:close/>
                <a:moveTo>
                  <a:pt x="823991" y="194227"/>
                </a:moveTo>
                <a:cubicBezTo>
                  <a:pt x="823991" y="200404"/>
                  <a:pt x="819042" y="205389"/>
                  <a:pt x="812828" y="205389"/>
                </a:cubicBezTo>
                <a:lnTo>
                  <a:pt x="516144" y="205389"/>
                </a:lnTo>
                <a:cubicBezTo>
                  <a:pt x="509967" y="205389"/>
                  <a:pt x="504981" y="200441"/>
                  <a:pt x="504981" y="194227"/>
                </a:cubicBezTo>
                <a:cubicBezTo>
                  <a:pt x="504981" y="188051"/>
                  <a:pt x="509930" y="183065"/>
                  <a:pt x="516144" y="183065"/>
                </a:cubicBezTo>
                <a:lnTo>
                  <a:pt x="812943" y="183065"/>
                </a:lnTo>
                <a:cubicBezTo>
                  <a:pt x="819045" y="183102"/>
                  <a:pt x="823993" y="188125"/>
                  <a:pt x="823993" y="194227"/>
                </a:cubicBezTo>
                <a:close/>
                <a:moveTo>
                  <a:pt x="251081" y="258818"/>
                </a:moveTo>
                <a:cubicBezTo>
                  <a:pt x="214023" y="258818"/>
                  <a:pt x="183848" y="289030"/>
                  <a:pt x="183848" y="326051"/>
                </a:cubicBezTo>
                <a:cubicBezTo>
                  <a:pt x="183848" y="363109"/>
                  <a:pt x="214060" y="393284"/>
                  <a:pt x="251081" y="393284"/>
                </a:cubicBezTo>
                <a:cubicBezTo>
                  <a:pt x="288139" y="393284"/>
                  <a:pt x="318314" y="363072"/>
                  <a:pt x="318314" y="326051"/>
                </a:cubicBezTo>
                <a:cubicBezTo>
                  <a:pt x="318314" y="288993"/>
                  <a:pt x="288139" y="258818"/>
                  <a:pt x="251081" y="258818"/>
                </a:cubicBezTo>
                <a:close/>
                <a:moveTo>
                  <a:pt x="251081" y="370927"/>
                </a:moveTo>
                <a:cubicBezTo>
                  <a:pt x="226301" y="370927"/>
                  <a:pt x="206134" y="350724"/>
                  <a:pt x="206134" y="325981"/>
                </a:cubicBezTo>
                <a:cubicBezTo>
                  <a:pt x="206134" y="301201"/>
                  <a:pt x="226338" y="281034"/>
                  <a:pt x="251081" y="281034"/>
                </a:cubicBezTo>
                <a:cubicBezTo>
                  <a:pt x="275861" y="281034"/>
                  <a:pt x="296027" y="301238"/>
                  <a:pt x="296027" y="325981"/>
                </a:cubicBezTo>
                <a:cubicBezTo>
                  <a:pt x="296027" y="350724"/>
                  <a:pt x="275935" y="370927"/>
                  <a:pt x="251081" y="370927"/>
                </a:cubicBezTo>
                <a:close/>
                <a:moveTo>
                  <a:pt x="386222" y="183104"/>
                </a:moveTo>
                <a:lnTo>
                  <a:pt x="115912" y="183104"/>
                </a:lnTo>
                <a:cubicBezTo>
                  <a:pt x="100769" y="183104"/>
                  <a:pt x="88490" y="195383"/>
                  <a:pt x="88490" y="210525"/>
                </a:cubicBezTo>
                <a:lnTo>
                  <a:pt x="88490" y="515887"/>
                </a:lnTo>
                <a:cubicBezTo>
                  <a:pt x="88490" y="531030"/>
                  <a:pt x="100769" y="543309"/>
                  <a:pt x="115912" y="543309"/>
                </a:cubicBezTo>
                <a:lnTo>
                  <a:pt x="386222" y="543309"/>
                </a:lnTo>
                <a:cubicBezTo>
                  <a:pt x="401364" y="543309"/>
                  <a:pt x="413643" y="531030"/>
                  <a:pt x="413643" y="515887"/>
                </a:cubicBezTo>
                <a:lnTo>
                  <a:pt x="413680" y="210640"/>
                </a:lnTo>
                <a:cubicBezTo>
                  <a:pt x="413755" y="195497"/>
                  <a:pt x="401365" y="183107"/>
                  <a:pt x="386222" y="183107"/>
                </a:cubicBezTo>
                <a:close/>
                <a:moveTo>
                  <a:pt x="142886" y="521051"/>
                </a:moveTo>
                <a:cubicBezTo>
                  <a:pt x="146793" y="464756"/>
                  <a:pt x="193748" y="420067"/>
                  <a:pt x="251081" y="420067"/>
                </a:cubicBezTo>
                <a:cubicBezTo>
                  <a:pt x="308417" y="420067"/>
                  <a:pt x="355370" y="464752"/>
                  <a:pt x="359275" y="521051"/>
                </a:cubicBezTo>
                <a:close/>
                <a:moveTo>
                  <a:pt x="391470" y="515879"/>
                </a:moveTo>
                <a:cubicBezTo>
                  <a:pt x="391470" y="518744"/>
                  <a:pt x="389200" y="521125"/>
                  <a:pt x="386224" y="521125"/>
                </a:cubicBezTo>
                <a:lnTo>
                  <a:pt x="381573" y="521125"/>
                </a:lnTo>
                <a:cubicBezTo>
                  <a:pt x="377554" y="452553"/>
                  <a:pt x="320702" y="397862"/>
                  <a:pt x="251090" y="397862"/>
                </a:cubicBezTo>
                <a:cubicBezTo>
                  <a:pt x="181475" y="397862"/>
                  <a:pt x="124588" y="452520"/>
                  <a:pt x="120607" y="521125"/>
                </a:cubicBezTo>
                <a:lnTo>
                  <a:pt x="115956" y="521125"/>
                </a:lnTo>
                <a:cubicBezTo>
                  <a:pt x="113091" y="521125"/>
                  <a:pt x="110710" y="518856"/>
                  <a:pt x="110710" y="515879"/>
                </a:cubicBezTo>
                <a:lnTo>
                  <a:pt x="110673" y="210631"/>
                </a:lnTo>
                <a:cubicBezTo>
                  <a:pt x="110673" y="207766"/>
                  <a:pt x="113054" y="205385"/>
                  <a:pt x="115919" y="205385"/>
                </a:cubicBezTo>
                <a:lnTo>
                  <a:pt x="386229" y="205385"/>
                </a:lnTo>
                <a:cubicBezTo>
                  <a:pt x="389094" y="205385"/>
                  <a:pt x="391475" y="207655"/>
                  <a:pt x="391475" y="210631"/>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982689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SSET_SIZE_ON_INSERT" val="575.928,1246.34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SSET_SIZE_ON_INSERT" val="1920,108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SSET_SIZE_ON_INSERT" val="1920,1080"/>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SSET_SIZE_ON_INSERT" val="1920,1080"/>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SSET_SIZE_ON_INSERT" val="1920,1080"/>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SSET_SIZE_ON_INSERT" val="110,25,21"/>
</p:tagLst>
</file>

<file path=ppt/tags/tag20.xml><?xml version="1.0" encoding="utf-8"?>
<p:tagLst xmlns:a="http://schemas.openxmlformats.org/drawingml/2006/main" xmlns:r="http://schemas.openxmlformats.org/officeDocument/2006/relationships" xmlns:p="http://schemas.openxmlformats.org/presentationml/2006/main">
  <p:tag name="ASSET_SIZE_ON_INSERT" val="1920,1080"/>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SSET_SIZE_ON_INSERT" val="1920,1080"/>
</p:tagLst>
</file>

<file path=ppt/tags/tag4.xml><?xml version="1.0" encoding="utf-8"?>
<p:tagLst xmlns:a="http://schemas.openxmlformats.org/drawingml/2006/main" xmlns:r="http://schemas.openxmlformats.org/officeDocument/2006/relationships" xmlns:p="http://schemas.openxmlformats.org/presentationml/2006/main">
  <p:tag name="ASSET_SIZE_ON_INSERT" val="440.5227,260.0134"/>
</p:tagLst>
</file>

<file path=ppt/tags/tag5.xml><?xml version="1.0" encoding="utf-8"?>
<p:tagLst xmlns:a="http://schemas.openxmlformats.org/drawingml/2006/main" xmlns:r="http://schemas.openxmlformats.org/officeDocument/2006/relationships" xmlns:p="http://schemas.openxmlformats.org/presentationml/2006/main">
  <p:tag name="ASSET_SIZE_ON_INSERT" val="309.75,58.5"/>
</p:tagLst>
</file>

<file path=ppt/tags/tag6.xml><?xml version="1.0" encoding="utf-8"?>
<p:tagLst xmlns:a="http://schemas.openxmlformats.org/drawingml/2006/main" xmlns:r="http://schemas.openxmlformats.org/officeDocument/2006/relationships" xmlns:p="http://schemas.openxmlformats.org/presentationml/2006/main">
  <p:tag name="ASSET_SIZE_ON_INSERT" val="309.75,58.5"/>
</p:tagLst>
</file>

<file path=ppt/tags/tag7.xml><?xml version="1.0" encoding="utf-8"?>
<p:tagLst xmlns:a="http://schemas.openxmlformats.org/drawingml/2006/main" xmlns:r="http://schemas.openxmlformats.org/officeDocument/2006/relationships" xmlns:p="http://schemas.openxmlformats.org/presentationml/2006/main">
  <p:tag name="ASSET_SIZE_ON_INSERT" val="1320.068,275.0141"/>
</p:tagLst>
</file>

<file path=ppt/tags/tag8.xml><?xml version="1.0" encoding="utf-8"?>
<p:tagLst xmlns:a="http://schemas.openxmlformats.org/drawingml/2006/main" xmlns:r="http://schemas.openxmlformats.org/officeDocument/2006/relationships" xmlns:p="http://schemas.openxmlformats.org/presentationml/2006/main">
  <p:tag name="ASSET_SIZE_ON_INSERT" val="1320.068,275.0141"/>
</p:tagLst>
</file>

<file path=ppt/tags/tag9.xml><?xml version="1.0" encoding="utf-8"?>
<p:tagLst xmlns:a="http://schemas.openxmlformats.org/drawingml/2006/main" xmlns:r="http://schemas.openxmlformats.org/officeDocument/2006/relationships" xmlns:p="http://schemas.openxmlformats.org/presentationml/2006/main">
  <p:tag name="ASSET_SIZE_ON_INSERT" val="1320.068,275.0141"/>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6_Office Theme">
  <a:themeElements>
    <a:clrScheme name="Final CVLT Colors 2024">
      <a:dk1>
        <a:srgbClr val="000000"/>
      </a:dk1>
      <a:lt1>
        <a:srgbClr val="FFFFFF"/>
      </a:lt1>
      <a:dk2>
        <a:srgbClr val="00053A"/>
      </a:dk2>
      <a:lt2>
        <a:srgbClr val="3C3F48"/>
      </a:lt2>
      <a:accent1>
        <a:srgbClr val="834895"/>
      </a:accent1>
      <a:accent2>
        <a:srgbClr val="C1A3C9"/>
      </a:accent2>
      <a:accent3>
        <a:srgbClr val="E92B62"/>
      </a:accent3>
      <a:accent4>
        <a:srgbClr val="FFAAC3"/>
      </a:accent4>
      <a:accent5>
        <a:srgbClr val="6E74B7"/>
      </a:accent5>
      <a:accent6>
        <a:srgbClr val="C4C7E3"/>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White">
      <a:srgbClr val="FFFFFF"/>
    </a:custClr>
    <a:custClr name="Darkest Midnight">
      <a:srgbClr val="000218"/>
    </a:custClr>
    <a:custClr name="Web Midnight 400">
      <a:srgbClr val="363B6F"/>
    </a:custClr>
    <a:custClr name="Darkst Crocus">
      <a:srgbClr val="351D3C"/>
    </a:custClr>
    <a:custClr name="Web Crocus 500">
      <a:srgbClr val="784188"/>
    </a:custClr>
    <a:custClr name="Darkest Rose">
      <a:srgbClr val="5E1228"/>
    </a:custClr>
    <a:custClr name="Web Rose 500">
      <a:srgbClr val="CA1449"/>
    </a:custClr>
    <a:custClr name="Web Green 600">
      <a:srgbClr val="339025"/>
    </a:custClr>
    <a:custClr name="Darkest Water">
      <a:srgbClr val="2B96C3"/>
    </a:custClr>
    <a:custClr name="Darkest Sun">
      <a:srgbClr val="BEA101"/>
    </a:custClr>
    <a:custClr name="Fog">
      <a:srgbClr val="EAEAEA"/>
    </a:custClr>
    <a:custClr name="Dark Midnight">
      <a:srgbClr val="000323"/>
    </a:custClr>
    <a:custClr name="Web Midnight 300">
      <a:srgbClr val="6E74B8"/>
    </a:custClr>
    <a:custClr name="Dark Crocus">
      <a:srgbClr val="4F2B5A"/>
    </a:custClr>
    <a:custClr name="Web Crocus 400">
      <a:srgbClr val="C397D8"/>
    </a:custClr>
    <a:custClr name="Darker Rose">
      <a:srgbClr val="8C1A3B"/>
    </a:custClr>
    <a:custClr name="Rose 400">
      <a:srgbClr val="FF749D"/>
    </a:custClr>
    <a:custClr name="Dark Grass">
      <a:srgbClr val="3AA229"/>
    </a:custClr>
    <a:custClr name="Dark Water">
      <a:srgbClr val="31A8DC"/>
    </a:custClr>
    <a:custClr name="Dark Sun">
      <a:srgbClr val="D6B501"/>
    </a:custClr>
    <a:custClr name="Grey 500">
      <a:srgbClr val="9B9DAD"/>
    </a:custClr>
    <a:custClr name="Midnight">
      <a:srgbClr val="00053B"/>
    </a:custClr>
    <a:custClr name="Web Midnight 200">
      <a:srgbClr val="C5C7E3"/>
    </a:custClr>
    <a:custClr name="Crocus">
      <a:srgbClr val="844896"/>
    </a:custClr>
    <a:custClr name="Web Crocus 300">
      <a:srgbClr val="D2B1E2"/>
    </a:custClr>
    <a:custClr name="Rose">
      <a:srgbClr val="EA2C63"/>
    </a:custClr>
    <a:custClr name="Web Rose 300">
      <a:srgbClr val="FFAAC3"/>
    </a:custClr>
    <a:custClr name="Grass">
      <a:srgbClr val="40B42E"/>
    </a:custClr>
    <a:custClr name="Water">
      <a:srgbClr val="36BBF4"/>
    </a:custClr>
    <a:custClr name="Sun">
      <a:srgbClr val="EEC901"/>
    </a:custClr>
    <a:custClr name="Grey 800">
      <a:srgbClr val="3D3F48"/>
    </a:custClr>
    <a:custClr name="Light Midnight">
      <a:srgbClr val="40446C"/>
    </a:custClr>
    <a:custClr name="Web Midnight 100">
      <a:srgbClr val="E2E3F1"/>
    </a:custClr>
    <a:custClr name="Light Crocus">
      <a:srgbClr val="A376B0"/>
    </a:custClr>
    <a:custClr name="Web Crocus 200">
      <a:srgbClr val="E7D5EF"/>
    </a:custClr>
    <a:custClr name="Light Rose">
      <a:srgbClr val="EF618A"/>
    </a:custClr>
    <a:custClr name="Web Rose 200">
      <a:srgbClr val="FFD9E7"/>
    </a:custClr>
    <a:custClr name="Light Grass">
      <a:srgbClr val="66C358"/>
    </a:custClr>
    <a:custClr name="Light Water">
      <a:srgbClr val="5EC9F6"/>
    </a:custClr>
    <a:custClr name="Light Sun">
      <a:srgbClr val="F1D434"/>
    </a:custClr>
    <a:custClr name="Black">
      <a:srgbClr val="000000"/>
    </a:custClr>
    <a:custClr name="Lightest Midnight">
      <a:srgbClr val="7F829D"/>
    </a:custClr>
    <a:custClr name="Eggshell">
      <a:srgbClr val="F3F4FA"/>
    </a:custClr>
    <a:custClr name="Lightest Crocus">
      <a:srgbClr val="C1A3CA"/>
    </a:custClr>
    <a:custClr name="Web Crocus 100">
      <a:srgbClr val="F0E5F5"/>
    </a:custClr>
    <a:custClr name="Lightest Rose">
      <a:srgbClr val="F495B1"/>
    </a:custClr>
    <a:custClr name="Web Rose 100">
      <a:srgbClr val="FFEBF0"/>
    </a:custClr>
    <a:custClr name="Lightest Grass">
      <a:srgbClr val="8CD282"/>
    </a:custClr>
    <a:custClr name="Lightest Water">
      <a:srgbClr val="86D6F8"/>
    </a:custClr>
    <a:custClr name="Lightest Sun">
      <a:srgbClr val="F5DF67"/>
    </a:custClr>
  </a:custClrLst>
  <a:extLst>
    <a:ext uri="{05A4C25C-085E-4340-85A3-A5531E510DB2}">
      <thm15:themeFamily xmlns:thm15="http://schemas.microsoft.com/office/thememl/2012/main" name="Presentation1" id="{F320CAFE-BCE0-824B-9420-E784C29C9CFD}" vid="{D6AD411A-5BB4-7048-B510-0753B72A18F8}"/>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3DA8EF5-3034-BC40-8BD8-3917FDA7B157}">
  <we:reference id="WA200003915" version="2.0.0.0" store="Omex" storeType="OMEX"/>
  <we:alternateReferences>
    <we:reference id="WA200003915" version="2.0.0.0" store="WA200003915"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BrandIn lastLayout="1"/>
</file>

<file path=customXml/itemProps1.xml><?xml version="1.0" encoding="utf-8"?>
<ds:datastoreItem xmlns:ds="http://schemas.openxmlformats.org/officeDocument/2006/customXml" ds:itemID="{57A5E9D1-B23A-C445-A74D-E159C20FACE7}">
  <ds:schemaRefs/>
</ds:datastoreItem>
</file>

<file path=docMetadata/LabelInfo.xml><?xml version="1.0" encoding="utf-8"?>
<clbl:labelList xmlns:clbl="http://schemas.microsoft.com/office/2020/mipLabelMetadata">
  <clbl:label id="{40ed1e38-a16e-4622-9d7c-45161b6969d5}" enabled="0" method="" siteId="{40ed1e38-a16e-4622-9d7c-45161b6969d5}" removed="1"/>
</clbl:labelList>
</file>

<file path=docProps/app.xml><?xml version="1.0" encoding="utf-8"?>
<Properties xmlns="http://schemas.openxmlformats.org/officeDocument/2006/extended-properties" xmlns:vt="http://schemas.openxmlformats.org/officeDocument/2006/docPropsVTypes">
  <TotalTime>131</TotalTime>
  <Words>3355</Words>
  <Application>Microsoft Office PowerPoint</Application>
  <PresentationFormat>Breitbild</PresentationFormat>
  <Paragraphs>268</Paragraphs>
  <Slides>22</Slides>
  <Notes>13</Notes>
  <HiddenSlides>0</HiddenSlides>
  <MMClips>0</MMClips>
  <ScaleCrop>false</ScaleCrop>
  <HeadingPairs>
    <vt:vector size="4" baseType="variant">
      <vt:variant>
        <vt:lpstr>Design</vt:lpstr>
      </vt:variant>
      <vt:variant>
        <vt:i4>2</vt:i4>
      </vt:variant>
      <vt:variant>
        <vt:lpstr>Folientitel</vt:lpstr>
      </vt:variant>
      <vt:variant>
        <vt:i4>22</vt:i4>
      </vt:variant>
    </vt:vector>
  </HeadingPairs>
  <TitlesOfParts>
    <vt:vector size="24" baseType="lpstr">
      <vt:lpstr>Tema de Office</vt:lpstr>
      <vt:lpstr>6_Office Theme</vt:lpstr>
      <vt:lpstr>Commvault Cloud Unity</vt:lpstr>
      <vt:lpstr>PowerPoint-Präsentation</vt:lpstr>
      <vt:lpstr>PowerPoint-Präsentation</vt:lpstr>
      <vt:lpstr>PowerPoint-Präsentation</vt:lpstr>
      <vt:lpstr>PowerPoint-Präsentation</vt:lpstr>
      <vt:lpstr>PowerPoint-Präsentation</vt:lpstr>
      <vt:lpstr>PowerPoint-Präsentation</vt:lpstr>
      <vt:lpstr>Unified Data Protection</vt:lpstr>
      <vt:lpstr>Commvault Cloud Unity | Platform for Unified Resilience</vt:lpstr>
      <vt:lpstr>One Platform for Multi-Cloud Protection, Visibility, and Cost Optimization</vt:lpstr>
      <vt:lpstr>Identity Resilience</vt:lpstr>
      <vt:lpstr>Advancing Identity Resilience: Detect and Reverse AD Threats</vt:lpstr>
      <vt:lpstr>Cyber Resilience</vt:lpstr>
      <vt:lpstr>Help Isolate and Remove Compromised Data with Synthetic RecoveryTM</vt:lpstr>
      <vt:lpstr>Data &amp; AI Security</vt:lpstr>
      <vt:lpstr>Unified Protection for Your Sensitive Data and Responsible AI Use</vt:lpstr>
      <vt:lpstr>Protect &amp; Leverage AI</vt:lpstr>
      <vt:lpstr>PowerPoint-Präsentation</vt:lpstr>
      <vt:lpstr>Commvault Cloud Unity | One Platform. Unified Resilience.</vt:lpstr>
      <vt:lpstr>The new resilience disziplin ResOps!</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icardo José Garrido Reichelt</dc:creator>
  <cp:lastModifiedBy>Frank Dehne</cp:lastModifiedBy>
  <cp:revision>6</cp:revision>
  <dcterms:created xsi:type="dcterms:W3CDTF">2026-04-22T08:51:20Z</dcterms:created>
  <dcterms:modified xsi:type="dcterms:W3CDTF">2026-04-26T16:39:28Z</dcterms:modified>
</cp:coreProperties>
</file>